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9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0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1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ags/tag2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  <p:sldMasterId id="2147483680" r:id="rId3"/>
    <p:sldMasterId id="2147483691" r:id="rId4"/>
    <p:sldMasterId id="2147483702" r:id="rId5"/>
    <p:sldMasterId id="2147483710" r:id="rId6"/>
    <p:sldMasterId id="2147483719" r:id="rId7"/>
    <p:sldMasterId id="2147483756" r:id="rId8"/>
    <p:sldMasterId id="2147483775" r:id="rId9"/>
    <p:sldMasterId id="2147483797" r:id="rId10"/>
    <p:sldMasterId id="2147483806" r:id="rId11"/>
    <p:sldMasterId id="2147483818" r:id="rId12"/>
  </p:sldMasterIdLst>
  <p:notesMasterIdLst>
    <p:notesMasterId r:id="rId35"/>
  </p:notesMasterIdLst>
  <p:handoutMasterIdLst>
    <p:handoutMasterId r:id="rId36"/>
  </p:handoutMasterIdLst>
  <p:sldIdLst>
    <p:sldId id="295" r:id="rId13"/>
    <p:sldId id="316" r:id="rId14"/>
    <p:sldId id="2141412340" r:id="rId15"/>
    <p:sldId id="6659" r:id="rId16"/>
    <p:sldId id="6672" r:id="rId17"/>
    <p:sldId id="2141412337" r:id="rId18"/>
    <p:sldId id="6674" r:id="rId19"/>
    <p:sldId id="2141412338" r:id="rId20"/>
    <p:sldId id="310" r:id="rId21"/>
    <p:sldId id="6673" r:id="rId22"/>
    <p:sldId id="2141412339" r:id="rId23"/>
    <p:sldId id="300" r:id="rId24"/>
    <p:sldId id="2141412329" r:id="rId25"/>
    <p:sldId id="2141412346" r:id="rId26"/>
    <p:sldId id="2141412347" r:id="rId27"/>
    <p:sldId id="2141412332" r:id="rId28"/>
    <p:sldId id="2141412334" r:id="rId29"/>
    <p:sldId id="2141412333" r:id="rId30"/>
    <p:sldId id="2141412330" r:id="rId31"/>
    <p:sldId id="2141412341" r:id="rId32"/>
    <p:sldId id="2141412325" r:id="rId33"/>
    <p:sldId id="315" r:id="rId34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947A709-8118-4B91-B03A-B640026BF84B}">
          <p14:sldIdLst>
            <p14:sldId id="295"/>
            <p14:sldId id="316"/>
            <p14:sldId id="2141412340"/>
            <p14:sldId id="6659"/>
            <p14:sldId id="6672"/>
            <p14:sldId id="2141412337"/>
            <p14:sldId id="6674"/>
            <p14:sldId id="2141412338"/>
            <p14:sldId id="310"/>
            <p14:sldId id="6673"/>
            <p14:sldId id="2141412339"/>
            <p14:sldId id="300"/>
            <p14:sldId id="2141412329"/>
            <p14:sldId id="2141412346"/>
            <p14:sldId id="2141412347"/>
            <p14:sldId id="2141412332"/>
            <p14:sldId id="2141412334"/>
            <p14:sldId id="2141412333"/>
            <p14:sldId id="2141412330"/>
            <p14:sldId id="2141412341"/>
            <p14:sldId id="2141412325"/>
            <p14:sldId id="31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амзабаев Ержан Курганович" initials="КЕК" lastIdx="0" clrIdx="0">
    <p:extLst>
      <p:ext uri="{19B8F6BF-5375-455C-9EA6-DF929625EA0E}">
        <p15:presenceInfo xmlns:p15="http://schemas.microsoft.com/office/powerpoint/2012/main" userId="S-1-5-21-790999218-1282440677-3560687479-1154" providerId="AD"/>
      </p:ext>
    </p:extLst>
  </p:cmAuthor>
  <p:cmAuthor id="2" name="Цой Елена Васильевна" initials="ЦЕВ" lastIdx="1" clrIdx="1">
    <p:extLst>
      <p:ext uri="{19B8F6BF-5375-455C-9EA6-DF929625EA0E}">
        <p15:presenceInfo xmlns:p15="http://schemas.microsoft.com/office/powerpoint/2012/main" userId="S::e.tsoy@o-sk.kz::d87f5d90-1b97-4642-bc2c-917d76fdcc6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244D"/>
    <a:srgbClr val="17335D"/>
    <a:srgbClr val="003C76"/>
    <a:srgbClr val="347F85"/>
    <a:srgbClr val="0F4975"/>
    <a:srgbClr val="C55A11"/>
    <a:srgbClr val="1FC887"/>
    <a:srgbClr val="5B9BD5"/>
    <a:srgbClr val="3A5FFC"/>
    <a:srgbClr val="0097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55" autoAdjust="0"/>
    <p:restoredTop sz="96583" autoAdjust="0"/>
  </p:normalViewPr>
  <p:slideViewPr>
    <p:cSldViewPr snapToGrid="0">
      <p:cViewPr varScale="1">
        <p:scale>
          <a:sx n="70" d="100"/>
          <a:sy n="70" d="100"/>
        </p:scale>
        <p:origin x="640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tseit\Documents\&#1092;&#1072;&#1081;&#1083;&#1099;%20&#1076;&#1083;&#1103;%20&#1075;&#1088;&#1072;&#1092;&#1080;&#1082;&#1086;&#1074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tseit\Documents\&#1092;&#1072;&#1081;&#1083;&#1099;%20&#1076;&#1083;&#1103;%20&#1075;&#1088;&#1072;&#1092;&#1080;&#1082;&#1086;&#1074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834039801569326"/>
          <c:y val="7.3657172846120231E-3"/>
          <c:w val="0.79611287578713408"/>
          <c:h val="0.917791284639950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ДУ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:$A$17</c:f>
              <c:strCache>
                <c:ptCount val="16"/>
                <c:pt idx="0">
                  <c:v>SSAP</c:v>
                </c:pt>
                <c:pt idx="1">
                  <c:v>KPI</c:v>
                </c:pt>
                <c:pt idx="2">
                  <c:v>KLPE</c:v>
                </c:pt>
                <c:pt idx="3">
                  <c:v>KUS</c:v>
                </c:pt>
                <c:pt idx="4">
                  <c:v>Полимер Продакшн</c:v>
                </c:pt>
                <c:pt idx="5">
                  <c:v>Хим+ (3в1)</c:v>
                </c:pt>
                <c:pt idx="6">
                  <c:v>Хим+ (формуляция)</c:v>
                </c:pt>
                <c:pt idx="7">
                  <c:v>СЭЗ ХПТ</c:v>
                </c:pt>
                <c:pt idx="8">
                  <c:v>СЭЗ НИНТ</c:v>
                </c:pt>
                <c:pt idx="9">
                  <c:v>Сульфат аммония</c:v>
                </c:pt>
                <c:pt idx="10">
                  <c:v>Серная кислота 600</c:v>
                </c:pt>
                <c:pt idx="11">
                  <c:v>Серная кислота 800</c:v>
                </c:pt>
                <c:pt idx="12">
                  <c:v>Метанол</c:v>
                </c:pt>
                <c:pt idx="13">
                  <c:v>Углеродное волокно</c:v>
                </c:pt>
                <c:pt idx="14">
                  <c:v>Серная кислота 180 </c:v>
                </c:pt>
                <c:pt idx="15">
                  <c:v>rPET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F8-4C7B-97E6-C0A306BBFE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1455712"/>
        <c:axId val="191456104"/>
      </c:barChart>
      <c:catAx>
        <c:axId val="1914557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1456104"/>
        <c:crosses val="autoZero"/>
        <c:auto val="1"/>
        <c:lblAlgn val="ctr"/>
        <c:lblOffset val="100"/>
        <c:noMultiLvlLbl val="0"/>
      </c:catAx>
      <c:valAx>
        <c:axId val="191456104"/>
        <c:scaling>
          <c:orientation val="minMax"/>
          <c:max val="2027"/>
          <c:min val="2009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191455712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061410217518553E-2"/>
          <c:y val="0.15639863020046141"/>
          <c:w val="0.95930339768562467"/>
          <c:h val="0.671036001127639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м производства (в млрд. тенге)</c:v>
                </c:pt>
              </c:strCache>
            </c:strRef>
          </c:tx>
          <c:spPr>
            <a:solidFill>
              <a:srgbClr val="243E6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</c:numCache>
            </c:num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148</c:v>
                </c:pt>
                <c:pt idx="1">
                  <c:v>179</c:v>
                </c:pt>
                <c:pt idx="2">
                  <c:v>186</c:v>
                </c:pt>
                <c:pt idx="3">
                  <c:v>230</c:v>
                </c:pt>
                <c:pt idx="4">
                  <c:v>242</c:v>
                </c:pt>
                <c:pt idx="5">
                  <c:v>285</c:v>
                </c:pt>
                <c:pt idx="6">
                  <c:v>333</c:v>
                </c:pt>
                <c:pt idx="7">
                  <c:v>401</c:v>
                </c:pt>
                <c:pt idx="8">
                  <c:v>475</c:v>
                </c:pt>
                <c:pt idx="9">
                  <c:v>476</c:v>
                </c:pt>
                <c:pt idx="10">
                  <c:v>574</c:v>
                </c:pt>
                <c:pt idx="11">
                  <c:v>6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B9B-49A3-8C45-83C19B726E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4940024"/>
        <c:axId val="194940416"/>
      </c:barChart>
      <c:catAx>
        <c:axId val="194940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pPr>
            <a:endParaRPr lang="ru-RU"/>
          </a:p>
        </c:txPr>
        <c:crossAx val="194940416"/>
        <c:crosses val="autoZero"/>
        <c:auto val="1"/>
        <c:lblAlgn val="ctr"/>
        <c:lblOffset val="100"/>
        <c:noMultiLvlLbl val="0"/>
      </c:catAx>
      <c:valAx>
        <c:axId val="194940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4940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8931484733473081E-2"/>
          <c:y val="0.92900736959963126"/>
          <c:w val="0.38322420215578379"/>
          <c:h val="5.41871583841893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490478307169328E-2"/>
          <c:y val="8.9562396017411783E-2"/>
          <c:w val="0.94043412310352292"/>
          <c:h val="0.52123051915042662"/>
        </c:manualLayout>
      </c:layout>
      <c:lineChart>
        <c:grouping val="standard"/>
        <c:varyColors val="0"/>
        <c:ser>
          <c:idx val="1"/>
          <c:order val="0"/>
          <c:tx>
            <c:strRef>
              <c:f>Лист1!$C$1</c:f>
              <c:strCache>
                <c:ptCount val="1"/>
                <c:pt idx="0">
                  <c:v>Индекс физического объема, %</c:v>
                </c:pt>
              </c:strCache>
            </c:strRef>
          </c:tx>
          <c:spPr>
            <a:ln w="28575" cap="rnd">
              <a:solidFill>
                <a:srgbClr val="47CC99"/>
              </a:solidFill>
              <a:round/>
            </a:ln>
            <a:effectLst/>
          </c:spPr>
          <c:marker>
            <c:symbol val="triangle"/>
            <c:size val="5"/>
            <c:spPr>
              <a:solidFill>
                <a:srgbClr val="47CC99"/>
              </a:solidFill>
              <a:ln w="9525">
                <a:solidFill>
                  <a:srgbClr val="47CC99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6486103604972068E-2"/>
                  <c:y val="-4.14320110342752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33E-4692-9E3B-894D1F0CF53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1898803323587547E-2"/>
                  <c:y val="-3.28210651695729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05A-4945-8603-C89477E2D3D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</c:numCache>
            </c:numRef>
          </c:cat>
          <c:val>
            <c:numRef>
              <c:f>Лист1!$C$2:$C$13</c:f>
              <c:numCache>
                <c:formatCode>General</c:formatCode>
                <c:ptCount val="12"/>
                <c:pt idx="0">
                  <c:v>130.1</c:v>
                </c:pt>
                <c:pt idx="1">
                  <c:v>103.2</c:v>
                </c:pt>
                <c:pt idx="2">
                  <c:v>102.3</c:v>
                </c:pt>
                <c:pt idx="3">
                  <c:v>101.9</c:v>
                </c:pt>
                <c:pt idx="4">
                  <c:v>102.2</c:v>
                </c:pt>
                <c:pt idx="5">
                  <c:v>97.7</c:v>
                </c:pt>
                <c:pt idx="6">
                  <c:v>109.3</c:v>
                </c:pt>
                <c:pt idx="7">
                  <c:v>108.7</c:v>
                </c:pt>
                <c:pt idx="8">
                  <c:v>102</c:v>
                </c:pt>
                <c:pt idx="9">
                  <c:v>100.2</c:v>
                </c:pt>
                <c:pt idx="10">
                  <c:v>105.3</c:v>
                </c:pt>
                <c:pt idx="11">
                  <c:v>110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390-4940-909A-4C727EA449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942376"/>
        <c:axId val="194942768"/>
      </c:lineChart>
      <c:catAx>
        <c:axId val="1949423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4942768"/>
        <c:crosses val="autoZero"/>
        <c:auto val="1"/>
        <c:lblAlgn val="ctr"/>
        <c:lblOffset val="100"/>
        <c:noMultiLvlLbl val="0"/>
      </c:catAx>
      <c:valAx>
        <c:axId val="194942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4942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922891609930915"/>
          <c:y val="0.93534787997463575"/>
          <c:w val="0.43966993596774823"/>
          <c:h val="6.35234810388062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830465850343999"/>
          <c:y val="3.6735132536580735E-2"/>
          <c:w val="0.77580418735198076"/>
          <c:h val="0.8786896421954608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 Ряд 1 </c:v>
                </c:pt>
              </c:strCache>
            </c:strRef>
          </c:tx>
          <c:spPr>
            <a:solidFill>
              <a:srgbClr val="243E6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1340519350538951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4105464807909859"/>
                  <c:y val="-1.0762429994655069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5912344526759173"/>
                  <c:y val="5.870484176271687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7492522145272488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7295635880506025"/>
                  <c:y val="-1.174096835254337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.19459056876095931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22245295835063861"/>
                  <c:y val="2.9352420881357901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.24650604348795332"/>
                  <c:y val="-5.381214997327534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0.27535432898490803"/>
                  <c:y val="-5.870484176271741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.27896182925547053"/>
                  <c:y val="-2.935242088135870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.32196400331396691"/>
                  <c:y val="-1.345303749331883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0.38893878750374239"/>
                  <c:y val="-6.7265187466594184E-1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308-4DFA-89DF-75A56A2B8D7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</c:numCache>
            </c:numRef>
          </c:cat>
          <c:val>
            <c:numRef>
              <c:f>Лист1!$B$2:$B$13</c:f>
              <c:numCache>
                <c:formatCode>_-* #\ ##0_-;\-* #\ ##0_-;_-* "-"??_-;_-@_-</c:formatCode>
                <c:ptCount val="12"/>
                <c:pt idx="0">
                  <c:v>28243</c:v>
                </c:pt>
                <c:pt idx="1">
                  <c:v>31015</c:v>
                </c:pt>
                <c:pt idx="2">
                  <c:v>35999</c:v>
                </c:pt>
                <c:pt idx="3">
                  <c:v>39676</c:v>
                </c:pt>
                <c:pt idx="4">
                  <c:v>40884</c:v>
                </c:pt>
                <c:pt idx="5">
                  <c:v>46971</c:v>
                </c:pt>
                <c:pt idx="6">
                  <c:v>54379</c:v>
                </c:pt>
                <c:pt idx="7">
                  <c:v>61820</c:v>
                </c:pt>
                <c:pt idx="8">
                  <c:v>69533</c:v>
                </c:pt>
                <c:pt idx="9">
                  <c:v>70649</c:v>
                </c:pt>
                <c:pt idx="10">
                  <c:v>83952</c:v>
                </c:pt>
                <c:pt idx="11">
                  <c:v>1015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308-4DFA-89DF-75A56A2B8D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47CC99"/>
            </a:solidFill>
            <a:ln>
              <a:noFill/>
            </a:ln>
            <a:effectLst/>
          </c:spPr>
          <c:invertIfNegative val="0"/>
          <c:cat>
            <c:numRef>
              <c:f>Лист1!$A$2:$A$13</c:f>
              <c:numCache>
                <c:formatCode>General</c:formatCode>
                <c:ptCount val="12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</c:numCache>
            </c:numRef>
          </c:cat>
          <c:val>
            <c:numRef>
              <c:f>Лист1!$C$2:$C$13</c:f>
              <c:numCache>
                <c:formatCode>General</c:formatCode>
                <c:ptCount val="12"/>
                <c:pt idx="0">
                  <c:v>564.86</c:v>
                </c:pt>
                <c:pt idx="1">
                  <c:v>620.30000000000007</c:v>
                </c:pt>
                <c:pt idx="2">
                  <c:v>719.98</c:v>
                </c:pt>
                <c:pt idx="3">
                  <c:v>793.52</c:v>
                </c:pt>
                <c:pt idx="4">
                  <c:v>817.68000000000006</c:v>
                </c:pt>
                <c:pt idx="5">
                  <c:v>939.42000000000007</c:v>
                </c:pt>
                <c:pt idx="6">
                  <c:v>1087.58</c:v>
                </c:pt>
                <c:pt idx="7">
                  <c:v>1236.4000000000001</c:v>
                </c:pt>
                <c:pt idx="8">
                  <c:v>1390.66</c:v>
                </c:pt>
                <c:pt idx="9">
                  <c:v>1412.98</c:v>
                </c:pt>
                <c:pt idx="10">
                  <c:v>1679.04</c:v>
                </c:pt>
                <c:pt idx="11">
                  <c:v>2030.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308-4DFA-89DF-75A56A2B8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7"/>
        <c:overlap val="100"/>
        <c:axId val="194936104"/>
        <c:axId val="473998600"/>
      </c:barChart>
      <c:catAx>
        <c:axId val="1949361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pPr>
            <a:endParaRPr lang="ru-RU"/>
          </a:p>
        </c:txPr>
        <c:crossAx val="473998600"/>
        <c:crosses val="autoZero"/>
        <c:auto val="1"/>
        <c:lblAlgn val="ctr"/>
        <c:lblOffset val="100"/>
        <c:noMultiLvlLbl val="0"/>
      </c:catAx>
      <c:valAx>
        <c:axId val="473998600"/>
        <c:scaling>
          <c:orientation val="minMax"/>
        </c:scaling>
        <c:delete val="1"/>
        <c:axPos val="b"/>
        <c:numFmt formatCode="_-* #\ ##0_-;\-* #\ ##0_-;_-* &quot;-&quot;??_-;_-@_-" sourceLinked="1"/>
        <c:majorTickMark val="none"/>
        <c:minorTickMark val="none"/>
        <c:tickLblPos val="nextTo"/>
        <c:crossAx val="194936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55555555555555E-2"/>
          <c:y val="3.5149110730014574E-2"/>
          <c:w val="0.93888888888888888"/>
          <c:h val="0.929701778539970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список Тимур'!$I$2</c:f>
              <c:strCache>
                <c:ptCount val="1"/>
                <c:pt idx="0">
                  <c:v>Экспорт</c:v>
                </c:pt>
              </c:strCache>
            </c:strRef>
          </c:tx>
          <c:spPr>
            <a:solidFill>
              <a:srgbClr val="9DD4CF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/>
                      <a:t>2,369,116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373-420A-8D49-BE983D0794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писок Тимур'!$H$3:$H$17</c:f>
              <c:strCache>
                <c:ptCount val="15"/>
                <c:pt idx="0">
                  <c:v>Продукты неорганической химии; соединения неорганические или органические драгоценных металлов, редкоземельных металлов, радиоактивных элементов или изотопов</c:v>
                </c:pt>
                <c:pt idx="1">
                  <c:v>Органические химические соединения</c:v>
                </c:pt>
                <c:pt idx="2">
                  <c:v>Удобрения</c:v>
                </c:pt>
                <c:pt idx="3">
                  <c:v>Пластмассы и изделия из них; </c:v>
                </c:pt>
                <c:pt idx="4">
                  <c:v>Фармацевтическая продукция</c:v>
                </c:pt>
                <c:pt idx="5">
                  <c:v>Прочие химические проукты</c:v>
                </c:pt>
                <c:pt idx="6">
                  <c:v>Экстракты дубильные или красильные; танины и их производные; крамители, пигменты и прочие красящие вещества; краски и лакс; кпатлевки и прочие мастики; полиграфическая, чернила, тушь</c:v>
                </c:pt>
                <c:pt idx="7">
                  <c:v>Эфирные масла и резиноиды; парфюмерные, косметические или туалетыные средства</c:v>
                </c:pt>
                <c:pt idx="8">
                  <c:v>Мыло, поверхностно-активные органические вещества, моющие средства, смазочные материалы, исскусственные и готовые воски, составы для чистки или полировки, свечи и аналогичные изделия, пасты для лепки, пластилин, зубо</c:v>
                </c:pt>
                <c:pt idx="9">
                  <c:v>каучук, резина и изделия из  них</c:v>
                </c:pt>
                <c:pt idx="10">
                  <c:v>Химические нити; плоские и аналогичные нити из химических текстильных материалов</c:v>
                </c:pt>
                <c:pt idx="11">
                  <c:v>Белковые вещества; модифицированные крахмалы; клеи; ферменты</c:v>
                </c:pt>
                <c:pt idx="12">
                  <c:v>Взрывчатые вещества; пиротехнические изделия; спички; пирофоные сплавы; некоторые горючик вещества</c:v>
                </c:pt>
                <c:pt idx="13">
                  <c:v>Химические волокна</c:v>
                </c:pt>
                <c:pt idx="14">
                  <c:v>Фото- и кионтовары</c:v>
                </c:pt>
              </c:strCache>
            </c:strRef>
          </c:cat>
          <c:val>
            <c:numRef>
              <c:f>'список Тимур'!$I$3:$I$17</c:f>
              <c:numCache>
                <c:formatCode>_(* #,##0_);_(* \(#,##0\);_(* "-"??_);_(@_)</c:formatCode>
                <c:ptCount val="15"/>
                <c:pt idx="0">
                  <c:v>2369116.1154499999</c:v>
                </c:pt>
                <c:pt idx="1">
                  <c:v>117027.64288000001</c:v>
                </c:pt>
                <c:pt idx="2">
                  <c:v>113153.31388999999</c:v>
                </c:pt>
                <c:pt idx="3">
                  <c:v>106059.52294</c:v>
                </c:pt>
                <c:pt idx="4">
                  <c:v>58718.971640000003</c:v>
                </c:pt>
                <c:pt idx="5">
                  <c:v>37334.552350000005</c:v>
                </c:pt>
                <c:pt idx="6">
                  <c:v>20202.984149999997</c:v>
                </c:pt>
                <c:pt idx="7">
                  <c:v>17459.738949999999</c:v>
                </c:pt>
                <c:pt idx="8">
                  <c:v>17141.730029999995</c:v>
                </c:pt>
                <c:pt idx="9">
                  <c:v>10240.059669999999</c:v>
                </c:pt>
                <c:pt idx="10">
                  <c:v>3834.8409200000001</c:v>
                </c:pt>
                <c:pt idx="11">
                  <c:v>2361.92812</c:v>
                </c:pt>
                <c:pt idx="12">
                  <c:v>1330.8982500000002</c:v>
                </c:pt>
                <c:pt idx="13">
                  <c:v>238.83908000000002</c:v>
                </c:pt>
                <c:pt idx="14">
                  <c:v>193.066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373-420A-8D49-BE983D0794BC}"/>
            </c:ext>
          </c:extLst>
        </c:ser>
        <c:ser>
          <c:idx val="1"/>
          <c:order val="1"/>
          <c:tx>
            <c:strRef>
              <c:f>'список Тимур'!$J$2</c:f>
              <c:strCache>
                <c:ptCount val="1"/>
                <c:pt idx="0">
                  <c:v>Импорт</c:v>
                </c:pt>
              </c:strCache>
            </c:strRef>
          </c:tx>
          <c:spPr>
            <a:solidFill>
              <a:srgbClr val="B9B88B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писок Тимур'!$H$3:$H$17</c:f>
              <c:strCache>
                <c:ptCount val="15"/>
                <c:pt idx="0">
                  <c:v>Продукты неорганической химии; соединения неорганические или органические драгоценных металлов, редкоземельных металлов, радиоактивных элементов или изотопов</c:v>
                </c:pt>
                <c:pt idx="1">
                  <c:v>Органические химические соединения</c:v>
                </c:pt>
                <c:pt idx="2">
                  <c:v>Удобрения</c:v>
                </c:pt>
                <c:pt idx="3">
                  <c:v>Пластмассы и изделия из них; </c:v>
                </c:pt>
                <c:pt idx="4">
                  <c:v>Фармацевтическая продукция</c:v>
                </c:pt>
                <c:pt idx="5">
                  <c:v>Прочие химические проукты</c:v>
                </c:pt>
                <c:pt idx="6">
                  <c:v>Экстракты дубильные или красильные; танины и их производные; крамители, пигменты и прочие красящие вещества; краски и лакс; кпатлевки и прочие мастики; полиграфическая, чернила, тушь</c:v>
                </c:pt>
                <c:pt idx="7">
                  <c:v>Эфирные масла и резиноиды; парфюмерные, косметические или туалетыные средства</c:v>
                </c:pt>
                <c:pt idx="8">
                  <c:v>Мыло, поверхностно-активные органические вещества, моющие средства, смазочные материалы, исскусственные и готовые воски, составы для чистки или полировки, свечи и аналогичные изделия, пасты для лепки, пластилин, зубо</c:v>
                </c:pt>
                <c:pt idx="9">
                  <c:v>каучук, резина и изделия из  них</c:v>
                </c:pt>
                <c:pt idx="10">
                  <c:v>Химические нити; плоские и аналогичные нити из химических текстильных материалов</c:v>
                </c:pt>
                <c:pt idx="11">
                  <c:v>Белковые вещества; модифицированные крахмалы; клеи; ферменты</c:v>
                </c:pt>
                <c:pt idx="12">
                  <c:v>Взрывчатые вещества; пиротехнические изделия; спички; пирофоные сплавы; некоторые горючик вещества</c:v>
                </c:pt>
                <c:pt idx="13">
                  <c:v>Химические волокна</c:v>
                </c:pt>
                <c:pt idx="14">
                  <c:v>Фото- и кионтовары</c:v>
                </c:pt>
              </c:strCache>
            </c:strRef>
          </c:cat>
          <c:val>
            <c:numRef>
              <c:f>'список Тимур'!$J$3:$J$17</c:f>
              <c:numCache>
                <c:formatCode>_(* #,##0_);_(* \(#,##0\);_(* "-"??_);_(@_)</c:formatCode>
                <c:ptCount val="15"/>
                <c:pt idx="0">
                  <c:v>-372936.00696999999</c:v>
                </c:pt>
                <c:pt idx="1">
                  <c:v>-220562.09377000001</c:v>
                </c:pt>
                <c:pt idx="2">
                  <c:v>-145076.35699999999</c:v>
                </c:pt>
                <c:pt idx="3">
                  <c:v>-1263977.1869499998</c:v>
                </c:pt>
                <c:pt idx="4">
                  <c:v>-1554646.4574800001</c:v>
                </c:pt>
                <c:pt idx="5">
                  <c:v>-613331.62636999995</c:v>
                </c:pt>
                <c:pt idx="6">
                  <c:v>-182491.26642</c:v>
                </c:pt>
                <c:pt idx="7">
                  <c:v>-385734.88172</c:v>
                </c:pt>
                <c:pt idx="8">
                  <c:v>-290175.17152999999</c:v>
                </c:pt>
                <c:pt idx="9">
                  <c:v>-585104.25667999999</c:v>
                </c:pt>
                <c:pt idx="10">
                  <c:v>-62052.705069999996</c:v>
                </c:pt>
                <c:pt idx="11">
                  <c:v>-51573.086580000003</c:v>
                </c:pt>
                <c:pt idx="12">
                  <c:v>-37077.211329999998</c:v>
                </c:pt>
                <c:pt idx="13">
                  <c:v>-50302.168490000004</c:v>
                </c:pt>
                <c:pt idx="14">
                  <c:v>-8429.53824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373-420A-8D49-BE983D0794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6723336"/>
        <c:axId val="186718632"/>
      </c:barChart>
      <c:catAx>
        <c:axId val="186723336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low"/>
        <c:crossAx val="186718632"/>
        <c:crosses val="autoZero"/>
        <c:auto val="1"/>
        <c:lblAlgn val="ctr"/>
        <c:lblOffset val="100"/>
        <c:noMultiLvlLbl val="0"/>
      </c:catAx>
      <c:valAx>
        <c:axId val="186718632"/>
        <c:scaling>
          <c:orientation val="minMax"/>
        </c:scaling>
        <c:delete val="1"/>
        <c:axPos val="t"/>
        <c:numFmt formatCode="_(* #,##0_);_(* \(#,##0\);_(* &quot;-&quot;??_);_(@_)" sourceLinked="1"/>
        <c:majorTickMark val="none"/>
        <c:minorTickMark val="none"/>
        <c:tickLblPos val="nextTo"/>
        <c:crossAx val="186723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список Тимур'!$J$2</c:f>
              <c:strCache>
                <c:ptCount val="1"/>
                <c:pt idx="0">
                  <c:v>Импорт</c:v>
                </c:pt>
              </c:strCache>
            </c:strRef>
          </c:tx>
          <c:spPr>
            <a:solidFill>
              <a:srgbClr val="B9B88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писок Тимур'!$H$20:$H$34</c:f>
              <c:strCache>
                <c:ptCount val="15"/>
                <c:pt idx="0">
                  <c:v>Продукты неорганической химии; соединения неорганические или органические драгоценных металлов, редкоземельных металлов, радиоактивных элементов или изотопов</c:v>
                </c:pt>
                <c:pt idx="1">
                  <c:v>Органические химические соединения</c:v>
                </c:pt>
                <c:pt idx="2">
                  <c:v>Удобрения</c:v>
                </c:pt>
                <c:pt idx="3">
                  <c:v>Пластмассы и изделия из них; </c:v>
                </c:pt>
                <c:pt idx="4">
                  <c:v>Фармацевтическая продукция</c:v>
                </c:pt>
                <c:pt idx="5">
                  <c:v>Прочие химические проукты</c:v>
                </c:pt>
                <c:pt idx="6">
                  <c:v>Экстракты дубильные или красильные; танины и их производные; крамители, пигменты и прочие красящие вещества; краски и лакс; кпатлевки и прочие мастики; полиграфическая, чернила, тушь</c:v>
                </c:pt>
                <c:pt idx="7">
                  <c:v>Эфирные масла и резиноиды; парфюмерные, косметические или туалетыные средства</c:v>
                </c:pt>
                <c:pt idx="8">
                  <c:v>Мыло, поверхностно-активные органические вещества, моющие средства, смазочные материалы, исскусственные и готовые воски, составы для чистки или полировки, свечи и аналогичные изделия, пасты для лепки, пластилин, зубо</c:v>
                </c:pt>
                <c:pt idx="9">
                  <c:v>каучук, резина и изделия из  них</c:v>
                </c:pt>
                <c:pt idx="10">
                  <c:v>Химические нити; плоские и аналогичные нити из химических текстильных материалов</c:v>
                </c:pt>
                <c:pt idx="11">
                  <c:v>Белковые вещества; модифицированные крахмалы; клеи; ферменты</c:v>
                </c:pt>
                <c:pt idx="12">
                  <c:v>Взрывчатые вещества; пиротехнические изделия; спички; пирофоные сплавы; некоторые горючик вещества</c:v>
                </c:pt>
                <c:pt idx="13">
                  <c:v>Химические волокна</c:v>
                </c:pt>
                <c:pt idx="14">
                  <c:v>Фото- и кионтовары</c:v>
                </c:pt>
              </c:strCache>
            </c:strRef>
          </c:cat>
          <c:val>
            <c:numRef>
              <c:f>'список Тимур'!$J$20:$J$34</c:f>
              <c:numCache>
                <c:formatCode>0%</c:formatCode>
                <c:ptCount val="15"/>
                <c:pt idx="0">
                  <c:v>0.13600616994868242</c:v>
                </c:pt>
                <c:pt idx="1">
                  <c:v>0.65334359971574096</c:v>
                </c:pt>
                <c:pt idx="2">
                  <c:v>0.56181133833299601</c:v>
                </c:pt>
                <c:pt idx="3">
                  <c:v>0.92258636416500439</c:v>
                </c:pt>
                <c:pt idx="4">
                  <c:v>0.96360466725010474</c:v>
                </c:pt>
                <c:pt idx="5">
                  <c:v>0.94262103430142152</c:v>
                </c:pt>
                <c:pt idx="6">
                  <c:v>0.90032778880907161</c:v>
                </c:pt>
                <c:pt idx="7">
                  <c:v>0.95669649827920156</c:v>
                </c:pt>
                <c:pt idx="8">
                  <c:v>0.94422132351658739</c:v>
                </c:pt>
                <c:pt idx="9">
                  <c:v>0.98279976916084322</c:v>
                </c:pt>
                <c:pt idx="10">
                  <c:v>0.94179718090301878</c:v>
                </c:pt>
                <c:pt idx="11">
                  <c:v>0.95620788956603364</c:v>
                </c:pt>
                <c:pt idx="12">
                  <c:v>0.96534850934988403</c:v>
                </c:pt>
                <c:pt idx="13">
                  <c:v>0.99527435064152203</c:v>
                </c:pt>
                <c:pt idx="14">
                  <c:v>0.977609297539826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B28-40BA-B11E-C5176C765231}"/>
            </c:ext>
          </c:extLst>
        </c:ser>
        <c:ser>
          <c:idx val="1"/>
          <c:order val="1"/>
          <c:tx>
            <c:strRef>
              <c:f>'список Тимур'!$I$2</c:f>
              <c:strCache>
                <c:ptCount val="1"/>
                <c:pt idx="0">
                  <c:v>Экспорт</c:v>
                </c:pt>
              </c:strCache>
            </c:strRef>
          </c:tx>
          <c:spPr>
            <a:solidFill>
              <a:srgbClr val="9DD4C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список Тимур'!$H$20:$H$34</c:f>
              <c:strCache>
                <c:ptCount val="15"/>
                <c:pt idx="0">
                  <c:v>Продукты неорганической химии; соединения неорганические или органические драгоценных металлов, редкоземельных металлов, радиоактивных элементов или изотопов</c:v>
                </c:pt>
                <c:pt idx="1">
                  <c:v>Органические химические соединения</c:v>
                </c:pt>
                <c:pt idx="2">
                  <c:v>Удобрения</c:v>
                </c:pt>
                <c:pt idx="3">
                  <c:v>Пластмассы и изделия из них; </c:v>
                </c:pt>
                <c:pt idx="4">
                  <c:v>Фармацевтическая продукция</c:v>
                </c:pt>
                <c:pt idx="5">
                  <c:v>Прочие химические проукты</c:v>
                </c:pt>
                <c:pt idx="6">
                  <c:v>Экстракты дубильные или красильные; танины и их производные; крамители, пигменты и прочие красящие вещества; краски и лакс; кпатлевки и прочие мастики; полиграфическая, чернила, тушь</c:v>
                </c:pt>
                <c:pt idx="7">
                  <c:v>Эфирные масла и резиноиды; парфюмерные, косметические или туалетыные средства</c:v>
                </c:pt>
                <c:pt idx="8">
                  <c:v>Мыло, поверхностно-активные органические вещества, моющие средства, смазочные материалы, исскусственные и готовые воски, составы для чистки или полировки, свечи и аналогичные изделия, пасты для лепки, пластилин, зубо</c:v>
                </c:pt>
                <c:pt idx="9">
                  <c:v>каучук, резина и изделия из  них</c:v>
                </c:pt>
                <c:pt idx="10">
                  <c:v>Химические нити; плоские и аналогичные нити из химических текстильных материалов</c:v>
                </c:pt>
                <c:pt idx="11">
                  <c:v>Белковые вещества; модифицированные крахмалы; клеи; ферменты</c:v>
                </c:pt>
                <c:pt idx="12">
                  <c:v>Взрывчатые вещества; пиротехнические изделия; спички; пирофоные сплавы; некоторые горючик вещества</c:v>
                </c:pt>
                <c:pt idx="13">
                  <c:v>Химические волокна</c:v>
                </c:pt>
                <c:pt idx="14">
                  <c:v>Фото- и кионтовары</c:v>
                </c:pt>
              </c:strCache>
            </c:strRef>
          </c:cat>
          <c:val>
            <c:numRef>
              <c:f>'список Тимур'!$I$20:$I$34</c:f>
              <c:numCache>
                <c:formatCode>0%</c:formatCode>
                <c:ptCount val="15"/>
                <c:pt idx="0">
                  <c:v>0.86399383005131758</c:v>
                </c:pt>
                <c:pt idx="1">
                  <c:v>0.34665640028425904</c:v>
                </c:pt>
                <c:pt idx="2">
                  <c:v>0.43818866166700399</c:v>
                </c:pt>
                <c:pt idx="3">
                  <c:v>7.7413635834995623E-2</c:v>
                </c:pt>
                <c:pt idx="4">
                  <c:v>3.6395332749895287E-2</c:v>
                </c:pt>
                <c:pt idx="5">
                  <c:v>5.737896569857847E-2</c:v>
                </c:pt>
                <c:pt idx="6">
                  <c:v>9.9672211190928381E-2</c:v>
                </c:pt>
                <c:pt idx="7">
                  <c:v>4.3303501720798394E-2</c:v>
                </c:pt>
                <c:pt idx="8">
                  <c:v>5.5778676483412601E-2</c:v>
                </c:pt>
                <c:pt idx="9">
                  <c:v>1.720023083915681E-2</c:v>
                </c:pt>
                <c:pt idx="10">
                  <c:v>5.8202819096981218E-2</c:v>
                </c:pt>
                <c:pt idx="11">
                  <c:v>4.3792110433966379E-2</c:v>
                </c:pt>
                <c:pt idx="12">
                  <c:v>3.4651490650115989E-2</c:v>
                </c:pt>
                <c:pt idx="13">
                  <c:v>4.7256493584779558E-3</c:v>
                </c:pt>
                <c:pt idx="14">
                  <c:v>2.239070246017385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B28-40BA-B11E-C5176C7652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6716672"/>
        <c:axId val="186717064"/>
      </c:barChart>
      <c:catAx>
        <c:axId val="18671667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low"/>
        <c:crossAx val="186717064"/>
        <c:crosses val="autoZero"/>
        <c:auto val="1"/>
        <c:lblAlgn val="ctr"/>
        <c:lblOffset val="100"/>
        <c:noMultiLvlLbl val="0"/>
      </c:catAx>
      <c:valAx>
        <c:axId val="18671706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86716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28C488"/>
            </a:solidFill>
            <a:effectLst>
              <a:softEdge rad="0"/>
            </a:effectLst>
          </c:spPr>
          <c:dPt>
            <c:idx val="0"/>
            <c:bubble3D val="0"/>
            <c:spPr>
              <a:solidFill>
                <a:srgbClr val="28C488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7C7-42EA-ADA7-C9A5FE140FA2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7C7-42EA-ADA7-C9A5FE140FA2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0.1</c:v>
                </c:pt>
                <c:pt idx="1">
                  <c:v>9.90000000000000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7C7-42EA-ADA7-C9A5FE140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3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28C488"/>
            </a:solidFill>
            <a:effectLst>
              <a:softEdge rad="0"/>
            </a:effectLst>
          </c:spPr>
          <c:dPt>
            <c:idx val="0"/>
            <c:bubble3D val="0"/>
            <c:spPr>
              <a:solidFill>
                <a:srgbClr val="28C488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4F3-41E5-B6C4-385E9FFBBF2D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4F3-41E5-B6C4-385E9FFBBF2D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9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4F3-41E5-B6C4-385E9FFBBF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3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28C488"/>
            </a:solidFill>
            <a:effectLst>
              <a:softEdge rad="0"/>
            </a:effectLst>
          </c:spPr>
          <c:dPt>
            <c:idx val="0"/>
            <c:bubble3D val="0"/>
            <c:spPr>
              <a:solidFill>
                <a:srgbClr val="28C488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EA1-47D2-9571-713A1DA3189A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EA1-47D2-9571-713A1DA3189A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.5</c:v>
                </c:pt>
                <c:pt idx="1">
                  <c:v>8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EA1-47D2-9571-713A1DA318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3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28C488"/>
            </a:solidFill>
            <a:effectLst>
              <a:softEdge rad="0"/>
            </a:effectLst>
          </c:spPr>
          <c:explosion val="10"/>
          <c:dPt>
            <c:idx val="0"/>
            <c:bubble3D val="0"/>
            <c:explosion val="30"/>
            <c:spPr>
              <a:solidFill>
                <a:srgbClr val="28C488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89-4699-916E-59F8E4A529E0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589-4699-916E-59F8E4A529E0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9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589-4699-916E-59F8E4A529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3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28C488"/>
            </a:solidFill>
            <a:effectLst>
              <a:softEdge rad="0"/>
            </a:effectLst>
          </c:spPr>
          <c:dPt>
            <c:idx val="0"/>
            <c:bubble3D val="0"/>
            <c:spPr>
              <a:solidFill>
                <a:srgbClr val="28C488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597-4745-A50D-898A888A49CF}"/>
              </c:ext>
            </c:extLst>
          </c:dPt>
          <c:dPt>
            <c:idx val="1"/>
            <c:bubble3D val="0"/>
            <c:spPr>
              <a:solidFill>
                <a:srgbClr val="144172"/>
              </a:solidFill>
              <a:ln w="19050">
                <a:solidFill>
                  <a:schemeClr val="lt1"/>
                </a:solidFill>
              </a:ln>
              <a:effectLst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597-4745-A50D-898A888A49CF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8</c:v>
                </c:pt>
                <c:pt idx="1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597-4745-A50D-898A888A49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3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1382789790235"/>
          <c:y val="6.5664549803588018E-2"/>
          <c:w val="0.34350572767836463"/>
          <c:h val="0.8194224880401329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243E6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B0-4269-AA19-9096B3A9CBB6}"/>
              </c:ext>
            </c:extLst>
          </c:dPt>
          <c:dPt>
            <c:idx val="1"/>
            <c:bubble3D val="0"/>
            <c:spPr>
              <a:solidFill>
                <a:srgbClr val="47CC99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B0-4269-AA19-9096B3A9CBB6}"/>
              </c:ext>
            </c:extLst>
          </c:dPt>
          <c:cat>
            <c:strRef>
              <c:f>Лист1!$A$2:$A$3</c:f>
              <c:strCache>
                <c:ptCount val="2"/>
                <c:pt idx="0">
                  <c:v>ТОО «Samruk-Kazyna Ondeu» </c:v>
                </c:pt>
                <c:pt idx="1">
                  <c:v>АО «НАК «Казатомпром»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0.11</c:v>
                </c:pt>
                <c:pt idx="1">
                  <c:v>9.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9B0-4269-AA19-9096B3A9CB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9822091246748462"/>
          <c:y val="0.30702256895481977"/>
          <c:w val="0.48770298707347221"/>
          <c:h val="0.19567692763269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60282822491958"/>
          <c:y val="6.5664549803588018E-2"/>
          <c:w val="0.34350572767836463"/>
          <c:h val="0.8194224880401329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243E6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B0-4269-AA19-9096B3A9CBB6}"/>
              </c:ext>
            </c:extLst>
          </c:dPt>
          <c:dPt>
            <c:idx val="1"/>
            <c:bubble3D val="0"/>
            <c:spPr>
              <a:solidFill>
                <a:srgbClr val="47CC99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B0-4269-AA19-9096B3A9CBB6}"/>
              </c:ext>
            </c:extLst>
          </c:dPt>
          <c:cat>
            <c:strRef>
              <c:f>Лист1!$A$2:$A$3</c:f>
              <c:strCache>
                <c:ptCount val="2"/>
                <c:pt idx="0">
                  <c:v>ТОО «Samruk-Kazyna Ondeu» </c:v>
                </c:pt>
                <c:pt idx="1">
                  <c:v>ТОО «Самрук-Қазына Инвест»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9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9B0-4269-AA19-9096B3A9CB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1886607655454431"/>
          <c:y val="0.30702256895481977"/>
          <c:w val="0.46705782298641235"/>
          <c:h val="0.417294982478681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243E6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B0-4269-AA19-9096B3A9CBB6}"/>
              </c:ext>
            </c:extLst>
          </c:dPt>
          <c:dPt>
            <c:idx val="1"/>
            <c:bubble3D val="0"/>
            <c:spPr>
              <a:solidFill>
                <a:srgbClr val="47CC99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B0-4269-AA19-9096B3A9CBB6}"/>
              </c:ext>
            </c:extLst>
          </c:dPt>
          <c:cat>
            <c:strRef>
              <c:f>Лист1!$A$2:$A$3</c:f>
              <c:strCache>
                <c:ptCount val="2"/>
                <c:pt idx="0">
                  <c:v>ТОО «Samruk-Kazyna Ondeu» </c:v>
                </c:pt>
                <c:pt idx="1">
                  <c:v>АО «УК СЭЗ «ХимПарк Тараз»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9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9B0-4269-AA19-9096B3A9CB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1886605285354381"/>
          <c:y val="0.30702256895481977"/>
          <c:w val="0.46705769821187315"/>
          <c:h val="0.417294982478681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8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9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C779D5-07FB-4C90-B7F4-071370FD8DC1}" type="datetimeFigureOut">
              <a:rPr lang="ru-RU" smtClean="0"/>
              <a:t>06.06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F80924-E4FC-4150-95DF-CABFD34EB41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242856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8D7BB4-0054-424D-B344-F0C52F76355D}" type="datetimeFigureOut">
              <a:rPr lang="ru-RU" smtClean="0"/>
              <a:t>06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5E62A7-16A8-478B-950A-A1C551317F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688005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4F75372A-F483-BF4C-A311-87AB670BD6E8}" type="slidenum">
              <a:rPr lang="ru-RU" noProof="0" smtClean="0"/>
              <a:t>4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352164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D6CA4B-7658-4B0B-B5D2-1E937BDD42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265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4D6CA4B-7658-4B0B-B5D2-1E937BDD42C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5841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5859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4F75372A-F483-BF4C-A311-87AB670BD6E8}" type="slidenum">
              <a:rPr lang="ru-RU" noProof="0" smtClean="0"/>
              <a:t>5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725749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Aft>
                <a:spcPts val="687"/>
              </a:spcAft>
              <a:tabLst>
                <a:tab pos="91188" algn="l"/>
              </a:tabLst>
            </a:pPr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4F75372A-F483-BF4C-A311-87AB670BD6E8}" type="slidenum">
              <a:rPr lang="ru-RU" noProof="0" smtClean="0"/>
              <a:t>7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6467862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C971FF-EF28-4195-A575-329446EFAA55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295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C971FF-EF28-4195-A575-329446EFAA55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3648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5E62A7-16A8-478B-950A-A1C551317F85}" type="slidenum">
              <a:rPr lang="ru-RU" smtClean="0"/>
              <a:t>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7767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75372A-F483-BF4C-A311-87AB670BD6E8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1038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3:notes"/>
          <p:cNvSpPr txBox="1">
            <a:spLocks noGrp="1"/>
          </p:cNvSpPr>
          <p:nvPr>
            <p:ph type="body" idx="1"/>
          </p:nvPr>
        </p:nvSpPr>
        <p:spPr>
          <a:xfrm>
            <a:off x="667442" y="4718553"/>
            <a:ext cx="5339532" cy="3860635"/>
          </a:xfrm>
          <a:prstGeom prst="rect">
            <a:avLst/>
          </a:prstGeom>
        </p:spPr>
        <p:txBody>
          <a:bodyPr spcFirstLastPara="1" wrap="square" lIns="90730" tIns="45353" rIns="90730" bIns="45353" anchor="t" anchorCtr="0">
            <a:noAutofit/>
          </a:bodyPr>
          <a:lstStyle/>
          <a:p>
            <a:pPr defTabSz="914308">
              <a:defRPr/>
            </a:pPr>
            <a:r>
              <a:rPr lang="ru-RU" dirty="0"/>
              <a:t>В результате, на сегодняшний день сальдо торгового баланса химической продукции Казахстана является «отрицательным» по всем торговым позициям. Как вы видите, п</a:t>
            </a:r>
            <a:r>
              <a:rPr lang="ru-RU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оложительный</a:t>
            </a:r>
            <a:r>
              <a:rPr lang="ru-RU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 чистый экспорт наблюдается только в группе: </a:t>
            </a:r>
            <a:r>
              <a:rPr lang="en-US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“</a:t>
            </a:r>
            <a:r>
              <a:rPr lang="ru-RU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неорганическая химия; соединения редкоземельных металлов и радиоактивных элементов</a:t>
            </a:r>
            <a:r>
              <a:rPr lang="en-US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”</a:t>
            </a:r>
            <a:r>
              <a:rPr lang="ru-RU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, где 3/4 всего экспорта группы дают соединения радиоактивных элементов (продукция </a:t>
            </a:r>
            <a:r>
              <a:rPr lang="ru-RU" kern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КазАтомПрома</a:t>
            </a:r>
            <a:r>
              <a:rPr lang="ru-RU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), тогда как по остальным группам товаров химической продукции объем импортируемого товара превосходит экспорт в 10 раз</a:t>
            </a:r>
          </a:p>
          <a:p>
            <a:pPr defTabSz="914308">
              <a:defRPr/>
            </a:pPr>
            <a:endParaRPr lang="ru-RU" b="1" kern="0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cs typeface="Arial"/>
            </a:endParaRPr>
          </a:p>
          <a:p>
            <a:endParaRPr dirty="0"/>
          </a:p>
        </p:txBody>
      </p:sp>
      <p:sp>
        <p:nvSpPr>
          <p:cNvPr id="131" name="Google Shape;13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27138"/>
            <a:ext cx="5876925" cy="3306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698872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sz="2400" b="1" dirty="0">
              <a:solidFill>
                <a:srgbClr val="FF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E62A7-16A8-478B-950A-A1C551317F85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8129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oleObject" Target="../embeddings/oleObject28.bin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8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oleObject" Target="../embeddings/oleObject23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3368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3707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7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BD489C38-F465-4AB5-83CC-609AA8C9B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962469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5A92727-021C-4E33-8B3B-159F4571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982" y="131444"/>
            <a:ext cx="10322493" cy="705994"/>
          </a:xfrm>
          <a:prstGeom prst="rect">
            <a:avLst/>
          </a:prstGeom>
        </p:spPr>
        <p:txBody>
          <a:bodyPr/>
          <a:lstStyle>
            <a:lvl1pPr>
              <a:defRPr sz="159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EB73960-229F-4D3A-A502-25E678B449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893" y="1228437"/>
            <a:ext cx="10515600" cy="49485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56B9A69-481A-4E1B-AC89-7D9A5980E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067" y="90360"/>
            <a:ext cx="980325" cy="788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0101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932" y="274638"/>
            <a:ext cx="9756140" cy="13255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830773" y="6448427"/>
            <a:ext cx="1143298" cy="180974"/>
          </a:xfrm>
          <a:prstGeom prst="rect">
            <a:avLst/>
          </a:prstGeom>
        </p:spPr>
        <p:txBody>
          <a:bodyPr/>
          <a:lstStyle>
            <a:lvl1pPr>
              <a:defRPr sz="597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2714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36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28900" y="6404295"/>
            <a:ext cx="324902" cy="2692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377795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Заголовок и объект" userDrawn="1">
  <p:cSld name="3_Заголовок и объект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261" y="34950"/>
            <a:ext cx="1454793" cy="648000"/>
          </a:xfrm>
          <a:prstGeom prst="rect">
            <a:avLst/>
          </a:prstGeom>
        </p:spPr>
      </p:pic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9550" y="6492877"/>
            <a:ext cx="5524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000000-1234-1234-1234-12341234123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53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89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57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ECC5FC6-5FE6-12FC-8D1A-24B9E5DB6F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5F698705-2075-9DCE-FCA8-3ACD1FEFAE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415E8C4-1CFF-AD97-AB0C-3E78D580B0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BA000C09-DBC2-E9C5-E652-CBC4A73A9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AFE9154-D5B7-77BB-B5D7-78155271C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56825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1DB0FAE-5949-3F62-479A-2EE870777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D610EC2-9347-A83E-CF14-94F66EFA9F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7250D4D-BA09-50A0-9834-0D4E33724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BCC557E-71DF-447A-1132-A9E5F7A6B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3A8FFED-800B-1005-2070-A0C835E1C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30988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728EBA1-9471-5F3F-C852-CB69167AC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CF60C38-BE25-2874-7DC5-21F6C1C5AD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55511EE-B56E-E117-FFB9-D95BF235C5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18EB259-3352-CDA8-13F1-4327920D58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DE79394-39F2-7BBC-2CD1-A77B38E44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88150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08A6CFD-ADEB-90A2-92FF-136E1CB89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B269148-956D-D87D-8A51-A0D575A5C5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F0BA557B-33D1-7B0A-866F-1EADEB3092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50700C04-D146-AAE3-9C4A-98073F771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BAB32AE9-FFAC-6941-F3E4-38F2805AE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59410DDB-8809-D756-9232-D5190D634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025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7C20534-2E10-5307-500C-9B13670BE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6B79567F-0CAC-1F3A-4F9F-D331E88486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49BED87F-1F1E-CC21-77DA-FBAFC50EBE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42B23B7A-C65E-DAAD-CB74-0D942D6EA6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328EE25C-F0DA-E399-4B93-2F0ACF4937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0406A05F-CCCF-08DD-1994-3163AB804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724A448D-FC24-FED6-C00E-C07543C613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CB0A3780-FC9B-9662-D8CD-E37469F59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989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923293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98E552B-4505-07BE-B397-2F67C33DC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0AA199DE-697F-D3D7-2973-25BB9F008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968CDA5E-A6AE-A3AE-B90C-6B55D382E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53AFAABB-5864-C88D-516D-0C841E8FF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22020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61C885DC-1434-C2C9-7839-C4A2AA0B4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825CC0EF-AF8A-A42E-454D-89A84D10F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60E4A55-D6BA-4A44-A4A6-33A61DDA5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53722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F351B5E-48CF-317E-F4EF-4F308C9B7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F314A2E8-543B-A16B-D290-6EC9057240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36F2302B-A34E-396E-E4F4-FCDE3F1ED3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61A97415-EBEB-86C5-CE1A-E2C53C455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EF95D079-3A5E-BAD0-8763-760B3758B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0C883C80-D7C9-7528-FAB6-E69C0CF3B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25453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3944225-CDEF-693D-10CA-10AA9E316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B109C599-7AF4-61DC-28B2-53180362C4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7A5E0D5B-B83C-FEB7-56E8-C98315DFEA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83E213CB-0147-BF69-99E1-BF5E7E312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8539B8F2-73FA-EB05-3BAB-142B93378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9AF22307-47D3-6E07-D26A-001F2835D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66067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E97A0D6-5916-4E42-E6C3-BE25F6D316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168A6882-6E90-0B31-C4BD-54028E552F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8559F29-D771-CC05-4854-70FA8E845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83095DB-A3A3-6AA6-35B9-7DBFF2CF2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918BAF4D-53DF-2673-F1EA-FBF05EE04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71135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4D38995F-42C4-2114-CA48-1BA4A36F0E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EC299722-3066-B107-70ED-B6E165AFBE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5D1461BB-A6BC-3C1F-2279-DAA72DE4B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B1FF2EBA-21C3-98B7-753A-872E4146E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AB4ED13-1C02-A890-23A5-5DB8424BD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45186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Расположение рисунков в основной стать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12FFD63-8D92-B741-B6B3-1FE000FF27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180" y="212541"/>
            <a:ext cx="4970195" cy="744960"/>
          </a:xfrm>
        </p:spPr>
        <p:txBody>
          <a:bodyPr rtlCol="0">
            <a:normAutofit/>
          </a:bodyPr>
          <a:lstStyle>
            <a:lvl1pPr>
              <a:defRPr sz="2386">
                <a:solidFill>
                  <a:schemeClr val="accent4"/>
                </a:solidFill>
              </a:defRPr>
            </a:lvl1pPr>
          </a:lstStyle>
          <a:p>
            <a:pPr rtl="0"/>
            <a:r>
              <a:rPr lang="ru-RU" noProof="0"/>
              <a:t>Заголовок основной статьи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CC7A09F6-762B-1942-9CA5-5B6680E33E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Добавьте нижний колонтиту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672542B-48FE-D14C-A887-2A63248948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CB2079F2-58AF-ED44-82D7-E04B2F6FD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F6A4B57-8BC2-1446-9E08-DD15BBFF076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 rtlCol="0"/>
          <a:lstStyle/>
          <a:p>
            <a:fld id="{062B678A-7B2C-4D55-913E-0A1C1A92CA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4092FED9-F29D-644B-BCF2-2968CED2C749}"/>
              </a:ext>
            </a:extLst>
          </p:cNvPr>
          <p:cNvCxnSpPr/>
          <p:nvPr userDrawn="1"/>
        </p:nvCxnSpPr>
        <p:spPr>
          <a:xfrm>
            <a:off x="639148" y="212543"/>
            <a:ext cx="0" cy="744959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C04A0D6F-F996-434B-9FCE-1D573737EED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6172" y="1317413"/>
            <a:ext cx="5361207" cy="2350530"/>
          </a:xfrm>
        </p:spPr>
        <p:txBody>
          <a:bodyPr rtlCol="0"/>
          <a:lstStyle/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="" xmlns:a16="http://schemas.microsoft.com/office/drawing/2014/main" id="{02DDB3CA-4049-BD4C-83A1-7BBF091B27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171" y="3827318"/>
            <a:ext cx="5378823" cy="2538196"/>
          </a:xfrm>
        </p:spPr>
        <p:txBody>
          <a:bodyPr numCol="2" spcCol="182880" rtlCol="0">
            <a:normAutofit/>
          </a:bodyPr>
          <a:lstStyle>
            <a:lvl1pPr marL="0" indent="0">
              <a:lnSpc>
                <a:spcPct val="130000"/>
              </a:lnSpc>
              <a:buNone/>
              <a:defRPr sz="955"/>
            </a:lvl1pPr>
            <a:lvl2pPr>
              <a:defRPr sz="1091"/>
            </a:lvl2pPr>
            <a:lvl3pPr>
              <a:defRPr sz="955"/>
            </a:lvl3pPr>
            <a:lvl4pPr>
              <a:defRPr sz="818"/>
            </a:lvl4pPr>
            <a:lvl5pPr algn="l">
              <a:defRPr sz="818"/>
            </a:lvl5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14" name="Надпись 13">
            <a:extLst>
              <a:ext uri="{FF2B5EF4-FFF2-40B4-BE49-F238E27FC236}">
                <a16:creationId xmlns="" xmlns:a16="http://schemas.microsoft.com/office/drawing/2014/main" id="{52D08331-6544-744C-8571-269612F406D9}"/>
              </a:ext>
            </a:extLst>
          </p:cNvPr>
          <p:cNvSpPr txBox="1"/>
          <p:nvPr userDrawn="1"/>
        </p:nvSpPr>
        <p:spPr>
          <a:xfrm>
            <a:off x="6096001" y="212542"/>
            <a:ext cx="5967035" cy="2158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803">
              <a:solidFill>
                <a:prstClr val="black"/>
              </a:solidFill>
            </a:endParaRPr>
          </a:p>
        </p:txBody>
      </p:sp>
      <p:sp>
        <p:nvSpPr>
          <p:cNvPr id="15" name="Текст 11">
            <a:extLst>
              <a:ext uri="{FF2B5EF4-FFF2-40B4-BE49-F238E27FC236}">
                <a16:creationId xmlns="" xmlns:a16="http://schemas.microsoft.com/office/drawing/2014/main" id="{5A048A91-9FD9-5B42-9AFE-B422C92023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1" y="212542"/>
            <a:ext cx="5967035" cy="6152973"/>
          </a:xfrm>
        </p:spPr>
        <p:txBody>
          <a:bodyPr numCol="2" spcCol="182880" rtlCol="0">
            <a:normAutofit/>
          </a:bodyPr>
          <a:lstStyle>
            <a:lvl1pPr marL="0" marR="0" indent="0" algn="l" defTabSz="914396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55"/>
            </a:lvl1pPr>
            <a:lvl2pPr>
              <a:defRPr sz="1091"/>
            </a:lvl2pPr>
            <a:lvl3pPr>
              <a:defRPr sz="955"/>
            </a:lvl3pPr>
            <a:lvl4pPr>
              <a:defRPr sz="818"/>
            </a:lvl4pPr>
            <a:lvl5pPr>
              <a:defRPr sz="818"/>
            </a:lvl5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16" name="Текст 10">
            <a:extLst>
              <a:ext uri="{FF2B5EF4-FFF2-40B4-BE49-F238E27FC236}">
                <a16:creationId xmlns="" xmlns:a16="http://schemas.microsoft.com/office/drawing/2014/main" id="{9984EB38-DD6D-2948-996C-2E9069D0A7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8966" y="212542"/>
            <a:ext cx="510183" cy="744959"/>
          </a:xfrm>
        </p:spPr>
        <p:txBody>
          <a:bodyPr rtlCol="0" anchor="ctr">
            <a:normAutofit/>
          </a:bodyPr>
          <a:lstStyle>
            <a:lvl1pPr marL="0" indent="0" algn="ctr">
              <a:buFontTx/>
              <a:buNone/>
              <a:defRPr sz="2386">
                <a:solidFill>
                  <a:schemeClr val="accent4"/>
                </a:solidFill>
              </a:defRPr>
            </a:lvl1pPr>
            <a:lvl2pPr>
              <a:defRPr sz="150"/>
            </a:lvl2pPr>
            <a:lvl3pPr marL="914396" indent="0" algn="l">
              <a:buFontTx/>
              <a:buNone/>
              <a:defRPr sz="4432"/>
            </a:lvl3pPr>
          </a:lstStyle>
          <a:p>
            <a:pPr lvl="0" rtl="0"/>
            <a:r>
              <a:rPr lang="ru-RU" noProof="0"/>
              <a:t>1</a:t>
            </a:r>
          </a:p>
        </p:txBody>
      </p:sp>
      <p:sp>
        <p:nvSpPr>
          <p:cNvPr id="13" name="Текст 66">
            <a:extLst>
              <a:ext uri="{FF2B5EF4-FFF2-40B4-BE49-F238E27FC236}">
                <a16:creationId xmlns="" xmlns:a16="http://schemas.microsoft.com/office/drawing/2014/main" id="{81EF9CB8-C11A-5D44-876B-20EA78D2FC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7179" y="973463"/>
            <a:ext cx="1777696" cy="217389"/>
          </a:xfrm>
        </p:spPr>
        <p:txBody>
          <a:bodyPr rtlCol="0" anchor="ctr">
            <a:noAutofit/>
          </a:bodyPr>
          <a:lstStyle>
            <a:lvl1pPr marL="0" indent="0" algn="l">
              <a:buFontTx/>
              <a:buNone/>
              <a:defRPr sz="1091" b="1" u="none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198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96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94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93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ru-RU" noProof="0"/>
              <a:t>Имя автора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63D00EE4-469A-3640-B0D6-93DACF96A278}"/>
              </a:ext>
            </a:extLst>
          </p:cNvPr>
          <p:cNvCxnSpPr>
            <a:cxnSpLocks/>
          </p:cNvCxnSpPr>
          <p:nvPr userDrawn="1"/>
        </p:nvCxnSpPr>
        <p:spPr>
          <a:xfrm>
            <a:off x="639148" y="212543"/>
            <a:ext cx="0" cy="97831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4617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6" name="그림 개체 틀 2">
            <a:extLst>
              <a:ext uri="{FF2B5EF4-FFF2-40B4-BE49-F238E27FC236}">
                <a16:creationId xmlns="" xmlns:a16="http://schemas.microsoft.com/office/drawing/2014/main" id="{86DCE200-6A5B-44AD-8BA4-39183B76E3C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62000" y="1582965"/>
            <a:ext cx="3200400" cy="462733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ko-KR" altLang="en-US" sz="16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6854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_Contents.Continuatio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336C4246-8D88-4304-8AAA-6EACD1BA0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4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8DCDFFED-34D0-4883-A1DD-35F0D1C0A8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42044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932" y="274638"/>
            <a:ext cx="9756140" cy="13255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830773" y="6448427"/>
            <a:ext cx="1143298" cy="180974"/>
          </a:xfrm>
          <a:prstGeom prst="rect">
            <a:avLst/>
          </a:prstGeom>
        </p:spPr>
        <p:txBody>
          <a:bodyPr/>
          <a:lstStyle>
            <a:lvl1pPr>
              <a:defRPr sz="597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563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512301" y="979303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7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512300" y="587581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01547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40" y="215901"/>
            <a:ext cx="11523135" cy="215900"/>
          </a:xfrm>
          <a:prstGeom prst="rect">
            <a:avLst/>
          </a:prstGeom>
        </p:spPr>
        <p:txBody>
          <a:bodyPr lIns="0" tIns="0" rIns="0" bIns="18843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37300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82"/>
              </a:spcBef>
              <a:defRPr sz="719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950620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>
            <a:spLocks noEditPoints="1"/>
          </p:cNvSpPr>
          <p:nvPr/>
        </p:nvSpPr>
        <p:spPr bwMode="auto">
          <a:xfrm>
            <a:off x="-3176" y="12700"/>
            <a:ext cx="12195176" cy="6845300"/>
          </a:xfrm>
          <a:custGeom>
            <a:avLst/>
            <a:gdLst>
              <a:gd name="T0" fmla="*/ 2528 w 3842"/>
              <a:gd name="T1" fmla="*/ 2084 h 2164"/>
              <a:gd name="T2" fmla="*/ 2619 w 3842"/>
              <a:gd name="T3" fmla="*/ 1953 h 2164"/>
              <a:gd name="T4" fmla="*/ 2540 w 3842"/>
              <a:gd name="T5" fmla="*/ 1830 h 2164"/>
              <a:gd name="T6" fmla="*/ 2558 w 3842"/>
              <a:gd name="T7" fmla="*/ 1824 h 2164"/>
              <a:gd name="T8" fmla="*/ 2599 w 3842"/>
              <a:gd name="T9" fmla="*/ 1886 h 2164"/>
              <a:gd name="T10" fmla="*/ 534 w 3842"/>
              <a:gd name="T11" fmla="*/ 34 h 2164"/>
              <a:gd name="T12" fmla="*/ 1063 w 3842"/>
              <a:gd name="T13" fmla="*/ 16 h 2164"/>
              <a:gd name="T14" fmla="*/ 418 w 3842"/>
              <a:gd name="T15" fmla="*/ 91 h 2164"/>
              <a:gd name="T16" fmla="*/ 441 w 3842"/>
              <a:gd name="T17" fmla="*/ 47 h 2164"/>
              <a:gd name="T18" fmla="*/ 2955 w 3842"/>
              <a:gd name="T19" fmla="*/ 197 h 2164"/>
              <a:gd name="T20" fmla="*/ 2102 w 3842"/>
              <a:gd name="T21" fmla="*/ 39 h 2164"/>
              <a:gd name="T22" fmla="*/ 1208 w 3842"/>
              <a:gd name="T23" fmla="*/ 395 h 2164"/>
              <a:gd name="T24" fmla="*/ 1335 w 3842"/>
              <a:gd name="T25" fmla="*/ 191 h 2164"/>
              <a:gd name="T26" fmla="*/ 1512 w 3842"/>
              <a:gd name="T27" fmla="*/ 309 h 2164"/>
              <a:gd name="T28" fmla="*/ 2495 w 3842"/>
              <a:gd name="T29" fmla="*/ 1883 h 2164"/>
              <a:gd name="T30" fmla="*/ 2402 w 3842"/>
              <a:gd name="T31" fmla="*/ 1994 h 2164"/>
              <a:gd name="T32" fmla="*/ 2122 w 3842"/>
              <a:gd name="T33" fmla="*/ 2051 h 2164"/>
              <a:gd name="T34" fmla="*/ 52 w 3842"/>
              <a:gd name="T35" fmla="*/ 888 h 2164"/>
              <a:gd name="T36" fmla="*/ 84 w 3842"/>
              <a:gd name="T37" fmla="*/ 841 h 2164"/>
              <a:gd name="T38" fmla="*/ 12 w 3842"/>
              <a:gd name="T39" fmla="*/ 865 h 2164"/>
              <a:gd name="T40" fmla="*/ 435 w 3842"/>
              <a:gd name="T41" fmla="*/ 1316 h 2164"/>
              <a:gd name="T42" fmla="*/ 506 w 3842"/>
              <a:gd name="T43" fmla="*/ 811 h 2164"/>
              <a:gd name="T44" fmla="*/ 453 w 3842"/>
              <a:gd name="T45" fmla="*/ 1187 h 2164"/>
              <a:gd name="T46" fmla="*/ 2961 w 3842"/>
              <a:gd name="T47" fmla="*/ 1204 h 2164"/>
              <a:gd name="T48" fmla="*/ 2942 w 3842"/>
              <a:gd name="T49" fmla="*/ 903 h 2164"/>
              <a:gd name="T50" fmla="*/ 2924 w 3842"/>
              <a:gd name="T51" fmla="*/ 1291 h 2164"/>
              <a:gd name="T52" fmla="*/ 2703 w 3842"/>
              <a:gd name="T53" fmla="*/ 1452 h 2164"/>
              <a:gd name="T54" fmla="*/ 3737 w 3842"/>
              <a:gd name="T55" fmla="*/ 481 h 2164"/>
              <a:gd name="T56" fmla="*/ 2969 w 3842"/>
              <a:gd name="T57" fmla="*/ 323 h 2164"/>
              <a:gd name="T58" fmla="*/ 2435 w 3842"/>
              <a:gd name="T59" fmla="*/ 286 h 2164"/>
              <a:gd name="T60" fmla="*/ 2096 w 3842"/>
              <a:gd name="T61" fmla="*/ 183 h 2164"/>
              <a:gd name="T62" fmla="*/ 1622 w 3842"/>
              <a:gd name="T63" fmla="*/ 348 h 2164"/>
              <a:gd name="T64" fmla="*/ 1457 w 3842"/>
              <a:gd name="T65" fmla="*/ 390 h 2164"/>
              <a:gd name="T66" fmla="*/ 995 w 3842"/>
              <a:gd name="T67" fmla="*/ 551 h 2164"/>
              <a:gd name="T68" fmla="*/ 721 w 3842"/>
              <a:gd name="T69" fmla="*/ 429 h 2164"/>
              <a:gd name="T70" fmla="*/ 510 w 3842"/>
              <a:gd name="T71" fmla="*/ 438 h 2164"/>
              <a:gd name="T72" fmla="*/ 364 w 3842"/>
              <a:gd name="T73" fmla="*/ 600 h 2164"/>
              <a:gd name="T74" fmla="*/ 245 w 3842"/>
              <a:gd name="T75" fmla="*/ 751 h 2164"/>
              <a:gd name="T76" fmla="*/ 479 w 3842"/>
              <a:gd name="T77" fmla="*/ 667 h 2164"/>
              <a:gd name="T78" fmla="*/ 616 w 3842"/>
              <a:gd name="T79" fmla="*/ 789 h 2164"/>
              <a:gd name="T80" fmla="*/ 295 w 3842"/>
              <a:gd name="T81" fmla="*/ 868 h 2164"/>
              <a:gd name="T82" fmla="*/ 73 w 3842"/>
              <a:gd name="T83" fmla="*/ 1180 h 2164"/>
              <a:gd name="T84" fmla="*/ 442 w 3842"/>
              <a:gd name="T85" fmla="*/ 1213 h 2164"/>
              <a:gd name="T86" fmla="*/ 603 w 3842"/>
              <a:gd name="T87" fmla="*/ 1309 h 2164"/>
              <a:gd name="T88" fmla="*/ 700 w 3842"/>
              <a:gd name="T89" fmla="*/ 1335 h 2164"/>
              <a:gd name="T90" fmla="*/ 159 w 3842"/>
              <a:gd name="T91" fmla="*/ 1972 h 2164"/>
              <a:gd name="T92" fmla="*/ 908 w 3842"/>
              <a:gd name="T93" fmla="*/ 1771 h 2164"/>
              <a:gd name="T94" fmla="*/ 1247 w 3842"/>
              <a:gd name="T95" fmla="*/ 1561 h 2164"/>
              <a:gd name="T96" fmla="*/ 1468 w 3842"/>
              <a:gd name="T97" fmla="*/ 1612 h 2164"/>
              <a:gd name="T98" fmla="*/ 1870 w 3842"/>
              <a:gd name="T99" fmla="*/ 1656 h 2164"/>
              <a:gd name="T100" fmla="*/ 2075 w 3842"/>
              <a:gd name="T101" fmla="*/ 1936 h 2164"/>
              <a:gd name="T102" fmla="*/ 2283 w 3842"/>
              <a:gd name="T103" fmla="*/ 1796 h 2164"/>
              <a:gd name="T104" fmla="*/ 2512 w 3842"/>
              <a:gd name="T105" fmla="*/ 1539 h 2164"/>
              <a:gd name="T106" fmla="*/ 2607 w 3842"/>
              <a:gd name="T107" fmla="*/ 1312 h 2164"/>
              <a:gd name="T108" fmla="*/ 2904 w 3842"/>
              <a:gd name="T109" fmla="*/ 1004 h 2164"/>
              <a:gd name="T110" fmla="*/ 3290 w 3842"/>
              <a:gd name="T111" fmla="*/ 695 h 2164"/>
              <a:gd name="T112" fmla="*/ 3427 w 3842"/>
              <a:gd name="T113" fmla="*/ 731 h 2164"/>
              <a:gd name="T114" fmla="*/ 3832 w 3842"/>
              <a:gd name="T115" fmla="*/ 573 h 2164"/>
              <a:gd name="T116" fmla="*/ 818 w 3842"/>
              <a:gd name="T117" fmla="*/ 668 h 2164"/>
              <a:gd name="T118" fmla="*/ 776 w 3842"/>
              <a:gd name="T119" fmla="*/ 1102 h 2164"/>
              <a:gd name="T120" fmla="*/ 1104 w 3842"/>
              <a:gd name="T121" fmla="*/ 1280 h 2164"/>
              <a:gd name="T122" fmla="*/ 1310 w 3842"/>
              <a:gd name="T123" fmla="*/ 1119 h 2164"/>
              <a:gd name="T124" fmla="*/ 3790 w 3842"/>
              <a:gd name="T125" fmla="*/ 961 h 2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842" h="2164">
                <a:moveTo>
                  <a:pt x="2528" y="1974"/>
                </a:moveTo>
                <a:cubicBezTo>
                  <a:pt x="2527" y="1974"/>
                  <a:pt x="2526" y="1974"/>
                  <a:pt x="2525" y="1974"/>
                </a:cubicBezTo>
                <a:cubicBezTo>
                  <a:pt x="2524" y="1974"/>
                  <a:pt x="2524" y="1974"/>
                  <a:pt x="2524" y="1973"/>
                </a:cubicBezTo>
                <a:cubicBezTo>
                  <a:pt x="2523" y="1972"/>
                  <a:pt x="2522" y="1972"/>
                  <a:pt x="2522" y="1972"/>
                </a:cubicBezTo>
                <a:cubicBezTo>
                  <a:pt x="2521" y="1972"/>
                  <a:pt x="2520" y="1973"/>
                  <a:pt x="2520" y="1973"/>
                </a:cubicBezTo>
                <a:cubicBezTo>
                  <a:pt x="2519" y="1974"/>
                  <a:pt x="2518" y="1974"/>
                  <a:pt x="2518" y="1975"/>
                </a:cubicBezTo>
                <a:cubicBezTo>
                  <a:pt x="2517" y="1975"/>
                  <a:pt x="2518" y="1976"/>
                  <a:pt x="2518" y="1976"/>
                </a:cubicBezTo>
                <a:cubicBezTo>
                  <a:pt x="2519" y="1977"/>
                  <a:pt x="2519" y="1976"/>
                  <a:pt x="2519" y="1976"/>
                </a:cubicBezTo>
                <a:cubicBezTo>
                  <a:pt x="2520" y="1976"/>
                  <a:pt x="2520" y="1975"/>
                  <a:pt x="2521" y="1976"/>
                </a:cubicBezTo>
                <a:cubicBezTo>
                  <a:pt x="2521" y="1976"/>
                  <a:pt x="2521" y="1977"/>
                  <a:pt x="2522" y="1977"/>
                </a:cubicBezTo>
                <a:cubicBezTo>
                  <a:pt x="2521" y="1976"/>
                  <a:pt x="2522" y="1976"/>
                  <a:pt x="2523" y="1976"/>
                </a:cubicBezTo>
                <a:cubicBezTo>
                  <a:pt x="2523" y="1975"/>
                  <a:pt x="2524" y="1975"/>
                  <a:pt x="2525" y="1975"/>
                </a:cubicBezTo>
                <a:cubicBezTo>
                  <a:pt x="2525" y="1976"/>
                  <a:pt x="2525" y="1976"/>
                  <a:pt x="2525" y="1976"/>
                </a:cubicBezTo>
                <a:cubicBezTo>
                  <a:pt x="2525" y="1976"/>
                  <a:pt x="2525" y="1977"/>
                  <a:pt x="2525" y="1977"/>
                </a:cubicBezTo>
                <a:cubicBezTo>
                  <a:pt x="2526" y="1977"/>
                  <a:pt x="2527" y="1976"/>
                  <a:pt x="2527" y="1976"/>
                </a:cubicBezTo>
                <a:cubicBezTo>
                  <a:pt x="2527" y="1975"/>
                  <a:pt x="2528" y="1975"/>
                  <a:pt x="2528" y="1975"/>
                </a:cubicBezTo>
                <a:cubicBezTo>
                  <a:pt x="2528" y="1974"/>
                  <a:pt x="2528" y="1974"/>
                  <a:pt x="2528" y="1974"/>
                </a:cubicBezTo>
                <a:cubicBezTo>
                  <a:pt x="2528" y="1974"/>
                  <a:pt x="2529" y="1974"/>
                  <a:pt x="2529" y="1973"/>
                </a:cubicBezTo>
                <a:cubicBezTo>
                  <a:pt x="2529" y="1973"/>
                  <a:pt x="2528" y="1974"/>
                  <a:pt x="2528" y="1974"/>
                </a:cubicBezTo>
                <a:close/>
                <a:moveTo>
                  <a:pt x="2578" y="1829"/>
                </a:moveTo>
                <a:cubicBezTo>
                  <a:pt x="2578" y="1828"/>
                  <a:pt x="2577" y="1828"/>
                  <a:pt x="2577" y="1829"/>
                </a:cubicBezTo>
                <a:cubicBezTo>
                  <a:pt x="2577" y="1829"/>
                  <a:pt x="2578" y="1829"/>
                  <a:pt x="2579" y="1829"/>
                </a:cubicBezTo>
                <a:cubicBezTo>
                  <a:pt x="2579" y="1830"/>
                  <a:pt x="2580" y="1830"/>
                  <a:pt x="2580" y="1829"/>
                </a:cubicBezTo>
                <a:cubicBezTo>
                  <a:pt x="2580" y="1828"/>
                  <a:pt x="2578" y="1829"/>
                  <a:pt x="2578" y="1829"/>
                </a:cubicBezTo>
                <a:close/>
                <a:moveTo>
                  <a:pt x="2586" y="1840"/>
                </a:moveTo>
                <a:cubicBezTo>
                  <a:pt x="2585" y="1840"/>
                  <a:pt x="2585" y="1841"/>
                  <a:pt x="2586" y="1841"/>
                </a:cubicBezTo>
                <a:cubicBezTo>
                  <a:pt x="2586" y="1841"/>
                  <a:pt x="2587" y="1841"/>
                  <a:pt x="2586" y="1841"/>
                </a:cubicBezTo>
                <a:cubicBezTo>
                  <a:pt x="2586" y="1840"/>
                  <a:pt x="2586" y="1841"/>
                  <a:pt x="2586" y="1840"/>
                </a:cubicBezTo>
                <a:close/>
                <a:moveTo>
                  <a:pt x="2585" y="1842"/>
                </a:moveTo>
                <a:cubicBezTo>
                  <a:pt x="2585" y="1842"/>
                  <a:pt x="2585" y="1843"/>
                  <a:pt x="2585" y="1843"/>
                </a:cubicBezTo>
                <a:cubicBezTo>
                  <a:pt x="2586" y="1843"/>
                  <a:pt x="2587" y="1842"/>
                  <a:pt x="2587" y="1842"/>
                </a:cubicBezTo>
                <a:cubicBezTo>
                  <a:pt x="2587" y="1842"/>
                  <a:pt x="2586" y="1842"/>
                  <a:pt x="2586" y="1842"/>
                </a:cubicBezTo>
                <a:cubicBezTo>
                  <a:pt x="2586" y="1842"/>
                  <a:pt x="2585" y="1841"/>
                  <a:pt x="2585" y="1842"/>
                </a:cubicBezTo>
                <a:close/>
                <a:moveTo>
                  <a:pt x="2574" y="1826"/>
                </a:moveTo>
                <a:cubicBezTo>
                  <a:pt x="2574" y="1826"/>
                  <a:pt x="2575" y="1827"/>
                  <a:pt x="2575" y="1827"/>
                </a:cubicBezTo>
                <a:cubicBezTo>
                  <a:pt x="2575" y="1827"/>
                  <a:pt x="2574" y="1826"/>
                  <a:pt x="2574" y="1826"/>
                </a:cubicBezTo>
                <a:close/>
                <a:moveTo>
                  <a:pt x="2530" y="1844"/>
                </a:moveTo>
                <a:cubicBezTo>
                  <a:pt x="2530" y="1843"/>
                  <a:pt x="2530" y="1843"/>
                  <a:pt x="2530" y="1843"/>
                </a:cubicBezTo>
                <a:cubicBezTo>
                  <a:pt x="2531" y="1842"/>
                  <a:pt x="2532" y="1841"/>
                  <a:pt x="2531" y="1841"/>
                </a:cubicBezTo>
                <a:cubicBezTo>
                  <a:pt x="2530" y="1840"/>
                  <a:pt x="2530" y="1839"/>
                  <a:pt x="2530" y="1838"/>
                </a:cubicBezTo>
                <a:cubicBezTo>
                  <a:pt x="2530" y="1838"/>
                  <a:pt x="2530" y="1838"/>
                  <a:pt x="2530" y="1837"/>
                </a:cubicBezTo>
                <a:cubicBezTo>
                  <a:pt x="2530" y="1837"/>
                  <a:pt x="2530" y="1837"/>
                  <a:pt x="2530" y="1836"/>
                </a:cubicBezTo>
                <a:cubicBezTo>
                  <a:pt x="2530" y="1836"/>
                  <a:pt x="2530" y="1836"/>
                  <a:pt x="2530" y="1836"/>
                </a:cubicBezTo>
                <a:cubicBezTo>
                  <a:pt x="2530" y="1835"/>
                  <a:pt x="2530" y="1835"/>
                  <a:pt x="2530" y="1835"/>
                </a:cubicBezTo>
                <a:cubicBezTo>
                  <a:pt x="2530" y="1834"/>
                  <a:pt x="2530" y="1834"/>
                  <a:pt x="2530" y="1833"/>
                </a:cubicBezTo>
                <a:cubicBezTo>
                  <a:pt x="2531" y="1833"/>
                  <a:pt x="2531" y="1832"/>
                  <a:pt x="2531" y="1832"/>
                </a:cubicBezTo>
                <a:cubicBezTo>
                  <a:pt x="2531" y="1831"/>
                  <a:pt x="2531" y="1831"/>
                  <a:pt x="2531" y="1831"/>
                </a:cubicBezTo>
                <a:cubicBezTo>
                  <a:pt x="2530" y="1830"/>
                  <a:pt x="2530" y="1831"/>
                  <a:pt x="2530" y="1831"/>
                </a:cubicBezTo>
                <a:cubicBezTo>
                  <a:pt x="2529" y="1831"/>
                  <a:pt x="2529" y="1831"/>
                  <a:pt x="2529" y="1830"/>
                </a:cubicBezTo>
                <a:cubicBezTo>
                  <a:pt x="2528" y="1830"/>
                  <a:pt x="2528" y="1829"/>
                  <a:pt x="2528" y="1829"/>
                </a:cubicBezTo>
                <a:cubicBezTo>
                  <a:pt x="2527" y="1828"/>
                  <a:pt x="2527" y="1828"/>
                  <a:pt x="2526" y="1827"/>
                </a:cubicBezTo>
                <a:cubicBezTo>
                  <a:pt x="2526" y="1827"/>
                  <a:pt x="2525" y="1827"/>
                  <a:pt x="2525" y="1826"/>
                </a:cubicBezTo>
                <a:cubicBezTo>
                  <a:pt x="2524" y="1825"/>
                  <a:pt x="2522" y="1827"/>
                  <a:pt x="2521" y="1826"/>
                </a:cubicBezTo>
                <a:cubicBezTo>
                  <a:pt x="2520" y="1825"/>
                  <a:pt x="2520" y="1823"/>
                  <a:pt x="2519" y="1824"/>
                </a:cubicBezTo>
                <a:cubicBezTo>
                  <a:pt x="2517" y="1824"/>
                  <a:pt x="2517" y="1825"/>
                  <a:pt x="2515" y="1825"/>
                </a:cubicBezTo>
                <a:cubicBezTo>
                  <a:pt x="2514" y="1825"/>
                  <a:pt x="2513" y="1824"/>
                  <a:pt x="2511" y="1824"/>
                </a:cubicBezTo>
                <a:cubicBezTo>
                  <a:pt x="2510" y="1824"/>
                  <a:pt x="2510" y="1824"/>
                  <a:pt x="2509" y="1824"/>
                </a:cubicBezTo>
                <a:cubicBezTo>
                  <a:pt x="2508" y="1824"/>
                  <a:pt x="2508" y="1824"/>
                  <a:pt x="2507" y="1825"/>
                </a:cubicBezTo>
                <a:cubicBezTo>
                  <a:pt x="2507" y="1825"/>
                  <a:pt x="2507" y="1826"/>
                  <a:pt x="2508" y="1826"/>
                </a:cubicBezTo>
                <a:cubicBezTo>
                  <a:pt x="2509" y="1827"/>
                  <a:pt x="2509" y="1825"/>
                  <a:pt x="2510" y="1826"/>
                </a:cubicBezTo>
                <a:cubicBezTo>
                  <a:pt x="2511" y="1827"/>
                  <a:pt x="2510" y="1829"/>
                  <a:pt x="2511" y="1829"/>
                </a:cubicBezTo>
                <a:cubicBezTo>
                  <a:pt x="2511" y="1830"/>
                  <a:pt x="2512" y="1830"/>
                  <a:pt x="2513" y="1830"/>
                </a:cubicBezTo>
                <a:cubicBezTo>
                  <a:pt x="2513" y="1830"/>
                  <a:pt x="2514" y="1831"/>
                  <a:pt x="2514" y="1831"/>
                </a:cubicBezTo>
                <a:cubicBezTo>
                  <a:pt x="2515" y="1832"/>
                  <a:pt x="2515" y="1833"/>
                  <a:pt x="2516" y="1835"/>
                </a:cubicBezTo>
                <a:cubicBezTo>
                  <a:pt x="2516" y="1835"/>
                  <a:pt x="2516" y="1836"/>
                  <a:pt x="2516" y="1837"/>
                </a:cubicBezTo>
                <a:cubicBezTo>
                  <a:pt x="2516" y="1837"/>
                  <a:pt x="2516" y="1837"/>
                  <a:pt x="2516" y="1837"/>
                </a:cubicBezTo>
                <a:cubicBezTo>
                  <a:pt x="2516" y="1838"/>
                  <a:pt x="2516" y="1838"/>
                  <a:pt x="2516" y="1838"/>
                </a:cubicBezTo>
                <a:cubicBezTo>
                  <a:pt x="2516" y="1839"/>
                  <a:pt x="2516" y="1840"/>
                  <a:pt x="2517" y="1840"/>
                </a:cubicBezTo>
                <a:cubicBezTo>
                  <a:pt x="2518" y="1840"/>
                  <a:pt x="2518" y="1841"/>
                  <a:pt x="2519" y="1842"/>
                </a:cubicBezTo>
                <a:cubicBezTo>
                  <a:pt x="2519" y="1843"/>
                  <a:pt x="2518" y="1843"/>
                  <a:pt x="2519" y="1844"/>
                </a:cubicBezTo>
                <a:cubicBezTo>
                  <a:pt x="2519" y="1844"/>
                  <a:pt x="2519" y="1845"/>
                  <a:pt x="2520" y="1846"/>
                </a:cubicBezTo>
                <a:cubicBezTo>
                  <a:pt x="2520" y="1846"/>
                  <a:pt x="2521" y="1846"/>
                  <a:pt x="2521" y="1847"/>
                </a:cubicBezTo>
                <a:cubicBezTo>
                  <a:pt x="2521" y="1847"/>
                  <a:pt x="2522" y="1847"/>
                  <a:pt x="2522" y="1848"/>
                </a:cubicBezTo>
                <a:cubicBezTo>
                  <a:pt x="2522" y="1849"/>
                  <a:pt x="2522" y="1849"/>
                  <a:pt x="2523" y="1849"/>
                </a:cubicBezTo>
                <a:cubicBezTo>
                  <a:pt x="2524" y="1849"/>
                  <a:pt x="2524" y="1849"/>
                  <a:pt x="2524" y="1849"/>
                </a:cubicBezTo>
                <a:cubicBezTo>
                  <a:pt x="2524" y="1850"/>
                  <a:pt x="2525" y="1850"/>
                  <a:pt x="2525" y="1850"/>
                </a:cubicBezTo>
                <a:cubicBezTo>
                  <a:pt x="2526" y="1850"/>
                  <a:pt x="2526" y="1849"/>
                  <a:pt x="2526" y="1848"/>
                </a:cubicBezTo>
                <a:cubicBezTo>
                  <a:pt x="2527" y="1848"/>
                  <a:pt x="2528" y="1849"/>
                  <a:pt x="2528" y="1848"/>
                </a:cubicBezTo>
                <a:cubicBezTo>
                  <a:pt x="2528" y="1848"/>
                  <a:pt x="2527" y="1848"/>
                  <a:pt x="2528" y="1847"/>
                </a:cubicBezTo>
                <a:cubicBezTo>
                  <a:pt x="2528" y="1847"/>
                  <a:pt x="2529" y="1847"/>
                  <a:pt x="2529" y="1846"/>
                </a:cubicBezTo>
                <a:cubicBezTo>
                  <a:pt x="2528" y="1846"/>
                  <a:pt x="2528" y="1845"/>
                  <a:pt x="2529" y="1844"/>
                </a:cubicBezTo>
                <a:cubicBezTo>
                  <a:pt x="2529" y="1844"/>
                  <a:pt x="2530" y="1844"/>
                  <a:pt x="2530" y="1844"/>
                </a:cubicBezTo>
                <a:close/>
                <a:moveTo>
                  <a:pt x="2534" y="1816"/>
                </a:moveTo>
                <a:cubicBezTo>
                  <a:pt x="2534" y="1817"/>
                  <a:pt x="2535" y="1817"/>
                  <a:pt x="2535" y="1817"/>
                </a:cubicBezTo>
                <a:cubicBezTo>
                  <a:pt x="2536" y="1816"/>
                  <a:pt x="2535" y="1815"/>
                  <a:pt x="2534" y="1816"/>
                </a:cubicBezTo>
                <a:close/>
                <a:moveTo>
                  <a:pt x="2595" y="1861"/>
                </a:moveTo>
                <a:cubicBezTo>
                  <a:pt x="2596" y="1861"/>
                  <a:pt x="2596" y="1860"/>
                  <a:pt x="2595" y="1860"/>
                </a:cubicBezTo>
                <a:cubicBezTo>
                  <a:pt x="2595" y="1860"/>
                  <a:pt x="2595" y="1861"/>
                  <a:pt x="2595" y="1861"/>
                </a:cubicBezTo>
                <a:close/>
                <a:moveTo>
                  <a:pt x="2523" y="1977"/>
                </a:moveTo>
                <a:cubicBezTo>
                  <a:pt x="2522" y="1977"/>
                  <a:pt x="2523" y="1979"/>
                  <a:pt x="2524" y="1978"/>
                </a:cubicBezTo>
                <a:cubicBezTo>
                  <a:pt x="2524" y="1978"/>
                  <a:pt x="2525" y="1977"/>
                  <a:pt x="2523" y="1977"/>
                </a:cubicBezTo>
                <a:close/>
                <a:moveTo>
                  <a:pt x="2501" y="1770"/>
                </a:moveTo>
                <a:cubicBezTo>
                  <a:pt x="2502" y="1770"/>
                  <a:pt x="2502" y="1769"/>
                  <a:pt x="2501" y="1769"/>
                </a:cubicBezTo>
                <a:cubicBezTo>
                  <a:pt x="2501" y="1769"/>
                  <a:pt x="2502" y="1768"/>
                  <a:pt x="2501" y="1768"/>
                </a:cubicBezTo>
                <a:cubicBezTo>
                  <a:pt x="2501" y="1768"/>
                  <a:pt x="2500" y="1768"/>
                  <a:pt x="2500" y="1768"/>
                </a:cubicBezTo>
                <a:cubicBezTo>
                  <a:pt x="2500" y="1769"/>
                  <a:pt x="2501" y="1769"/>
                  <a:pt x="2501" y="1770"/>
                </a:cubicBezTo>
                <a:close/>
                <a:moveTo>
                  <a:pt x="2525" y="1808"/>
                </a:moveTo>
                <a:cubicBezTo>
                  <a:pt x="2525" y="1808"/>
                  <a:pt x="2525" y="1807"/>
                  <a:pt x="2525" y="1807"/>
                </a:cubicBezTo>
                <a:cubicBezTo>
                  <a:pt x="2524" y="1807"/>
                  <a:pt x="2524" y="1809"/>
                  <a:pt x="2525" y="1808"/>
                </a:cubicBezTo>
                <a:close/>
                <a:moveTo>
                  <a:pt x="2500" y="1766"/>
                </a:moveTo>
                <a:cubicBezTo>
                  <a:pt x="2499" y="1766"/>
                  <a:pt x="2500" y="1767"/>
                  <a:pt x="2500" y="1767"/>
                </a:cubicBezTo>
                <a:cubicBezTo>
                  <a:pt x="2501" y="1767"/>
                  <a:pt x="2500" y="1765"/>
                  <a:pt x="2500" y="1766"/>
                </a:cubicBezTo>
                <a:close/>
                <a:moveTo>
                  <a:pt x="2602" y="1893"/>
                </a:moveTo>
                <a:cubicBezTo>
                  <a:pt x="2603" y="1893"/>
                  <a:pt x="2603" y="1894"/>
                  <a:pt x="2604" y="1895"/>
                </a:cubicBezTo>
                <a:cubicBezTo>
                  <a:pt x="2604" y="1895"/>
                  <a:pt x="2604" y="1896"/>
                  <a:pt x="2604" y="1895"/>
                </a:cubicBezTo>
                <a:cubicBezTo>
                  <a:pt x="2605" y="1895"/>
                  <a:pt x="2604" y="1895"/>
                  <a:pt x="2604" y="1894"/>
                </a:cubicBezTo>
                <a:cubicBezTo>
                  <a:pt x="2603" y="1893"/>
                  <a:pt x="2603" y="1892"/>
                  <a:pt x="2602" y="1891"/>
                </a:cubicBezTo>
                <a:cubicBezTo>
                  <a:pt x="2602" y="1890"/>
                  <a:pt x="2601" y="1891"/>
                  <a:pt x="2601" y="1891"/>
                </a:cubicBezTo>
                <a:cubicBezTo>
                  <a:pt x="2601" y="1892"/>
                  <a:pt x="2601" y="1892"/>
                  <a:pt x="2602" y="1893"/>
                </a:cubicBezTo>
                <a:close/>
                <a:moveTo>
                  <a:pt x="2539" y="1590"/>
                </a:moveTo>
                <a:cubicBezTo>
                  <a:pt x="2539" y="1588"/>
                  <a:pt x="2537" y="1588"/>
                  <a:pt x="2536" y="1588"/>
                </a:cubicBezTo>
                <a:cubicBezTo>
                  <a:pt x="2535" y="1587"/>
                  <a:pt x="2534" y="1586"/>
                  <a:pt x="2532" y="1586"/>
                </a:cubicBezTo>
                <a:cubicBezTo>
                  <a:pt x="2532" y="1585"/>
                  <a:pt x="2531" y="1585"/>
                  <a:pt x="2531" y="1584"/>
                </a:cubicBezTo>
                <a:cubicBezTo>
                  <a:pt x="2530" y="1584"/>
                  <a:pt x="2530" y="1583"/>
                  <a:pt x="2530" y="1583"/>
                </a:cubicBezTo>
                <a:cubicBezTo>
                  <a:pt x="2528" y="1583"/>
                  <a:pt x="2527" y="1585"/>
                  <a:pt x="2527" y="1585"/>
                </a:cubicBezTo>
                <a:cubicBezTo>
                  <a:pt x="2525" y="1587"/>
                  <a:pt x="2524" y="1588"/>
                  <a:pt x="2523" y="1588"/>
                </a:cubicBezTo>
                <a:cubicBezTo>
                  <a:pt x="2521" y="1589"/>
                  <a:pt x="2520" y="1589"/>
                  <a:pt x="2519" y="1590"/>
                </a:cubicBezTo>
                <a:cubicBezTo>
                  <a:pt x="2517" y="1592"/>
                  <a:pt x="2518" y="1593"/>
                  <a:pt x="2517" y="1595"/>
                </a:cubicBezTo>
                <a:cubicBezTo>
                  <a:pt x="2517" y="1596"/>
                  <a:pt x="2516" y="1597"/>
                  <a:pt x="2515" y="1598"/>
                </a:cubicBezTo>
                <a:cubicBezTo>
                  <a:pt x="2513" y="1599"/>
                  <a:pt x="2512" y="1601"/>
                  <a:pt x="2511" y="1602"/>
                </a:cubicBezTo>
                <a:cubicBezTo>
                  <a:pt x="2510" y="1603"/>
                  <a:pt x="2509" y="1605"/>
                  <a:pt x="2508" y="1606"/>
                </a:cubicBezTo>
                <a:cubicBezTo>
                  <a:pt x="2507" y="1608"/>
                  <a:pt x="2507" y="1610"/>
                  <a:pt x="2506" y="1612"/>
                </a:cubicBezTo>
                <a:cubicBezTo>
                  <a:pt x="2505" y="1613"/>
                  <a:pt x="2503" y="1615"/>
                  <a:pt x="2503" y="1617"/>
                </a:cubicBezTo>
                <a:cubicBezTo>
                  <a:pt x="2502" y="1619"/>
                  <a:pt x="2502" y="1621"/>
                  <a:pt x="2502" y="1622"/>
                </a:cubicBezTo>
                <a:cubicBezTo>
                  <a:pt x="2502" y="1624"/>
                  <a:pt x="2501" y="1626"/>
                  <a:pt x="2501" y="1627"/>
                </a:cubicBezTo>
                <a:cubicBezTo>
                  <a:pt x="2501" y="1629"/>
                  <a:pt x="2502" y="1632"/>
                  <a:pt x="2503" y="1634"/>
                </a:cubicBezTo>
                <a:cubicBezTo>
                  <a:pt x="2503" y="1634"/>
                  <a:pt x="2504" y="1635"/>
                  <a:pt x="2504" y="1636"/>
                </a:cubicBezTo>
                <a:cubicBezTo>
                  <a:pt x="2504" y="1637"/>
                  <a:pt x="2504" y="1638"/>
                  <a:pt x="2505" y="1639"/>
                </a:cubicBezTo>
                <a:cubicBezTo>
                  <a:pt x="2505" y="1640"/>
                  <a:pt x="2506" y="1640"/>
                  <a:pt x="2507" y="1641"/>
                </a:cubicBezTo>
                <a:cubicBezTo>
                  <a:pt x="2507" y="1641"/>
                  <a:pt x="2508" y="1642"/>
                  <a:pt x="2508" y="1643"/>
                </a:cubicBezTo>
                <a:cubicBezTo>
                  <a:pt x="2508" y="1644"/>
                  <a:pt x="2509" y="1645"/>
                  <a:pt x="2510" y="1646"/>
                </a:cubicBezTo>
                <a:cubicBezTo>
                  <a:pt x="2511" y="1647"/>
                  <a:pt x="2510" y="1649"/>
                  <a:pt x="2512" y="1650"/>
                </a:cubicBezTo>
                <a:cubicBezTo>
                  <a:pt x="2513" y="1651"/>
                  <a:pt x="2514" y="1652"/>
                  <a:pt x="2515" y="1653"/>
                </a:cubicBezTo>
                <a:cubicBezTo>
                  <a:pt x="2516" y="1653"/>
                  <a:pt x="2516" y="1655"/>
                  <a:pt x="2517" y="1654"/>
                </a:cubicBezTo>
                <a:cubicBezTo>
                  <a:pt x="2517" y="1654"/>
                  <a:pt x="2517" y="1653"/>
                  <a:pt x="2517" y="1652"/>
                </a:cubicBezTo>
                <a:cubicBezTo>
                  <a:pt x="2517" y="1650"/>
                  <a:pt x="2517" y="1647"/>
                  <a:pt x="2519" y="1645"/>
                </a:cubicBezTo>
                <a:cubicBezTo>
                  <a:pt x="2521" y="1643"/>
                  <a:pt x="2521" y="1639"/>
                  <a:pt x="2522" y="1636"/>
                </a:cubicBezTo>
                <a:cubicBezTo>
                  <a:pt x="2523" y="1635"/>
                  <a:pt x="2524" y="1633"/>
                  <a:pt x="2525" y="1632"/>
                </a:cubicBezTo>
                <a:cubicBezTo>
                  <a:pt x="2526" y="1630"/>
                  <a:pt x="2527" y="1629"/>
                  <a:pt x="2527" y="1627"/>
                </a:cubicBezTo>
                <a:cubicBezTo>
                  <a:pt x="2528" y="1625"/>
                  <a:pt x="2529" y="1624"/>
                  <a:pt x="2530" y="1622"/>
                </a:cubicBezTo>
                <a:cubicBezTo>
                  <a:pt x="2531" y="1620"/>
                  <a:pt x="2531" y="1617"/>
                  <a:pt x="2532" y="1615"/>
                </a:cubicBezTo>
                <a:cubicBezTo>
                  <a:pt x="2532" y="1611"/>
                  <a:pt x="2533" y="1607"/>
                  <a:pt x="2535" y="1604"/>
                </a:cubicBezTo>
                <a:cubicBezTo>
                  <a:pt x="2536" y="1602"/>
                  <a:pt x="2537" y="1601"/>
                  <a:pt x="2537" y="1599"/>
                </a:cubicBezTo>
                <a:cubicBezTo>
                  <a:pt x="2536" y="1597"/>
                  <a:pt x="2536" y="1596"/>
                  <a:pt x="2536" y="1594"/>
                </a:cubicBezTo>
                <a:cubicBezTo>
                  <a:pt x="2537" y="1592"/>
                  <a:pt x="2538" y="1592"/>
                  <a:pt x="2539" y="1590"/>
                </a:cubicBezTo>
                <a:close/>
                <a:moveTo>
                  <a:pt x="2443" y="1949"/>
                </a:moveTo>
                <a:cubicBezTo>
                  <a:pt x="2443" y="1949"/>
                  <a:pt x="2443" y="1949"/>
                  <a:pt x="2442" y="1950"/>
                </a:cubicBezTo>
                <a:cubicBezTo>
                  <a:pt x="2442" y="1950"/>
                  <a:pt x="2441" y="1952"/>
                  <a:pt x="2442" y="1952"/>
                </a:cubicBezTo>
                <a:cubicBezTo>
                  <a:pt x="2443" y="1953"/>
                  <a:pt x="2444" y="1951"/>
                  <a:pt x="2445" y="1951"/>
                </a:cubicBezTo>
                <a:cubicBezTo>
                  <a:pt x="2445" y="1951"/>
                  <a:pt x="2446" y="1951"/>
                  <a:pt x="2446" y="1950"/>
                </a:cubicBezTo>
                <a:cubicBezTo>
                  <a:pt x="2447" y="1949"/>
                  <a:pt x="2447" y="1948"/>
                  <a:pt x="2446" y="1948"/>
                </a:cubicBezTo>
                <a:cubicBezTo>
                  <a:pt x="2446" y="1948"/>
                  <a:pt x="2446" y="1948"/>
                  <a:pt x="2445" y="1948"/>
                </a:cubicBezTo>
                <a:cubicBezTo>
                  <a:pt x="2445" y="1948"/>
                  <a:pt x="2445" y="1948"/>
                  <a:pt x="2444" y="1948"/>
                </a:cubicBezTo>
                <a:cubicBezTo>
                  <a:pt x="2443" y="1947"/>
                  <a:pt x="2444" y="1948"/>
                  <a:pt x="2443" y="1949"/>
                </a:cubicBezTo>
                <a:close/>
                <a:moveTo>
                  <a:pt x="2567" y="2116"/>
                </a:moveTo>
                <a:cubicBezTo>
                  <a:pt x="2566" y="2116"/>
                  <a:pt x="2565" y="2118"/>
                  <a:pt x="2564" y="2117"/>
                </a:cubicBezTo>
                <a:cubicBezTo>
                  <a:pt x="2563" y="2116"/>
                  <a:pt x="2564" y="2115"/>
                  <a:pt x="2562" y="2115"/>
                </a:cubicBezTo>
                <a:cubicBezTo>
                  <a:pt x="2561" y="2114"/>
                  <a:pt x="2560" y="2115"/>
                  <a:pt x="2559" y="2116"/>
                </a:cubicBezTo>
                <a:cubicBezTo>
                  <a:pt x="2558" y="2117"/>
                  <a:pt x="2556" y="2116"/>
                  <a:pt x="2555" y="2118"/>
                </a:cubicBezTo>
                <a:cubicBezTo>
                  <a:pt x="2555" y="2118"/>
                  <a:pt x="2556" y="2119"/>
                  <a:pt x="2556" y="2119"/>
                </a:cubicBezTo>
                <a:cubicBezTo>
                  <a:pt x="2556" y="2120"/>
                  <a:pt x="2556" y="2121"/>
                  <a:pt x="2556" y="2122"/>
                </a:cubicBezTo>
                <a:cubicBezTo>
                  <a:pt x="2556" y="2122"/>
                  <a:pt x="2556" y="2123"/>
                  <a:pt x="2556" y="2123"/>
                </a:cubicBezTo>
                <a:cubicBezTo>
                  <a:pt x="2557" y="2123"/>
                  <a:pt x="2558" y="2123"/>
                  <a:pt x="2558" y="2122"/>
                </a:cubicBezTo>
                <a:cubicBezTo>
                  <a:pt x="2559" y="2121"/>
                  <a:pt x="2559" y="2122"/>
                  <a:pt x="2560" y="2121"/>
                </a:cubicBezTo>
                <a:cubicBezTo>
                  <a:pt x="2561" y="2121"/>
                  <a:pt x="2560" y="2120"/>
                  <a:pt x="2561" y="2120"/>
                </a:cubicBezTo>
                <a:cubicBezTo>
                  <a:pt x="2562" y="2118"/>
                  <a:pt x="2563" y="2120"/>
                  <a:pt x="2562" y="2121"/>
                </a:cubicBezTo>
                <a:cubicBezTo>
                  <a:pt x="2562" y="2122"/>
                  <a:pt x="2562" y="2122"/>
                  <a:pt x="2562" y="2123"/>
                </a:cubicBezTo>
                <a:cubicBezTo>
                  <a:pt x="2562" y="2124"/>
                  <a:pt x="2562" y="2125"/>
                  <a:pt x="2563" y="2125"/>
                </a:cubicBezTo>
                <a:cubicBezTo>
                  <a:pt x="2564" y="2125"/>
                  <a:pt x="2563" y="2122"/>
                  <a:pt x="2564" y="2121"/>
                </a:cubicBezTo>
                <a:cubicBezTo>
                  <a:pt x="2565" y="2121"/>
                  <a:pt x="2565" y="2121"/>
                  <a:pt x="2566" y="2121"/>
                </a:cubicBezTo>
                <a:cubicBezTo>
                  <a:pt x="2567" y="2120"/>
                  <a:pt x="2567" y="2120"/>
                  <a:pt x="2567" y="2119"/>
                </a:cubicBezTo>
                <a:cubicBezTo>
                  <a:pt x="2568" y="2118"/>
                  <a:pt x="2570" y="2118"/>
                  <a:pt x="2570" y="2117"/>
                </a:cubicBezTo>
                <a:cubicBezTo>
                  <a:pt x="2569" y="2117"/>
                  <a:pt x="2569" y="2117"/>
                  <a:pt x="2568" y="2117"/>
                </a:cubicBezTo>
                <a:cubicBezTo>
                  <a:pt x="2568" y="2117"/>
                  <a:pt x="2567" y="2116"/>
                  <a:pt x="2567" y="2116"/>
                </a:cubicBezTo>
                <a:close/>
                <a:moveTo>
                  <a:pt x="2593" y="2076"/>
                </a:moveTo>
                <a:cubicBezTo>
                  <a:pt x="2594" y="2075"/>
                  <a:pt x="2595" y="2075"/>
                  <a:pt x="2596" y="2074"/>
                </a:cubicBezTo>
                <a:cubicBezTo>
                  <a:pt x="2597" y="2073"/>
                  <a:pt x="2597" y="2071"/>
                  <a:pt x="2598" y="2070"/>
                </a:cubicBezTo>
                <a:cubicBezTo>
                  <a:pt x="2598" y="2069"/>
                  <a:pt x="2599" y="2068"/>
                  <a:pt x="2600" y="2066"/>
                </a:cubicBezTo>
                <a:cubicBezTo>
                  <a:pt x="2601" y="2064"/>
                  <a:pt x="2603" y="2061"/>
                  <a:pt x="2601" y="2058"/>
                </a:cubicBezTo>
                <a:cubicBezTo>
                  <a:pt x="2599" y="2055"/>
                  <a:pt x="2596" y="2060"/>
                  <a:pt x="2595" y="2062"/>
                </a:cubicBezTo>
                <a:cubicBezTo>
                  <a:pt x="2595" y="2063"/>
                  <a:pt x="2594" y="2064"/>
                  <a:pt x="2592" y="2064"/>
                </a:cubicBezTo>
                <a:cubicBezTo>
                  <a:pt x="2592" y="2065"/>
                  <a:pt x="2590" y="2065"/>
                  <a:pt x="2590" y="2066"/>
                </a:cubicBezTo>
                <a:cubicBezTo>
                  <a:pt x="2589" y="2066"/>
                  <a:pt x="2590" y="2067"/>
                  <a:pt x="2590" y="2067"/>
                </a:cubicBezTo>
                <a:cubicBezTo>
                  <a:pt x="2591" y="2068"/>
                  <a:pt x="2590" y="2069"/>
                  <a:pt x="2589" y="2069"/>
                </a:cubicBezTo>
                <a:cubicBezTo>
                  <a:pt x="2588" y="2070"/>
                  <a:pt x="2587" y="2071"/>
                  <a:pt x="2586" y="2071"/>
                </a:cubicBezTo>
                <a:cubicBezTo>
                  <a:pt x="2584" y="2072"/>
                  <a:pt x="2583" y="2072"/>
                  <a:pt x="2582" y="2073"/>
                </a:cubicBezTo>
                <a:cubicBezTo>
                  <a:pt x="2581" y="2074"/>
                  <a:pt x="2579" y="2075"/>
                  <a:pt x="2578" y="2075"/>
                </a:cubicBezTo>
                <a:cubicBezTo>
                  <a:pt x="2576" y="2076"/>
                  <a:pt x="2575" y="2076"/>
                  <a:pt x="2573" y="2076"/>
                </a:cubicBezTo>
                <a:cubicBezTo>
                  <a:pt x="2572" y="2076"/>
                  <a:pt x="2571" y="2075"/>
                  <a:pt x="2569" y="2075"/>
                </a:cubicBezTo>
                <a:cubicBezTo>
                  <a:pt x="2568" y="2074"/>
                  <a:pt x="2566" y="2075"/>
                  <a:pt x="2565" y="2074"/>
                </a:cubicBezTo>
                <a:cubicBezTo>
                  <a:pt x="2563" y="2074"/>
                  <a:pt x="2562" y="2074"/>
                  <a:pt x="2560" y="2074"/>
                </a:cubicBezTo>
                <a:cubicBezTo>
                  <a:pt x="2558" y="2075"/>
                  <a:pt x="2557" y="2076"/>
                  <a:pt x="2555" y="2076"/>
                </a:cubicBezTo>
                <a:cubicBezTo>
                  <a:pt x="2554" y="2076"/>
                  <a:pt x="2554" y="2076"/>
                  <a:pt x="2553" y="2076"/>
                </a:cubicBezTo>
                <a:cubicBezTo>
                  <a:pt x="2552" y="2075"/>
                  <a:pt x="2552" y="2075"/>
                  <a:pt x="2551" y="2075"/>
                </a:cubicBezTo>
                <a:cubicBezTo>
                  <a:pt x="2550" y="2074"/>
                  <a:pt x="2548" y="2074"/>
                  <a:pt x="2547" y="2074"/>
                </a:cubicBezTo>
                <a:cubicBezTo>
                  <a:pt x="2545" y="2073"/>
                  <a:pt x="2544" y="2072"/>
                  <a:pt x="2543" y="2072"/>
                </a:cubicBezTo>
                <a:cubicBezTo>
                  <a:pt x="2540" y="2071"/>
                  <a:pt x="2537" y="2072"/>
                  <a:pt x="2534" y="2072"/>
                </a:cubicBezTo>
                <a:cubicBezTo>
                  <a:pt x="2532" y="2072"/>
                  <a:pt x="2531" y="2072"/>
                  <a:pt x="2530" y="2070"/>
                </a:cubicBezTo>
                <a:cubicBezTo>
                  <a:pt x="2530" y="2069"/>
                  <a:pt x="2529" y="2068"/>
                  <a:pt x="2528" y="2068"/>
                </a:cubicBezTo>
                <a:cubicBezTo>
                  <a:pt x="2527" y="2067"/>
                  <a:pt x="2525" y="2067"/>
                  <a:pt x="2524" y="2067"/>
                </a:cubicBezTo>
                <a:cubicBezTo>
                  <a:pt x="2522" y="2067"/>
                  <a:pt x="2521" y="2067"/>
                  <a:pt x="2519" y="2067"/>
                </a:cubicBezTo>
                <a:cubicBezTo>
                  <a:pt x="2518" y="2067"/>
                  <a:pt x="2516" y="2066"/>
                  <a:pt x="2516" y="2068"/>
                </a:cubicBezTo>
                <a:cubicBezTo>
                  <a:pt x="2516" y="2070"/>
                  <a:pt x="2517" y="2071"/>
                  <a:pt x="2515" y="2072"/>
                </a:cubicBezTo>
                <a:cubicBezTo>
                  <a:pt x="2514" y="2073"/>
                  <a:pt x="2513" y="2074"/>
                  <a:pt x="2512" y="2075"/>
                </a:cubicBezTo>
                <a:cubicBezTo>
                  <a:pt x="2511" y="2076"/>
                  <a:pt x="2510" y="2078"/>
                  <a:pt x="2509" y="2077"/>
                </a:cubicBezTo>
                <a:cubicBezTo>
                  <a:pt x="2508" y="2076"/>
                  <a:pt x="2508" y="2075"/>
                  <a:pt x="2507" y="2075"/>
                </a:cubicBezTo>
                <a:cubicBezTo>
                  <a:pt x="2507" y="2075"/>
                  <a:pt x="2507" y="2075"/>
                  <a:pt x="2506" y="2074"/>
                </a:cubicBezTo>
                <a:cubicBezTo>
                  <a:pt x="2506" y="2073"/>
                  <a:pt x="2506" y="2072"/>
                  <a:pt x="2505" y="2073"/>
                </a:cubicBezTo>
                <a:cubicBezTo>
                  <a:pt x="2504" y="2074"/>
                  <a:pt x="2504" y="2075"/>
                  <a:pt x="2504" y="2076"/>
                </a:cubicBezTo>
                <a:cubicBezTo>
                  <a:pt x="2504" y="2077"/>
                  <a:pt x="2503" y="2077"/>
                  <a:pt x="2503" y="2077"/>
                </a:cubicBezTo>
                <a:cubicBezTo>
                  <a:pt x="2501" y="2078"/>
                  <a:pt x="2500" y="2078"/>
                  <a:pt x="2500" y="2080"/>
                </a:cubicBezTo>
                <a:cubicBezTo>
                  <a:pt x="2500" y="2081"/>
                  <a:pt x="2500" y="2082"/>
                  <a:pt x="2499" y="2083"/>
                </a:cubicBezTo>
                <a:cubicBezTo>
                  <a:pt x="2499" y="2083"/>
                  <a:pt x="2498" y="2083"/>
                  <a:pt x="2498" y="2084"/>
                </a:cubicBezTo>
                <a:cubicBezTo>
                  <a:pt x="2497" y="2085"/>
                  <a:pt x="2496" y="2087"/>
                  <a:pt x="2496" y="2088"/>
                </a:cubicBezTo>
                <a:cubicBezTo>
                  <a:pt x="2495" y="2089"/>
                  <a:pt x="2495" y="2091"/>
                  <a:pt x="2494" y="2092"/>
                </a:cubicBezTo>
                <a:cubicBezTo>
                  <a:pt x="2493" y="2092"/>
                  <a:pt x="2492" y="2092"/>
                  <a:pt x="2493" y="2093"/>
                </a:cubicBezTo>
                <a:cubicBezTo>
                  <a:pt x="2493" y="2093"/>
                  <a:pt x="2494" y="2093"/>
                  <a:pt x="2494" y="2094"/>
                </a:cubicBezTo>
                <a:cubicBezTo>
                  <a:pt x="2495" y="2094"/>
                  <a:pt x="2495" y="2095"/>
                  <a:pt x="2495" y="2095"/>
                </a:cubicBezTo>
                <a:cubicBezTo>
                  <a:pt x="2496" y="2096"/>
                  <a:pt x="2496" y="2096"/>
                  <a:pt x="2497" y="2097"/>
                </a:cubicBezTo>
                <a:cubicBezTo>
                  <a:pt x="2497" y="2098"/>
                  <a:pt x="2497" y="2099"/>
                  <a:pt x="2497" y="2100"/>
                </a:cubicBezTo>
                <a:cubicBezTo>
                  <a:pt x="2497" y="2101"/>
                  <a:pt x="2497" y="2103"/>
                  <a:pt x="2497" y="2105"/>
                </a:cubicBezTo>
                <a:cubicBezTo>
                  <a:pt x="2497" y="2105"/>
                  <a:pt x="2497" y="2105"/>
                  <a:pt x="2497" y="2106"/>
                </a:cubicBezTo>
                <a:cubicBezTo>
                  <a:pt x="2496" y="2106"/>
                  <a:pt x="2497" y="2107"/>
                  <a:pt x="2496" y="2107"/>
                </a:cubicBezTo>
                <a:cubicBezTo>
                  <a:pt x="2496" y="2108"/>
                  <a:pt x="2496" y="2107"/>
                  <a:pt x="2495" y="2106"/>
                </a:cubicBezTo>
                <a:cubicBezTo>
                  <a:pt x="2495" y="2106"/>
                  <a:pt x="2495" y="2105"/>
                  <a:pt x="2494" y="2105"/>
                </a:cubicBezTo>
                <a:cubicBezTo>
                  <a:pt x="2493" y="2105"/>
                  <a:pt x="2493" y="2106"/>
                  <a:pt x="2493" y="2107"/>
                </a:cubicBezTo>
                <a:cubicBezTo>
                  <a:pt x="2493" y="2109"/>
                  <a:pt x="2491" y="2109"/>
                  <a:pt x="2490" y="2111"/>
                </a:cubicBezTo>
                <a:cubicBezTo>
                  <a:pt x="2489" y="2112"/>
                  <a:pt x="2489" y="2114"/>
                  <a:pt x="2488" y="2116"/>
                </a:cubicBezTo>
                <a:cubicBezTo>
                  <a:pt x="2487" y="2117"/>
                  <a:pt x="2486" y="2117"/>
                  <a:pt x="2486" y="2118"/>
                </a:cubicBezTo>
                <a:cubicBezTo>
                  <a:pt x="2486" y="2119"/>
                  <a:pt x="2486" y="2121"/>
                  <a:pt x="2486" y="2122"/>
                </a:cubicBezTo>
                <a:cubicBezTo>
                  <a:pt x="2486" y="2122"/>
                  <a:pt x="2486" y="2123"/>
                  <a:pt x="2486" y="2123"/>
                </a:cubicBezTo>
                <a:cubicBezTo>
                  <a:pt x="2486" y="2124"/>
                  <a:pt x="2487" y="2124"/>
                  <a:pt x="2487" y="2125"/>
                </a:cubicBezTo>
                <a:cubicBezTo>
                  <a:pt x="2487" y="2126"/>
                  <a:pt x="2486" y="2127"/>
                  <a:pt x="2486" y="2128"/>
                </a:cubicBezTo>
                <a:cubicBezTo>
                  <a:pt x="2485" y="2130"/>
                  <a:pt x="2485" y="2131"/>
                  <a:pt x="2485" y="2132"/>
                </a:cubicBezTo>
                <a:cubicBezTo>
                  <a:pt x="2484" y="2133"/>
                  <a:pt x="2484" y="2134"/>
                  <a:pt x="2483" y="2135"/>
                </a:cubicBezTo>
                <a:cubicBezTo>
                  <a:pt x="2482" y="2136"/>
                  <a:pt x="2481" y="2137"/>
                  <a:pt x="2480" y="2139"/>
                </a:cubicBezTo>
                <a:cubicBezTo>
                  <a:pt x="2480" y="2141"/>
                  <a:pt x="2479" y="2142"/>
                  <a:pt x="2478" y="2144"/>
                </a:cubicBezTo>
                <a:cubicBezTo>
                  <a:pt x="2477" y="2145"/>
                  <a:pt x="2476" y="2145"/>
                  <a:pt x="2476" y="2147"/>
                </a:cubicBezTo>
                <a:cubicBezTo>
                  <a:pt x="2476" y="2147"/>
                  <a:pt x="2477" y="2148"/>
                  <a:pt x="2477" y="2148"/>
                </a:cubicBezTo>
                <a:cubicBezTo>
                  <a:pt x="2477" y="2149"/>
                  <a:pt x="2478" y="2150"/>
                  <a:pt x="2477" y="2150"/>
                </a:cubicBezTo>
                <a:cubicBezTo>
                  <a:pt x="2477" y="2151"/>
                  <a:pt x="2476" y="2151"/>
                  <a:pt x="2476" y="2152"/>
                </a:cubicBezTo>
                <a:cubicBezTo>
                  <a:pt x="2476" y="2152"/>
                  <a:pt x="2476" y="2153"/>
                  <a:pt x="2476" y="2153"/>
                </a:cubicBezTo>
                <a:cubicBezTo>
                  <a:pt x="2505" y="2153"/>
                  <a:pt x="2505" y="2153"/>
                  <a:pt x="2505" y="2153"/>
                </a:cubicBezTo>
                <a:cubicBezTo>
                  <a:pt x="2505" y="2152"/>
                  <a:pt x="2505" y="2152"/>
                  <a:pt x="2505" y="2151"/>
                </a:cubicBezTo>
                <a:cubicBezTo>
                  <a:pt x="2506" y="2149"/>
                  <a:pt x="2507" y="2150"/>
                  <a:pt x="2508" y="2149"/>
                </a:cubicBezTo>
                <a:cubicBezTo>
                  <a:pt x="2509" y="2148"/>
                  <a:pt x="2510" y="2147"/>
                  <a:pt x="2511" y="2146"/>
                </a:cubicBezTo>
                <a:cubicBezTo>
                  <a:pt x="2512" y="2146"/>
                  <a:pt x="2513" y="2146"/>
                  <a:pt x="2513" y="2145"/>
                </a:cubicBezTo>
                <a:cubicBezTo>
                  <a:pt x="2514" y="2145"/>
                  <a:pt x="2514" y="2144"/>
                  <a:pt x="2515" y="2144"/>
                </a:cubicBezTo>
                <a:cubicBezTo>
                  <a:pt x="2516" y="2144"/>
                  <a:pt x="2518" y="2144"/>
                  <a:pt x="2519" y="2145"/>
                </a:cubicBezTo>
                <a:cubicBezTo>
                  <a:pt x="2520" y="2146"/>
                  <a:pt x="2520" y="2147"/>
                  <a:pt x="2520" y="2148"/>
                </a:cubicBezTo>
                <a:cubicBezTo>
                  <a:pt x="2521" y="2150"/>
                  <a:pt x="2521" y="2151"/>
                  <a:pt x="2521" y="2153"/>
                </a:cubicBezTo>
                <a:cubicBezTo>
                  <a:pt x="2546" y="2153"/>
                  <a:pt x="2546" y="2153"/>
                  <a:pt x="2546" y="2153"/>
                </a:cubicBezTo>
                <a:cubicBezTo>
                  <a:pt x="2545" y="2152"/>
                  <a:pt x="2545" y="2152"/>
                  <a:pt x="2544" y="2151"/>
                </a:cubicBezTo>
                <a:cubicBezTo>
                  <a:pt x="2544" y="2150"/>
                  <a:pt x="2543" y="2149"/>
                  <a:pt x="2542" y="2148"/>
                </a:cubicBezTo>
                <a:cubicBezTo>
                  <a:pt x="2542" y="2147"/>
                  <a:pt x="2540" y="2146"/>
                  <a:pt x="2539" y="2145"/>
                </a:cubicBezTo>
                <a:cubicBezTo>
                  <a:pt x="2539" y="2144"/>
                  <a:pt x="2539" y="2142"/>
                  <a:pt x="2539" y="2141"/>
                </a:cubicBezTo>
                <a:cubicBezTo>
                  <a:pt x="2538" y="2140"/>
                  <a:pt x="2537" y="2139"/>
                  <a:pt x="2536" y="2138"/>
                </a:cubicBezTo>
                <a:cubicBezTo>
                  <a:pt x="2536" y="2137"/>
                  <a:pt x="2535" y="2136"/>
                  <a:pt x="2534" y="2135"/>
                </a:cubicBezTo>
                <a:cubicBezTo>
                  <a:pt x="2533" y="2135"/>
                  <a:pt x="2531" y="2135"/>
                  <a:pt x="2530" y="2134"/>
                </a:cubicBezTo>
                <a:cubicBezTo>
                  <a:pt x="2530" y="2133"/>
                  <a:pt x="2530" y="2132"/>
                  <a:pt x="2529" y="2131"/>
                </a:cubicBezTo>
                <a:cubicBezTo>
                  <a:pt x="2528" y="2131"/>
                  <a:pt x="2526" y="2130"/>
                  <a:pt x="2526" y="2129"/>
                </a:cubicBezTo>
                <a:cubicBezTo>
                  <a:pt x="2527" y="2129"/>
                  <a:pt x="2528" y="2130"/>
                  <a:pt x="2528" y="2130"/>
                </a:cubicBezTo>
                <a:cubicBezTo>
                  <a:pt x="2529" y="2130"/>
                  <a:pt x="2529" y="2130"/>
                  <a:pt x="2530" y="2130"/>
                </a:cubicBezTo>
                <a:cubicBezTo>
                  <a:pt x="2532" y="2130"/>
                  <a:pt x="2533" y="2130"/>
                  <a:pt x="2534" y="2130"/>
                </a:cubicBezTo>
                <a:cubicBezTo>
                  <a:pt x="2535" y="2129"/>
                  <a:pt x="2536" y="2127"/>
                  <a:pt x="2538" y="2127"/>
                </a:cubicBezTo>
                <a:cubicBezTo>
                  <a:pt x="2539" y="2126"/>
                  <a:pt x="2540" y="2125"/>
                  <a:pt x="2541" y="2124"/>
                </a:cubicBezTo>
                <a:cubicBezTo>
                  <a:pt x="2542" y="2123"/>
                  <a:pt x="2543" y="2122"/>
                  <a:pt x="2545" y="2122"/>
                </a:cubicBezTo>
                <a:cubicBezTo>
                  <a:pt x="2546" y="2121"/>
                  <a:pt x="2548" y="2120"/>
                  <a:pt x="2549" y="2119"/>
                </a:cubicBezTo>
                <a:cubicBezTo>
                  <a:pt x="2549" y="2118"/>
                  <a:pt x="2550" y="2118"/>
                  <a:pt x="2550" y="2117"/>
                </a:cubicBezTo>
                <a:cubicBezTo>
                  <a:pt x="2551" y="2116"/>
                  <a:pt x="2553" y="2115"/>
                  <a:pt x="2554" y="2114"/>
                </a:cubicBezTo>
                <a:cubicBezTo>
                  <a:pt x="2555" y="2112"/>
                  <a:pt x="2557" y="2109"/>
                  <a:pt x="2560" y="2109"/>
                </a:cubicBezTo>
                <a:cubicBezTo>
                  <a:pt x="2561" y="2109"/>
                  <a:pt x="2563" y="2109"/>
                  <a:pt x="2564" y="2110"/>
                </a:cubicBezTo>
                <a:cubicBezTo>
                  <a:pt x="2565" y="2111"/>
                  <a:pt x="2565" y="2114"/>
                  <a:pt x="2566" y="2113"/>
                </a:cubicBezTo>
                <a:cubicBezTo>
                  <a:pt x="2567" y="2113"/>
                  <a:pt x="2567" y="2112"/>
                  <a:pt x="2566" y="2111"/>
                </a:cubicBezTo>
                <a:cubicBezTo>
                  <a:pt x="2566" y="2110"/>
                  <a:pt x="2567" y="2110"/>
                  <a:pt x="2567" y="2109"/>
                </a:cubicBezTo>
                <a:cubicBezTo>
                  <a:pt x="2568" y="2107"/>
                  <a:pt x="2568" y="2107"/>
                  <a:pt x="2566" y="2106"/>
                </a:cubicBezTo>
                <a:cubicBezTo>
                  <a:pt x="2565" y="2105"/>
                  <a:pt x="2565" y="2103"/>
                  <a:pt x="2564" y="2103"/>
                </a:cubicBezTo>
                <a:cubicBezTo>
                  <a:pt x="2562" y="2103"/>
                  <a:pt x="2561" y="2103"/>
                  <a:pt x="2560" y="2104"/>
                </a:cubicBezTo>
                <a:cubicBezTo>
                  <a:pt x="2558" y="2104"/>
                  <a:pt x="2558" y="2106"/>
                  <a:pt x="2557" y="2107"/>
                </a:cubicBezTo>
                <a:cubicBezTo>
                  <a:pt x="2555" y="2108"/>
                  <a:pt x="2554" y="2107"/>
                  <a:pt x="2553" y="2107"/>
                </a:cubicBezTo>
                <a:cubicBezTo>
                  <a:pt x="2552" y="2107"/>
                  <a:pt x="2551" y="2107"/>
                  <a:pt x="2550" y="2107"/>
                </a:cubicBezTo>
                <a:cubicBezTo>
                  <a:pt x="2548" y="2107"/>
                  <a:pt x="2546" y="2107"/>
                  <a:pt x="2545" y="2107"/>
                </a:cubicBezTo>
                <a:cubicBezTo>
                  <a:pt x="2543" y="2107"/>
                  <a:pt x="2542" y="2108"/>
                  <a:pt x="2541" y="2108"/>
                </a:cubicBezTo>
                <a:cubicBezTo>
                  <a:pt x="2540" y="2109"/>
                  <a:pt x="2540" y="2109"/>
                  <a:pt x="2539" y="2109"/>
                </a:cubicBezTo>
                <a:cubicBezTo>
                  <a:pt x="2538" y="2109"/>
                  <a:pt x="2538" y="2110"/>
                  <a:pt x="2537" y="2110"/>
                </a:cubicBezTo>
                <a:cubicBezTo>
                  <a:pt x="2536" y="2111"/>
                  <a:pt x="2535" y="2111"/>
                  <a:pt x="2534" y="2110"/>
                </a:cubicBezTo>
                <a:cubicBezTo>
                  <a:pt x="2533" y="2109"/>
                  <a:pt x="2533" y="2109"/>
                  <a:pt x="2532" y="2109"/>
                </a:cubicBezTo>
                <a:cubicBezTo>
                  <a:pt x="2532" y="2108"/>
                  <a:pt x="2531" y="2108"/>
                  <a:pt x="2531" y="2108"/>
                </a:cubicBezTo>
                <a:cubicBezTo>
                  <a:pt x="2530" y="2109"/>
                  <a:pt x="2529" y="2111"/>
                  <a:pt x="2528" y="2112"/>
                </a:cubicBezTo>
                <a:cubicBezTo>
                  <a:pt x="2527" y="2112"/>
                  <a:pt x="2526" y="2113"/>
                  <a:pt x="2525" y="2115"/>
                </a:cubicBezTo>
                <a:cubicBezTo>
                  <a:pt x="2524" y="2117"/>
                  <a:pt x="2523" y="2121"/>
                  <a:pt x="2520" y="2120"/>
                </a:cubicBezTo>
                <a:cubicBezTo>
                  <a:pt x="2519" y="2120"/>
                  <a:pt x="2518" y="2119"/>
                  <a:pt x="2517" y="2119"/>
                </a:cubicBezTo>
                <a:cubicBezTo>
                  <a:pt x="2515" y="2119"/>
                  <a:pt x="2514" y="2119"/>
                  <a:pt x="2513" y="2118"/>
                </a:cubicBezTo>
                <a:cubicBezTo>
                  <a:pt x="2512" y="2117"/>
                  <a:pt x="2512" y="2115"/>
                  <a:pt x="2512" y="2114"/>
                </a:cubicBezTo>
                <a:cubicBezTo>
                  <a:pt x="2511" y="2114"/>
                  <a:pt x="2511" y="2113"/>
                  <a:pt x="2510" y="2113"/>
                </a:cubicBezTo>
                <a:cubicBezTo>
                  <a:pt x="2510" y="2112"/>
                  <a:pt x="2510" y="2112"/>
                  <a:pt x="2509" y="2111"/>
                </a:cubicBezTo>
                <a:cubicBezTo>
                  <a:pt x="2508" y="2110"/>
                  <a:pt x="2507" y="2110"/>
                  <a:pt x="2505" y="2110"/>
                </a:cubicBezTo>
                <a:cubicBezTo>
                  <a:pt x="2504" y="2110"/>
                  <a:pt x="2503" y="2109"/>
                  <a:pt x="2503" y="2108"/>
                </a:cubicBezTo>
                <a:cubicBezTo>
                  <a:pt x="2502" y="2107"/>
                  <a:pt x="2503" y="2105"/>
                  <a:pt x="2502" y="2104"/>
                </a:cubicBezTo>
                <a:cubicBezTo>
                  <a:pt x="2501" y="2103"/>
                  <a:pt x="2500" y="2102"/>
                  <a:pt x="2500" y="2100"/>
                </a:cubicBezTo>
                <a:cubicBezTo>
                  <a:pt x="2500" y="2097"/>
                  <a:pt x="2499" y="2094"/>
                  <a:pt x="2501" y="2091"/>
                </a:cubicBezTo>
                <a:cubicBezTo>
                  <a:pt x="2502" y="2089"/>
                  <a:pt x="2503" y="2089"/>
                  <a:pt x="2504" y="2087"/>
                </a:cubicBezTo>
                <a:cubicBezTo>
                  <a:pt x="2505" y="2086"/>
                  <a:pt x="2505" y="2085"/>
                  <a:pt x="2506" y="2083"/>
                </a:cubicBezTo>
                <a:cubicBezTo>
                  <a:pt x="2507" y="2083"/>
                  <a:pt x="2509" y="2082"/>
                  <a:pt x="2510" y="2082"/>
                </a:cubicBezTo>
                <a:cubicBezTo>
                  <a:pt x="2512" y="2082"/>
                  <a:pt x="2514" y="2081"/>
                  <a:pt x="2515" y="2081"/>
                </a:cubicBezTo>
                <a:cubicBezTo>
                  <a:pt x="2517" y="2082"/>
                  <a:pt x="2518" y="2082"/>
                  <a:pt x="2519" y="2082"/>
                </a:cubicBezTo>
                <a:cubicBezTo>
                  <a:pt x="2521" y="2083"/>
                  <a:pt x="2522" y="2083"/>
                  <a:pt x="2524" y="2083"/>
                </a:cubicBezTo>
                <a:cubicBezTo>
                  <a:pt x="2525" y="2083"/>
                  <a:pt x="2527" y="2084"/>
                  <a:pt x="2528" y="2084"/>
                </a:cubicBezTo>
                <a:cubicBezTo>
                  <a:pt x="2530" y="2083"/>
                  <a:pt x="2532" y="2083"/>
                  <a:pt x="2533" y="2083"/>
                </a:cubicBezTo>
                <a:cubicBezTo>
                  <a:pt x="2536" y="2083"/>
                  <a:pt x="2540" y="2083"/>
                  <a:pt x="2543" y="2083"/>
                </a:cubicBezTo>
                <a:cubicBezTo>
                  <a:pt x="2546" y="2083"/>
                  <a:pt x="2549" y="2083"/>
                  <a:pt x="2552" y="2083"/>
                </a:cubicBezTo>
                <a:cubicBezTo>
                  <a:pt x="2554" y="2082"/>
                  <a:pt x="2555" y="2082"/>
                  <a:pt x="2557" y="2083"/>
                </a:cubicBezTo>
                <a:cubicBezTo>
                  <a:pt x="2558" y="2083"/>
                  <a:pt x="2559" y="2084"/>
                  <a:pt x="2561" y="2084"/>
                </a:cubicBezTo>
                <a:cubicBezTo>
                  <a:pt x="2562" y="2085"/>
                  <a:pt x="2564" y="2084"/>
                  <a:pt x="2565" y="2085"/>
                </a:cubicBezTo>
                <a:cubicBezTo>
                  <a:pt x="2567" y="2086"/>
                  <a:pt x="2568" y="2087"/>
                  <a:pt x="2570" y="2087"/>
                </a:cubicBezTo>
                <a:cubicBezTo>
                  <a:pt x="2571" y="2087"/>
                  <a:pt x="2573" y="2087"/>
                  <a:pt x="2574" y="2087"/>
                </a:cubicBezTo>
                <a:cubicBezTo>
                  <a:pt x="2576" y="2087"/>
                  <a:pt x="2578" y="2086"/>
                  <a:pt x="2579" y="2086"/>
                </a:cubicBezTo>
                <a:cubicBezTo>
                  <a:pt x="2582" y="2086"/>
                  <a:pt x="2583" y="2086"/>
                  <a:pt x="2585" y="2084"/>
                </a:cubicBezTo>
                <a:cubicBezTo>
                  <a:pt x="2585" y="2084"/>
                  <a:pt x="2586" y="2083"/>
                  <a:pt x="2586" y="2083"/>
                </a:cubicBezTo>
                <a:cubicBezTo>
                  <a:pt x="2587" y="2081"/>
                  <a:pt x="2588" y="2080"/>
                  <a:pt x="2590" y="2079"/>
                </a:cubicBezTo>
                <a:cubicBezTo>
                  <a:pt x="2590" y="2078"/>
                  <a:pt x="2591" y="2077"/>
                  <a:pt x="2593" y="2076"/>
                </a:cubicBezTo>
                <a:close/>
                <a:moveTo>
                  <a:pt x="2446" y="1928"/>
                </a:moveTo>
                <a:cubicBezTo>
                  <a:pt x="2446" y="1929"/>
                  <a:pt x="2446" y="1930"/>
                  <a:pt x="2447" y="1930"/>
                </a:cubicBezTo>
                <a:cubicBezTo>
                  <a:pt x="2448" y="1929"/>
                  <a:pt x="2448" y="1928"/>
                  <a:pt x="2448" y="1928"/>
                </a:cubicBezTo>
                <a:cubicBezTo>
                  <a:pt x="2448" y="1928"/>
                  <a:pt x="2449" y="1927"/>
                  <a:pt x="2448" y="1927"/>
                </a:cubicBezTo>
                <a:cubicBezTo>
                  <a:pt x="2447" y="1927"/>
                  <a:pt x="2447" y="1928"/>
                  <a:pt x="2446" y="1928"/>
                </a:cubicBezTo>
                <a:close/>
                <a:moveTo>
                  <a:pt x="2523" y="1851"/>
                </a:moveTo>
                <a:cubicBezTo>
                  <a:pt x="2523" y="1850"/>
                  <a:pt x="2522" y="1850"/>
                  <a:pt x="2522" y="1849"/>
                </a:cubicBezTo>
                <a:cubicBezTo>
                  <a:pt x="2522" y="1849"/>
                  <a:pt x="2522" y="1848"/>
                  <a:pt x="2521" y="1848"/>
                </a:cubicBezTo>
                <a:cubicBezTo>
                  <a:pt x="2521" y="1848"/>
                  <a:pt x="2521" y="1849"/>
                  <a:pt x="2521" y="1850"/>
                </a:cubicBezTo>
                <a:cubicBezTo>
                  <a:pt x="2522" y="1850"/>
                  <a:pt x="2522" y="1851"/>
                  <a:pt x="2523" y="1851"/>
                </a:cubicBezTo>
                <a:close/>
                <a:moveTo>
                  <a:pt x="2557" y="1948"/>
                </a:moveTo>
                <a:cubicBezTo>
                  <a:pt x="2557" y="1948"/>
                  <a:pt x="2557" y="1948"/>
                  <a:pt x="2558" y="1947"/>
                </a:cubicBezTo>
                <a:cubicBezTo>
                  <a:pt x="2558" y="1947"/>
                  <a:pt x="2559" y="1947"/>
                  <a:pt x="2559" y="1946"/>
                </a:cubicBezTo>
                <a:cubicBezTo>
                  <a:pt x="2559" y="1946"/>
                  <a:pt x="2558" y="1945"/>
                  <a:pt x="2558" y="1946"/>
                </a:cubicBezTo>
                <a:cubicBezTo>
                  <a:pt x="2557" y="1946"/>
                  <a:pt x="2557" y="1947"/>
                  <a:pt x="2557" y="1947"/>
                </a:cubicBezTo>
                <a:cubicBezTo>
                  <a:pt x="2557" y="1946"/>
                  <a:pt x="2557" y="1946"/>
                  <a:pt x="2556" y="1946"/>
                </a:cubicBezTo>
                <a:cubicBezTo>
                  <a:pt x="2556" y="1946"/>
                  <a:pt x="2556" y="1947"/>
                  <a:pt x="2556" y="1947"/>
                </a:cubicBezTo>
                <a:cubicBezTo>
                  <a:pt x="2556" y="1947"/>
                  <a:pt x="2556" y="1949"/>
                  <a:pt x="2557" y="1948"/>
                </a:cubicBezTo>
                <a:close/>
                <a:moveTo>
                  <a:pt x="2623" y="2128"/>
                </a:moveTo>
                <a:cubicBezTo>
                  <a:pt x="2622" y="2128"/>
                  <a:pt x="2621" y="2128"/>
                  <a:pt x="2621" y="2128"/>
                </a:cubicBezTo>
                <a:cubicBezTo>
                  <a:pt x="2620" y="2128"/>
                  <a:pt x="2619" y="2128"/>
                  <a:pt x="2618" y="2128"/>
                </a:cubicBezTo>
                <a:cubicBezTo>
                  <a:pt x="2618" y="2128"/>
                  <a:pt x="2617" y="2128"/>
                  <a:pt x="2616" y="2128"/>
                </a:cubicBezTo>
                <a:cubicBezTo>
                  <a:pt x="2616" y="2128"/>
                  <a:pt x="2615" y="2128"/>
                  <a:pt x="2615" y="2128"/>
                </a:cubicBezTo>
                <a:cubicBezTo>
                  <a:pt x="2613" y="2128"/>
                  <a:pt x="2612" y="2128"/>
                  <a:pt x="2610" y="2127"/>
                </a:cubicBezTo>
                <a:cubicBezTo>
                  <a:pt x="2609" y="2126"/>
                  <a:pt x="2608" y="2127"/>
                  <a:pt x="2606" y="2127"/>
                </a:cubicBezTo>
                <a:cubicBezTo>
                  <a:pt x="2606" y="2127"/>
                  <a:pt x="2606" y="2127"/>
                  <a:pt x="2605" y="2127"/>
                </a:cubicBezTo>
                <a:cubicBezTo>
                  <a:pt x="2605" y="2127"/>
                  <a:pt x="2605" y="2127"/>
                  <a:pt x="2605" y="2127"/>
                </a:cubicBezTo>
                <a:cubicBezTo>
                  <a:pt x="2604" y="2126"/>
                  <a:pt x="2603" y="2126"/>
                  <a:pt x="2603" y="2126"/>
                </a:cubicBezTo>
                <a:cubicBezTo>
                  <a:pt x="2602" y="2126"/>
                  <a:pt x="2602" y="2127"/>
                  <a:pt x="2601" y="2126"/>
                </a:cubicBezTo>
                <a:cubicBezTo>
                  <a:pt x="2600" y="2126"/>
                  <a:pt x="2599" y="2126"/>
                  <a:pt x="2599" y="2126"/>
                </a:cubicBezTo>
                <a:cubicBezTo>
                  <a:pt x="2598" y="2126"/>
                  <a:pt x="2597" y="2126"/>
                  <a:pt x="2596" y="2126"/>
                </a:cubicBezTo>
                <a:cubicBezTo>
                  <a:pt x="2595" y="2124"/>
                  <a:pt x="2592" y="2124"/>
                  <a:pt x="2590" y="2124"/>
                </a:cubicBezTo>
                <a:cubicBezTo>
                  <a:pt x="2588" y="2124"/>
                  <a:pt x="2587" y="2125"/>
                  <a:pt x="2587" y="2127"/>
                </a:cubicBezTo>
                <a:cubicBezTo>
                  <a:pt x="2587" y="2129"/>
                  <a:pt x="2587" y="2130"/>
                  <a:pt x="2587" y="2132"/>
                </a:cubicBezTo>
                <a:cubicBezTo>
                  <a:pt x="2587" y="2134"/>
                  <a:pt x="2589" y="2132"/>
                  <a:pt x="2590" y="2131"/>
                </a:cubicBezTo>
                <a:cubicBezTo>
                  <a:pt x="2591" y="2131"/>
                  <a:pt x="2592" y="2131"/>
                  <a:pt x="2592" y="2131"/>
                </a:cubicBezTo>
                <a:cubicBezTo>
                  <a:pt x="2593" y="2131"/>
                  <a:pt x="2593" y="2131"/>
                  <a:pt x="2594" y="2130"/>
                </a:cubicBezTo>
                <a:cubicBezTo>
                  <a:pt x="2595" y="2130"/>
                  <a:pt x="2596" y="2130"/>
                  <a:pt x="2596" y="2130"/>
                </a:cubicBezTo>
                <a:cubicBezTo>
                  <a:pt x="2597" y="2130"/>
                  <a:pt x="2597" y="2131"/>
                  <a:pt x="2598" y="2131"/>
                </a:cubicBezTo>
                <a:cubicBezTo>
                  <a:pt x="2599" y="2131"/>
                  <a:pt x="2600" y="2131"/>
                  <a:pt x="2600" y="2130"/>
                </a:cubicBezTo>
                <a:cubicBezTo>
                  <a:pt x="2601" y="2130"/>
                  <a:pt x="2601" y="2130"/>
                  <a:pt x="2602" y="2130"/>
                </a:cubicBezTo>
                <a:cubicBezTo>
                  <a:pt x="2603" y="2130"/>
                  <a:pt x="2603" y="2130"/>
                  <a:pt x="2604" y="2130"/>
                </a:cubicBezTo>
                <a:cubicBezTo>
                  <a:pt x="2605" y="2130"/>
                  <a:pt x="2605" y="2129"/>
                  <a:pt x="2606" y="2129"/>
                </a:cubicBezTo>
                <a:cubicBezTo>
                  <a:pt x="2607" y="2129"/>
                  <a:pt x="2607" y="2130"/>
                  <a:pt x="2607" y="2130"/>
                </a:cubicBezTo>
                <a:cubicBezTo>
                  <a:pt x="2607" y="2131"/>
                  <a:pt x="2608" y="2131"/>
                  <a:pt x="2609" y="2131"/>
                </a:cubicBezTo>
                <a:cubicBezTo>
                  <a:pt x="2610" y="2131"/>
                  <a:pt x="2611" y="2131"/>
                  <a:pt x="2611" y="2131"/>
                </a:cubicBezTo>
                <a:cubicBezTo>
                  <a:pt x="2612" y="2130"/>
                  <a:pt x="2612" y="2130"/>
                  <a:pt x="2613" y="2130"/>
                </a:cubicBezTo>
                <a:cubicBezTo>
                  <a:pt x="2614" y="2129"/>
                  <a:pt x="2616" y="2130"/>
                  <a:pt x="2616" y="2132"/>
                </a:cubicBezTo>
                <a:cubicBezTo>
                  <a:pt x="2616" y="2132"/>
                  <a:pt x="2615" y="2133"/>
                  <a:pt x="2615" y="2134"/>
                </a:cubicBezTo>
                <a:cubicBezTo>
                  <a:pt x="2615" y="2135"/>
                  <a:pt x="2616" y="2134"/>
                  <a:pt x="2616" y="2135"/>
                </a:cubicBezTo>
                <a:cubicBezTo>
                  <a:pt x="2618" y="2136"/>
                  <a:pt x="2617" y="2138"/>
                  <a:pt x="2617" y="2139"/>
                </a:cubicBezTo>
                <a:cubicBezTo>
                  <a:pt x="2618" y="2139"/>
                  <a:pt x="2618" y="2140"/>
                  <a:pt x="2618" y="2140"/>
                </a:cubicBezTo>
                <a:cubicBezTo>
                  <a:pt x="2619" y="2141"/>
                  <a:pt x="2619" y="2142"/>
                  <a:pt x="2619" y="2142"/>
                </a:cubicBezTo>
                <a:cubicBezTo>
                  <a:pt x="2620" y="2142"/>
                  <a:pt x="2620" y="2140"/>
                  <a:pt x="2620" y="2140"/>
                </a:cubicBezTo>
                <a:cubicBezTo>
                  <a:pt x="2620" y="2139"/>
                  <a:pt x="2619" y="2139"/>
                  <a:pt x="2619" y="2138"/>
                </a:cubicBezTo>
                <a:cubicBezTo>
                  <a:pt x="2618" y="2138"/>
                  <a:pt x="2618" y="2137"/>
                  <a:pt x="2618" y="2136"/>
                </a:cubicBezTo>
                <a:cubicBezTo>
                  <a:pt x="2618" y="2135"/>
                  <a:pt x="2618" y="2135"/>
                  <a:pt x="2618" y="2134"/>
                </a:cubicBezTo>
                <a:cubicBezTo>
                  <a:pt x="2617" y="2133"/>
                  <a:pt x="2617" y="2131"/>
                  <a:pt x="2618" y="2130"/>
                </a:cubicBezTo>
                <a:cubicBezTo>
                  <a:pt x="2619" y="2130"/>
                  <a:pt x="2620" y="2130"/>
                  <a:pt x="2620" y="2130"/>
                </a:cubicBezTo>
                <a:cubicBezTo>
                  <a:pt x="2621" y="2130"/>
                  <a:pt x="2622" y="2130"/>
                  <a:pt x="2622" y="2130"/>
                </a:cubicBezTo>
                <a:cubicBezTo>
                  <a:pt x="2624" y="2129"/>
                  <a:pt x="2625" y="2128"/>
                  <a:pt x="2623" y="2128"/>
                </a:cubicBezTo>
                <a:close/>
                <a:moveTo>
                  <a:pt x="2496" y="1864"/>
                </a:moveTo>
                <a:cubicBezTo>
                  <a:pt x="2496" y="1864"/>
                  <a:pt x="2496" y="1865"/>
                  <a:pt x="2496" y="1865"/>
                </a:cubicBezTo>
                <a:cubicBezTo>
                  <a:pt x="2496" y="1865"/>
                  <a:pt x="2495" y="1865"/>
                  <a:pt x="2495" y="1865"/>
                </a:cubicBezTo>
                <a:cubicBezTo>
                  <a:pt x="2495" y="1865"/>
                  <a:pt x="2496" y="1866"/>
                  <a:pt x="2496" y="1866"/>
                </a:cubicBezTo>
                <a:cubicBezTo>
                  <a:pt x="2497" y="1866"/>
                  <a:pt x="2497" y="1865"/>
                  <a:pt x="2497" y="1866"/>
                </a:cubicBezTo>
                <a:cubicBezTo>
                  <a:pt x="2497" y="1866"/>
                  <a:pt x="2497" y="1867"/>
                  <a:pt x="2498" y="1867"/>
                </a:cubicBezTo>
                <a:cubicBezTo>
                  <a:pt x="2498" y="1866"/>
                  <a:pt x="2498" y="1865"/>
                  <a:pt x="2498" y="1864"/>
                </a:cubicBezTo>
                <a:cubicBezTo>
                  <a:pt x="2498" y="1864"/>
                  <a:pt x="2497" y="1863"/>
                  <a:pt x="2497" y="1864"/>
                </a:cubicBezTo>
                <a:cubicBezTo>
                  <a:pt x="2497" y="1864"/>
                  <a:pt x="2497" y="1864"/>
                  <a:pt x="2497" y="1864"/>
                </a:cubicBezTo>
                <a:cubicBezTo>
                  <a:pt x="2498" y="1865"/>
                  <a:pt x="2497" y="1865"/>
                  <a:pt x="2497" y="1865"/>
                </a:cubicBezTo>
                <a:cubicBezTo>
                  <a:pt x="2497" y="1865"/>
                  <a:pt x="2497" y="1864"/>
                  <a:pt x="2496" y="1864"/>
                </a:cubicBezTo>
                <a:close/>
                <a:moveTo>
                  <a:pt x="2519" y="1821"/>
                </a:moveTo>
                <a:cubicBezTo>
                  <a:pt x="2519" y="1821"/>
                  <a:pt x="2518" y="1821"/>
                  <a:pt x="2518" y="1821"/>
                </a:cubicBezTo>
                <a:cubicBezTo>
                  <a:pt x="2518" y="1821"/>
                  <a:pt x="2517" y="1821"/>
                  <a:pt x="2517" y="1821"/>
                </a:cubicBezTo>
                <a:cubicBezTo>
                  <a:pt x="2517" y="1821"/>
                  <a:pt x="2517" y="1820"/>
                  <a:pt x="2517" y="1821"/>
                </a:cubicBezTo>
                <a:cubicBezTo>
                  <a:pt x="2517" y="1821"/>
                  <a:pt x="2518" y="1822"/>
                  <a:pt x="2518" y="1822"/>
                </a:cubicBezTo>
                <a:cubicBezTo>
                  <a:pt x="2518" y="1822"/>
                  <a:pt x="2520" y="1822"/>
                  <a:pt x="2519" y="1821"/>
                </a:cubicBezTo>
                <a:close/>
                <a:moveTo>
                  <a:pt x="2610" y="1986"/>
                </a:moveTo>
                <a:cubicBezTo>
                  <a:pt x="2610" y="1985"/>
                  <a:pt x="2610" y="1983"/>
                  <a:pt x="2609" y="1984"/>
                </a:cubicBezTo>
                <a:cubicBezTo>
                  <a:pt x="2609" y="1985"/>
                  <a:pt x="2609" y="1986"/>
                  <a:pt x="2610" y="1986"/>
                </a:cubicBezTo>
                <a:close/>
                <a:moveTo>
                  <a:pt x="2519" y="1980"/>
                </a:moveTo>
                <a:cubicBezTo>
                  <a:pt x="2519" y="1979"/>
                  <a:pt x="2518" y="1979"/>
                  <a:pt x="2518" y="1979"/>
                </a:cubicBezTo>
                <a:cubicBezTo>
                  <a:pt x="2517" y="1980"/>
                  <a:pt x="2517" y="1980"/>
                  <a:pt x="2517" y="1980"/>
                </a:cubicBezTo>
                <a:cubicBezTo>
                  <a:pt x="2516" y="1980"/>
                  <a:pt x="2516" y="1980"/>
                  <a:pt x="2516" y="1981"/>
                </a:cubicBezTo>
                <a:cubicBezTo>
                  <a:pt x="2516" y="1981"/>
                  <a:pt x="2517" y="1981"/>
                  <a:pt x="2517" y="1980"/>
                </a:cubicBezTo>
                <a:cubicBezTo>
                  <a:pt x="2518" y="1980"/>
                  <a:pt x="2518" y="1981"/>
                  <a:pt x="2519" y="1980"/>
                </a:cubicBezTo>
                <a:close/>
                <a:moveTo>
                  <a:pt x="2608" y="1986"/>
                </a:moveTo>
                <a:cubicBezTo>
                  <a:pt x="2608" y="1984"/>
                  <a:pt x="2607" y="1985"/>
                  <a:pt x="2606" y="1986"/>
                </a:cubicBezTo>
                <a:cubicBezTo>
                  <a:pt x="2606" y="1987"/>
                  <a:pt x="2608" y="1986"/>
                  <a:pt x="2608" y="1986"/>
                </a:cubicBezTo>
                <a:close/>
                <a:moveTo>
                  <a:pt x="2630" y="1945"/>
                </a:moveTo>
                <a:cubicBezTo>
                  <a:pt x="2630" y="1944"/>
                  <a:pt x="2631" y="1944"/>
                  <a:pt x="2631" y="1944"/>
                </a:cubicBezTo>
                <a:cubicBezTo>
                  <a:pt x="2631" y="1943"/>
                  <a:pt x="2631" y="1943"/>
                  <a:pt x="2630" y="1942"/>
                </a:cubicBezTo>
                <a:cubicBezTo>
                  <a:pt x="2630" y="1942"/>
                  <a:pt x="2630" y="1941"/>
                  <a:pt x="2630" y="1941"/>
                </a:cubicBezTo>
                <a:cubicBezTo>
                  <a:pt x="2630" y="1940"/>
                  <a:pt x="2630" y="1940"/>
                  <a:pt x="2630" y="1940"/>
                </a:cubicBezTo>
                <a:cubicBezTo>
                  <a:pt x="2630" y="1939"/>
                  <a:pt x="2630" y="1938"/>
                  <a:pt x="2629" y="1938"/>
                </a:cubicBezTo>
                <a:cubicBezTo>
                  <a:pt x="2628" y="1938"/>
                  <a:pt x="2628" y="1938"/>
                  <a:pt x="2628" y="1937"/>
                </a:cubicBezTo>
                <a:cubicBezTo>
                  <a:pt x="2628" y="1936"/>
                  <a:pt x="2627" y="1937"/>
                  <a:pt x="2626" y="1936"/>
                </a:cubicBezTo>
                <a:cubicBezTo>
                  <a:pt x="2626" y="1935"/>
                  <a:pt x="2626" y="1935"/>
                  <a:pt x="2627" y="1935"/>
                </a:cubicBezTo>
                <a:cubicBezTo>
                  <a:pt x="2627" y="1934"/>
                  <a:pt x="2628" y="1934"/>
                  <a:pt x="2627" y="1933"/>
                </a:cubicBezTo>
                <a:cubicBezTo>
                  <a:pt x="2627" y="1933"/>
                  <a:pt x="2627" y="1933"/>
                  <a:pt x="2627" y="1932"/>
                </a:cubicBezTo>
                <a:cubicBezTo>
                  <a:pt x="2628" y="1932"/>
                  <a:pt x="2627" y="1931"/>
                  <a:pt x="2627" y="1931"/>
                </a:cubicBezTo>
                <a:cubicBezTo>
                  <a:pt x="2627" y="1930"/>
                  <a:pt x="2628" y="1929"/>
                  <a:pt x="2628" y="1929"/>
                </a:cubicBezTo>
                <a:cubicBezTo>
                  <a:pt x="2628" y="1928"/>
                  <a:pt x="2627" y="1928"/>
                  <a:pt x="2627" y="1929"/>
                </a:cubicBezTo>
                <a:cubicBezTo>
                  <a:pt x="2627" y="1929"/>
                  <a:pt x="2626" y="1929"/>
                  <a:pt x="2626" y="1929"/>
                </a:cubicBezTo>
                <a:cubicBezTo>
                  <a:pt x="2625" y="1930"/>
                  <a:pt x="2625" y="1929"/>
                  <a:pt x="2625" y="1929"/>
                </a:cubicBezTo>
                <a:cubicBezTo>
                  <a:pt x="2626" y="1928"/>
                  <a:pt x="2627" y="1928"/>
                  <a:pt x="2626" y="1927"/>
                </a:cubicBezTo>
                <a:cubicBezTo>
                  <a:pt x="2625" y="1927"/>
                  <a:pt x="2625" y="1926"/>
                  <a:pt x="2625" y="1926"/>
                </a:cubicBezTo>
                <a:cubicBezTo>
                  <a:pt x="2625" y="1925"/>
                  <a:pt x="2626" y="1925"/>
                  <a:pt x="2626" y="1925"/>
                </a:cubicBezTo>
                <a:cubicBezTo>
                  <a:pt x="2626" y="1925"/>
                  <a:pt x="2625" y="1924"/>
                  <a:pt x="2626" y="1924"/>
                </a:cubicBezTo>
                <a:cubicBezTo>
                  <a:pt x="2626" y="1924"/>
                  <a:pt x="2627" y="1924"/>
                  <a:pt x="2627" y="1923"/>
                </a:cubicBezTo>
                <a:cubicBezTo>
                  <a:pt x="2626" y="1922"/>
                  <a:pt x="2625" y="1923"/>
                  <a:pt x="2624" y="1923"/>
                </a:cubicBezTo>
                <a:cubicBezTo>
                  <a:pt x="2624" y="1922"/>
                  <a:pt x="2623" y="1922"/>
                  <a:pt x="2623" y="1922"/>
                </a:cubicBezTo>
                <a:cubicBezTo>
                  <a:pt x="2623" y="1922"/>
                  <a:pt x="2623" y="1923"/>
                  <a:pt x="2623" y="1923"/>
                </a:cubicBezTo>
                <a:cubicBezTo>
                  <a:pt x="2622" y="1923"/>
                  <a:pt x="2621" y="1923"/>
                  <a:pt x="2621" y="1923"/>
                </a:cubicBezTo>
                <a:cubicBezTo>
                  <a:pt x="2621" y="1922"/>
                  <a:pt x="2621" y="1922"/>
                  <a:pt x="2621" y="1921"/>
                </a:cubicBezTo>
                <a:cubicBezTo>
                  <a:pt x="2620" y="1921"/>
                  <a:pt x="2620" y="1921"/>
                  <a:pt x="2621" y="1920"/>
                </a:cubicBezTo>
                <a:cubicBezTo>
                  <a:pt x="2621" y="1920"/>
                  <a:pt x="2622" y="1920"/>
                  <a:pt x="2622" y="1919"/>
                </a:cubicBezTo>
                <a:cubicBezTo>
                  <a:pt x="2623" y="1919"/>
                  <a:pt x="2623" y="1919"/>
                  <a:pt x="2623" y="1918"/>
                </a:cubicBezTo>
                <a:cubicBezTo>
                  <a:pt x="2624" y="1918"/>
                  <a:pt x="2625" y="1917"/>
                  <a:pt x="2625" y="1916"/>
                </a:cubicBezTo>
                <a:cubicBezTo>
                  <a:pt x="2625" y="1914"/>
                  <a:pt x="2622" y="1913"/>
                  <a:pt x="2622" y="1911"/>
                </a:cubicBezTo>
                <a:cubicBezTo>
                  <a:pt x="2622" y="1910"/>
                  <a:pt x="2622" y="1909"/>
                  <a:pt x="2622" y="1909"/>
                </a:cubicBezTo>
                <a:cubicBezTo>
                  <a:pt x="2622" y="1908"/>
                  <a:pt x="2623" y="1907"/>
                  <a:pt x="2622" y="1907"/>
                </a:cubicBezTo>
                <a:cubicBezTo>
                  <a:pt x="2622" y="1907"/>
                  <a:pt x="2621" y="1908"/>
                  <a:pt x="2620" y="1908"/>
                </a:cubicBezTo>
                <a:cubicBezTo>
                  <a:pt x="2619" y="1909"/>
                  <a:pt x="2619" y="1908"/>
                  <a:pt x="2618" y="1907"/>
                </a:cubicBezTo>
                <a:cubicBezTo>
                  <a:pt x="2618" y="1906"/>
                  <a:pt x="2618" y="1906"/>
                  <a:pt x="2617" y="1906"/>
                </a:cubicBezTo>
                <a:cubicBezTo>
                  <a:pt x="2616" y="1906"/>
                  <a:pt x="2617" y="1905"/>
                  <a:pt x="2617" y="1905"/>
                </a:cubicBezTo>
                <a:cubicBezTo>
                  <a:pt x="2617" y="1904"/>
                  <a:pt x="2615" y="1902"/>
                  <a:pt x="2615" y="1902"/>
                </a:cubicBezTo>
                <a:cubicBezTo>
                  <a:pt x="2614" y="1902"/>
                  <a:pt x="2614" y="1902"/>
                  <a:pt x="2613" y="1902"/>
                </a:cubicBezTo>
                <a:cubicBezTo>
                  <a:pt x="2613" y="1902"/>
                  <a:pt x="2613" y="1901"/>
                  <a:pt x="2612" y="1901"/>
                </a:cubicBezTo>
                <a:cubicBezTo>
                  <a:pt x="2611" y="1901"/>
                  <a:pt x="2610" y="1900"/>
                  <a:pt x="2611" y="1899"/>
                </a:cubicBezTo>
                <a:cubicBezTo>
                  <a:pt x="2611" y="1899"/>
                  <a:pt x="2609" y="1898"/>
                  <a:pt x="2609" y="1898"/>
                </a:cubicBezTo>
                <a:cubicBezTo>
                  <a:pt x="2609" y="1898"/>
                  <a:pt x="2608" y="1898"/>
                  <a:pt x="2608" y="1897"/>
                </a:cubicBezTo>
                <a:cubicBezTo>
                  <a:pt x="2607" y="1897"/>
                  <a:pt x="2607" y="1898"/>
                  <a:pt x="2606" y="1899"/>
                </a:cubicBezTo>
                <a:cubicBezTo>
                  <a:pt x="2605" y="1900"/>
                  <a:pt x="2606" y="1901"/>
                  <a:pt x="2607" y="1902"/>
                </a:cubicBezTo>
                <a:cubicBezTo>
                  <a:pt x="2607" y="1903"/>
                  <a:pt x="2608" y="1904"/>
                  <a:pt x="2608" y="1906"/>
                </a:cubicBezTo>
                <a:cubicBezTo>
                  <a:pt x="2608" y="1906"/>
                  <a:pt x="2608" y="1907"/>
                  <a:pt x="2609" y="1908"/>
                </a:cubicBezTo>
                <a:cubicBezTo>
                  <a:pt x="2609" y="1909"/>
                  <a:pt x="2609" y="1911"/>
                  <a:pt x="2609" y="1913"/>
                </a:cubicBezTo>
                <a:cubicBezTo>
                  <a:pt x="2609" y="1914"/>
                  <a:pt x="2606" y="1914"/>
                  <a:pt x="2605" y="1914"/>
                </a:cubicBezTo>
                <a:cubicBezTo>
                  <a:pt x="2604" y="1913"/>
                  <a:pt x="2604" y="1912"/>
                  <a:pt x="2603" y="1912"/>
                </a:cubicBezTo>
                <a:cubicBezTo>
                  <a:pt x="2602" y="1912"/>
                  <a:pt x="2602" y="1914"/>
                  <a:pt x="2602" y="1914"/>
                </a:cubicBezTo>
                <a:cubicBezTo>
                  <a:pt x="2602" y="1916"/>
                  <a:pt x="2602" y="1918"/>
                  <a:pt x="2600" y="1917"/>
                </a:cubicBezTo>
                <a:cubicBezTo>
                  <a:pt x="2598" y="1916"/>
                  <a:pt x="2598" y="1914"/>
                  <a:pt x="2596" y="1913"/>
                </a:cubicBezTo>
                <a:cubicBezTo>
                  <a:pt x="2594" y="1913"/>
                  <a:pt x="2595" y="1918"/>
                  <a:pt x="2594" y="1919"/>
                </a:cubicBezTo>
                <a:cubicBezTo>
                  <a:pt x="2594" y="1920"/>
                  <a:pt x="2593" y="1920"/>
                  <a:pt x="2594" y="1920"/>
                </a:cubicBezTo>
                <a:cubicBezTo>
                  <a:pt x="2594" y="1921"/>
                  <a:pt x="2595" y="1921"/>
                  <a:pt x="2594" y="1922"/>
                </a:cubicBezTo>
                <a:cubicBezTo>
                  <a:pt x="2594" y="1922"/>
                  <a:pt x="2594" y="1923"/>
                  <a:pt x="2594" y="1923"/>
                </a:cubicBezTo>
                <a:cubicBezTo>
                  <a:pt x="2594" y="1925"/>
                  <a:pt x="2593" y="1924"/>
                  <a:pt x="2592" y="1924"/>
                </a:cubicBezTo>
                <a:cubicBezTo>
                  <a:pt x="2591" y="1923"/>
                  <a:pt x="2590" y="1923"/>
                  <a:pt x="2589" y="1922"/>
                </a:cubicBezTo>
                <a:cubicBezTo>
                  <a:pt x="2588" y="1921"/>
                  <a:pt x="2587" y="1922"/>
                  <a:pt x="2587" y="1922"/>
                </a:cubicBezTo>
                <a:cubicBezTo>
                  <a:pt x="2586" y="1923"/>
                  <a:pt x="2586" y="1923"/>
                  <a:pt x="2585" y="1924"/>
                </a:cubicBezTo>
                <a:cubicBezTo>
                  <a:pt x="2585" y="1924"/>
                  <a:pt x="2585" y="1925"/>
                  <a:pt x="2585" y="1926"/>
                </a:cubicBezTo>
                <a:cubicBezTo>
                  <a:pt x="2585" y="1926"/>
                  <a:pt x="2584" y="1927"/>
                  <a:pt x="2584" y="1927"/>
                </a:cubicBezTo>
                <a:cubicBezTo>
                  <a:pt x="2584" y="1928"/>
                  <a:pt x="2584" y="1929"/>
                  <a:pt x="2584" y="1929"/>
                </a:cubicBezTo>
                <a:cubicBezTo>
                  <a:pt x="2583" y="1930"/>
                  <a:pt x="2581" y="1930"/>
                  <a:pt x="2580" y="1930"/>
                </a:cubicBezTo>
                <a:cubicBezTo>
                  <a:pt x="2579" y="1930"/>
                  <a:pt x="2579" y="1930"/>
                  <a:pt x="2578" y="1931"/>
                </a:cubicBezTo>
                <a:cubicBezTo>
                  <a:pt x="2578" y="1931"/>
                  <a:pt x="2577" y="1931"/>
                  <a:pt x="2577" y="1932"/>
                </a:cubicBezTo>
                <a:cubicBezTo>
                  <a:pt x="2576" y="1932"/>
                  <a:pt x="2576" y="1932"/>
                  <a:pt x="2575" y="1933"/>
                </a:cubicBezTo>
                <a:cubicBezTo>
                  <a:pt x="2575" y="1933"/>
                  <a:pt x="2574" y="1934"/>
                  <a:pt x="2574" y="1934"/>
                </a:cubicBezTo>
                <a:cubicBezTo>
                  <a:pt x="2573" y="1934"/>
                  <a:pt x="2573" y="1935"/>
                  <a:pt x="2573" y="1935"/>
                </a:cubicBezTo>
                <a:cubicBezTo>
                  <a:pt x="2572" y="1935"/>
                  <a:pt x="2572" y="1934"/>
                  <a:pt x="2573" y="1934"/>
                </a:cubicBezTo>
                <a:cubicBezTo>
                  <a:pt x="2573" y="1933"/>
                  <a:pt x="2575" y="1932"/>
                  <a:pt x="2576" y="1932"/>
                </a:cubicBezTo>
                <a:cubicBezTo>
                  <a:pt x="2577" y="1930"/>
                  <a:pt x="2577" y="1930"/>
                  <a:pt x="2576" y="1928"/>
                </a:cubicBezTo>
                <a:cubicBezTo>
                  <a:pt x="2576" y="1927"/>
                  <a:pt x="2576" y="1926"/>
                  <a:pt x="2576" y="1925"/>
                </a:cubicBezTo>
                <a:cubicBezTo>
                  <a:pt x="2575" y="1924"/>
                  <a:pt x="2575" y="1923"/>
                  <a:pt x="2574" y="1922"/>
                </a:cubicBezTo>
                <a:cubicBezTo>
                  <a:pt x="2573" y="1921"/>
                  <a:pt x="2573" y="1921"/>
                  <a:pt x="2571" y="1921"/>
                </a:cubicBezTo>
                <a:cubicBezTo>
                  <a:pt x="2571" y="1920"/>
                  <a:pt x="2571" y="1923"/>
                  <a:pt x="2570" y="1921"/>
                </a:cubicBezTo>
                <a:cubicBezTo>
                  <a:pt x="2570" y="1921"/>
                  <a:pt x="2569" y="1921"/>
                  <a:pt x="2569" y="1921"/>
                </a:cubicBezTo>
                <a:cubicBezTo>
                  <a:pt x="2569" y="1920"/>
                  <a:pt x="2569" y="1920"/>
                  <a:pt x="2569" y="1920"/>
                </a:cubicBezTo>
                <a:cubicBezTo>
                  <a:pt x="2568" y="1920"/>
                  <a:pt x="2567" y="1919"/>
                  <a:pt x="2567" y="1919"/>
                </a:cubicBezTo>
                <a:cubicBezTo>
                  <a:pt x="2567" y="1920"/>
                  <a:pt x="2567" y="1920"/>
                  <a:pt x="2567" y="1920"/>
                </a:cubicBezTo>
                <a:cubicBezTo>
                  <a:pt x="2568" y="1921"/>
                  <a:pt x="2566" y="1921"/>
                  <a:pt x="2566" y="1922"/>
                </a:cubicBezTo>
                <a:cubicBezTo>
                  <a:pt x="2566" y="1923"/>
                  <a:pt x="2565" y="1923"/>
                  <a:pt x="2563" y="1923"/>
                </a:cubicBezTo>
                <a:cubicBezTo>
                  <a:pt x="2562" y="1923"/>
                  <a:pt x="2561" y="1924"/>
                  <a:pt x="2560" y="1925"/>
                </a:cubicBezTo>
                <a:cubicBezTo>
                  <a:pt x="2559" y="1925"/>
                  <a:pt x="2559" y="1927"/>
                  <a:pt x="2559" y="1928"/>
                </a:cubicBezTo>
                <a:cubicBezTo>
                  <a:pt x="2559" y="1928"/>
                  <a:pt x="2560" y="1929"/>
                  <a:pt x="2559" y="1930"/>
                </a:cubicBezTo>
                <a:cubicBezTo>
                  <a:pt x="2559" y="1931"/>
                  <a:pt x="2558" y="1931"/>
                  <a:pt x="2557" y="1931"/>
                </a:cubicBezTo>
                <a:cubicBezTo>
                  <a:pt x="2557" y="1931"/>
                  <a:pt x="2556" y="1932"/>
                  <a:pt x="2555" y="1932"/>
                </a:cubicBezTo>
                <a:cubicBezTo>
                  <a:pt x="2554" y="1932"/>
                  <a:pt x="2554" y="1931"/>
                  <a:pt x="2553" y="1931"/>
                </a:cubicBezTo>
                <a:cubicBezTo>
                  <a:pt x="2553" y="1931"/>
                  <a:pt x="2553" y="1931"/>
                  <a:pt x="2552" y="1932"/>
                </a:cubicBezTo>
                <a:cubicBezTo>
                  <a:pt x="2552" y="1932"/>
                  <a:pt x="2552" y="1932"/>
                  <a:pt x="2551" y="1933"/>
                </a:cubicBezTo>
                <a:cubicBezTo>
                  <a:pt x="2550" y="1933"/>
                  <a:pt x="2549" y="1933"/>
                  <a:pt x="2547" y="1933"/>
                </a:cubicBezTo>
                <a:cubicBezTo>
                  <a:pt x="2546" y="1934"/>
                  <a:pt x="2545" y="1934"/>
                  <a:pt x="2544" y="1935"/>
                </a:cubicBezTo>
                <a:cubicBezTo>
                  <a:pt x="2544" y="1936"/>
                  <a:pt x="2543" y="1937"/>
                  <a:pt x="2543" y="1938"/>
                </a:cubicBezTo>
                <a:cubicBezTo>
                  <a:pt x="2542" y="1939"/>
                  <a:pt x="2542" y="1940"/>
                  <a:pt x="2542" y="1941"/>
                </a:cubicBezTo>
                <a:cubicBezTo>
                  <a:pt x="2542" y="1942"/>
                  <a:pt x="2542" y="1943"/>
                  <a:pt x="2542" y="1944"/>
                </a:cubicBezTo>
                <a:cubicBezTo>
                  <a:pt x="2541" y="1945"/>
                  <a:pt x="2541" y="1945"/>
                  <a:pt x="2541" y="1947"/>
                </a:cubicBezTo>
                <a:cubicBezTo>
                  <a:pt x="2541" y="1947"/>
                  <a:pt x="2541" y="1948"/>
                  <a:pt x="2540" y="1949"/>
                </a:cubicBezTo>
                <a:cubicBezTo>
                  <a:pt x="2540" y="1949"/>
                  <a:pt x="2539" y="1949"/>
                  <a:pt x="2538" y="1950"/>
                </a:cubicBezTo>
                <a:cubicBezTo>
                  <a:pt x="2537" y="1952"/>
                  <a:pt x="2539" y="1956"/>
                  <a:pt x="2541" y="1956"/>
                </a:cubicBezTo>
                <a:cubicBezTo>
                  <a:pt x="2541" y="1956"/>
                  <a:pt x="2542" y="1956"/>
                  <a:pt x="2543" y="1956"/>
                </a:cubicBezTo>
                <a:cubicBezTo>
                  <a:pt x="2543" y="1955"/>
                  <a:pt x="2544" y="1955"/>
                  <a:pt x="2544" y="1954"/>
                </a:cubicBezTo>
                <a:cubicBezTo>
                  <a:pt x="2544" y="1953"/>
                  <a:pt x="2545" y="1952"/>
                  <a:pt x="2545" y="1951"/>
                </a:cubicBezTo>
                <a:cubicBezTo>
                  <a:pt x="2545" y="1951"/>
                  <a:pt x="2545" y="1950"/>
                  <a:pt x="2545" y="1949"/>
                </a:cubicBezTo>
                <a:cubicBezTo>
                  <a:pt x="2545" y="1949"/>
                  <a:pt x="2546" y="1947"/>
                  <a:pt x="2547" y="1948"/>
                </a:cubicBezTo>
                <a:cubicBezTo>
                  <a:pt x="2547" y="1948"/>
                  <a:pt x="2548" y="1946"/>
                  <a:pt x="2547" y="1946"/>
                </a:cubicBezTo>
                <a:cubicBezTo>
                  <a:pt x="2547" y="1946"/>
                  <a:pt x="2547" y="1946"/>
                  <a:pt x="2547" y="1946"/>
                </a:cubicBezTo>
                <a:cubicBezTo>
                  <a:pt x="2546" y="1946"/>
                  <a:pt x="2547" y="1945"/>
                  <a:pt x="2547" y="1944"/>
                </a:cubicBezTo>
                <a:cubicBezTo>
                  <a:pt x="2547" y="1944"/>
                  <a:pt x="2548" y="1943"/>
                  <a:pt x="2549" y="1943"/>
                </a:cubicBezTo>
                <a:cubicBezTo>
                  <a:pt x="2549" y="1944"/>
                  <a:pt x="2549" y="1943"/>
                  <a:pt x="2550" y="1943"/>
                </a:cubicBezTo>
                <a:cubicBezTo>
                  <a:pt x="2550" y="1943"/>
                  <a:pt x="2550" y="1942"/>
                  <a:pt x="2550" y="1942"/>
                </a:cubicBezTo>
                <a:cubicBezTo>
                  <a:pt x="2549" y="1942"/>
                  <a:pt x="2549" y="1943"/>
                  <a:pt x="2549" y="1943"/>
                </a:cubicBezTo>
                <a:cubicBezTo>
                  <a:pt x="2548" y="1943"/>
                  <a:pt x="2550" y="1940"/>
                  <a:pt x="2550" y="1940"/>
                </a:cubicBezTo>
                <a:cubicBezTo>
                  <a:pt x="2551" y="1939"/>
                  <a:pt x="2552" y="1938"/>
                  <a:pt x="2554" y="1938"/>
                </a:cubicBezTo>
                <a:cubicBezTo>
                  <a:pt x="2554" y="1939"/>
                  <a:pt x="2555" y="1939"/>
                  <a:pt x="2556" y="1939"/>
                </a:cubicBezTo>
                <a:cubicBezTo>
                  <a:pt x="2556" y="1940"/>
                  <a:pt x="2556" y="1940"/>
                  <a:pt x="2555" y="1940"/>
                </a:cubicBezTo>
                <a:cubicBezTo>
                  <a:pt x="2555" y="1941"/>
                  <a:pt x="2555" y="1942"/>
                  <a:pt x="2555" y="1942"/>
                </a:cubicBezTo>
                <a:cubicBezTo>
                  <a:pt x="2556" y="1943"/>
                  <a:pt x="2556" y="1943"/>
                  <a:pt x="2556" y="1943"/>
                </a:cubicBezTo>
                <a:cubicBezTo>
                  <a:pt x="2555" y="1944"/>
                  <a:pt x="2557" y="1946"/>
                  <a:pt x="2557" y="1944"/>
                </a:cubicBezTo>
                <a:cubicBezTo>
                  <a:pt x="2557" y="1944"/>
                  <a:pt x="2558" y="1943"/>
                  <a:pt x="2558" y="1943"/>
                </a:cubicBezTo>
                <a:cubicBezTo>
                  <a:pt x="2558" y="1944"/>
                  <a:pt x="2559" y="1944"/>
                  <a:pt x="2559" y="1945"/>
                </a:cubicBezTo>
                <a:cubicBezTo>
                  <a:pt x="2559" y="1945"/>
                  <a:pt x="2559" y="1945"/>
                  <a:pt x="2559" y="1944"/>
                </a:cubicBezTo>
                <a:cubicBezTo>
                  <a:pt x="2559" y="1944"/>
                  <a:pt x="2559" y="1943"/>
                  <a:pt x="2560" y="1943"/>
                </a:cubicBezTo>
                <a:cubicBezTo>
                  <a:pt x="2560" y="1943"/>
                  <a:pt x="2560" y="1943"/>
                  <a:pt x="2560" y="1943"/>
                </a:cubicBezTo>
                <a:cubicBezTo>
                  <a:pt x="2560" y="1943"/>
                  <a:pt x="2560" y="1942"/>
                  <a:pt x="2560" y="1942"/>
                </a:cubicBezTo>
                <a:cubicBezTo>
                  <a:pt x="2560" y="1941"/>
                  <a:pt x="2561" y="1941"/>
                  <a:pt x="2561" y="1940"/>
                </a:cubicBezTo>
                <a:cubicBezTo>
                  <a:pt x="2561" y="1940"/>
                  <a:pt x="2562" y="1939"/>
                  <a:pt x="2562" y="1940"/>
                </a:cubicBezTo>
                <a:cubicBezTo>
                  <a:pt x="2563" y="1940"/>
                  <a:pt x="2562" y="1941"/>
                  <a:pt x="2563" y="1941"/>
                </a:cubicBezTo>
                <a:cubicBezTo>
                  <a:pt x="2563" y="1941"/>
                  <a:pt x="2563" y="1941"/>
                  <a:pt x="2563" y="1942"/>
                </a:cubicBezTo>
                <a:cubicBezTo>
                  <a:pt x="2564" y="1942"/>
                  <a:pt x="2563" y="1943"/>
                  <a:pt x="2563" y="1943"/>
                </a:cubicBezTo>
                <a:cubicBezTo>
                  <a:pt x="2562" y="1942"/>
                  <a:pt x="2563" y="1942"/>
                  <a:pt x="2562" y="1942"/>
                </a:cubicBezTo>
                <a:cubicBezTo>
                  <a:pt x="2562" y="1943"/>
                  <a:pt x="2561" y="1944"/>
                  <a:pt x="2563" y="1944"/>
                </a:cubicBezTo>
                <a:cubicBezTo>
                  <a:pt x="2563" y="1945"/>
                  <a:pt x="2564" y="1943"/>
                  <a:pt x="2564" y="1943"/>
                </a:cubicBezTo>
                <a:cubicBezTo>
                  <a:pt x="2566" y="1943"/>
                  <a:pt x="2565" y="1944"/>
                  <a:pt x="2566" y="1945"/>
                </a:cubicBezTo>
                <a:cubicBezTo>
                  <a:pt x="2566" y="1945"/>
                  <a:pt x="2567" y="1945"/>
                  <a:pt x="2567" y="1946"/>
                </a:cubicBezTo>
                <a:cubicBezTo>
                  <a:pt x="2567" y="1946"/>
                  <a:pt x="2567" y="1946"/>
                  <a:pt x="2567" y="1947"/>
                </a:cubicBezTo>
                <a:cubicBezTo>
                  <a:pt x="2567" y="1947"/>
                  <a:pt x="2569" y="1946"/>
                  <a:pt x="2569" y="1946"/>
                </a:cubicBezTo>
                <a:cubicBezTo>
                  <a:pt x="2569" y="1945"/>
                  <a:pt x="2567" y="1945"/>
                  <a:pt x="2567" y="1944"/>
                </a:cubicBezTo>
                <a:cubicBezTo>
                  <a:pt x="2567" y="1944"/>
                  <a:pt x="2567" y="1944"/>
                  <a:pt x="2567" y="1943"/>
                </a:cubicBezTo>
                <a:cubicBezTo>
                  <a:pt x="2567" y="1943"/>
                  <a:pt x="2566" y="1943"/>
                  <a:pt x="2566" y="1943"/>
                </a:cubicBezTo>
                <a:cubicBezTo>
                  <a:pt x="2567" y="1942"/>
                  <a:pt x="2568" y="1942"/>
                  <a:pt x="2568" y="1942"/>
                </a:cubicBezTo>
                <a:cubicBezTo>
                  <a:pt x="2569" y="1941"/>
                  <a:pt x="2569" y="1940"/>
                  <a:pt x="2569" y="1939"/>
                </a:cubicBezTo>
                <a:cubicBezTo>
                  <a:pt x="2568" y="1938"/>
                  <a:pt x="2569" y="1937"/>
                  <a:pt x="2570" y="1937"/>
                </a:cubicBezTo>
                <a:cubicBezTo>
                  <a:pt x="2571" y="1937"/>
                  <a:pt x="2572" y="1937"/>
                  <a:pt x="2573" y="1938"/>
                </a:cubicBezTo>
                <a:cubicBezTo>
                  <a:pt x="2574" y="1938"/>
                  <a:pt x="2574" y="1938"/>
                  <a:pt x="2574" y="1939"/>
                </a:cubicBezTo>
                <a:cubicBezTo>
                  <a:pt x="2575" y="1940"/>
                  <a:pt x="2576" y="1940"/>
                  <a:pt x="2577" y="1940"/>
                </a:cubicBezTo>
                <a:cubicBezTo>
                  <a:pt x="2578" y="1940"/>
                  <a:pt x="2579" y="1940"/>
                  <a:pt x="2579" y="1941"/>
                </a:cubicBezTo>
                <a:cubicBezTo>
                  <a:pt x="2580" y="1941"/>
                  <a:pt x="2581" y="1942"/>
                  <a:pt x="2581" y="1943"/>
                </a:cubicBezTo>
                <a:cubicBezTo>
                  <a:pt x="2582" y="1944"/>
                  <a:pt x="2582" y="1946"/>
                  <a:pt x="2583" y="1946"/>
                </a:cubicBezTo>
                <a:cubicBezTo>
                  <a:pt x="2583" y="1946"/>
                  <a:pt x="2584" y="1945"/>
                  <a:pt x="2584" y="1946"/>
                </a:cubicBezTo>
                <a:cubicBezTo>
                  <a:pt x="2585" y="1946"/>
                  <a:pt x="2585" y="1947"/>
                  <a:pt x="2584" y="1947"/>
                </a:cubicBezTo>
                <a:cubicBezTo>
                  <a:pt x="2584" y="1947"/>
                  <a:pt x="2584" y="1947"/>
                  <a:pt x="2584" y="1948"/>
                </a:cubicBezTo>
                <a:cubicBezTo>
                  <a:pt x="2584" y="1948"/>
                  <a:pt x="2584" y="1949"/>
                  <a:pt x="2583" y="1949"/>
                </a:cubicBezTo>
                <a:cubicBezTo>
                  <a:pt x="2583" y="1950"/>
                  <a:pt x="2583" y="1950"/>
                  <a:pt x="2582" y="1951"/>
                </a:cubicBezTo>
                <a:cubicBezTo>
                  <a:pt x="2581" y="1951"/>
                  <a:pt x="2581" y="1951"/>
                  <a:pt x="2581" y="1951"/>
                </a:cubicBezTo>
                <a:cubicBezTo>
                  <a:pt x="2580" y="1951"/>
                  <a:pt x="2580" y="1952"/>
                  <a:pt x="2580" y="1952"/>
                </a:cubicBezTo>
                <a:cubicBezTo>
                  <a:pt x="2580" y="1953"/>
                  <a:pt x="2579" y="1953"/>
                  <a:pt x="2579" y="1954"/>
                </a:cubicBezTo>
                <a:cubicBezTo>
                  <a:pt x="2578" y="1955"/>
                  <a:pt x="2578" y="1955"/>
                  <a:pt x="2579" y="1956"/>
                </a:cubicBezTo>
                <a:cubicBezTo>
                  <a:pt x="2579" y="1956"/>
                  <a:pt x="2579" y="1957"/>
                  <a:pt x="2579" y="1957"/>
                </a:cubicBezTo>
                <a:cubicBezTo>
                  <a:pt x="2579" y="1959"/>
                  <a:pt x="2580" y="1958"/>
                  <a:pt x="2580" y="1958"/>
                </a:cubicBezTo>
                <a:cubicBezTo>
                  <a:pt x="2581" y="1959"/>
                  <a:pt x="2580" y="1959"/>
                  <a:pt x="2580" y="1960"/>
                </a:cubicBezTo>
                <a:cubicBezTo>
                  <a:pt x="2580" y="1960"/>
                  <a:pt x="2581" y="1961"/>
                  <a:pt x="2581" y="1961"/>
                </a:cubicBezTo>
                <a:cubicBezTo>
                  <a:pt x="2581" y="1962"/>
                  <a:pt x="2580" y="1963"/>
                  <a:pt x="2580" y="1964"/>
                </a:cubicBezTo>
                <a:cubicBezTo>
                  <a:pt x="2580" y="1965"/>
                  <a:pt x="2580" y="1965"/>
                  <a:pt x="2581" y="1966"/>
                </a:cubicBezTo>
                <a:cubicBezTo>
                  <a:pt x="2582" y="1967"/>
                  <a:pt x="2583" y="1968"/>
                  <a:pt x="2584" y="1969"/>
                </a:cubicBezTo>
                <a:cubicBezTo>
                  <a:pt x="2584" y="1970"/>
                  <a:pt x="2585" y="1971"/>
                  <a:pt x="2587" y="1971"/>
                </a:cubicBezTo>
                <a:cubicBezTo>
                  <a:pt x="2588" y="1972"/>
                  <a:pt x="2589" y="1972"/>
                  <a:pt x="2590" y="1973"/>
                </a:cubicBezTo>
                <a:cubicBezTo>
                  <a:pt x="2591" y="1974"/>
                  <a:pt x="2592" y="1974"/>
                  <a:pt x="2594" y="1975"/>
                </a:cubicBezTo>
                <a:cubicBezTo>
                  <a:pt x="2595" y="1975"/>
                  <a:pt x="2595" y="1975"/>
                  <a:pt x="2596" y="1975"/>
                </a:cubicBezTo>
                <a:cubicBezTo>
                  <a:pt x="2597" y="1976"/>
                  <a:pt x="2600" y="1979"/>
                  <a:pt x="2601" y="1976"/>
                </a:cubicBezTo>
                <a:cubicBezTo>
                  <a:pt x="2602" y="1975"/>
                  <a:pt x="2602" y="1973"/>
                  <a:pt x="2604" y="1972"/>
                </a:cubicBezTo>
                <a:cubicBezTo>
                  <a:pt x="2605" y="1971"/>
                  <a:pt x="2606" y="1973"/>
                  <a:pt x="2605" y="1974"/>
                </a:cubicBezTo>
                <a:cubicBezTo>
                  <a:pt x="2605" y="1975"/>
                  <a:pt x="2604" y="1976"/>
                  <a:pt x="2603" y="1977"/>
                </a:cubicBezTo>
                <a:cubicBezTo>
                  <a:pt x="2603" y="1978"/>
                  <a:pt x="2604" y="1978"/>
                  <a:pt x="2604" y="1978"/>
                </a:cubicBezTo>
                <a:cubicBezTo>
                  <a:pt x="2605" y="1979"/>
                  <a:pt x="2605" y="1980"/>
                  <a:pt x="2606" y="1982"/>
                </a:cubicBezTo>
                <a:cubicBezTo>
                  <a:pt x="2606" y="1983"/>
                  <a:pt x="2608" y="1983"/>
                  <a:pt x="2608" y="1982"/>
                </a:cubicBezTo>
                <a:cubicBezTo>
                  <a:pt x="2609" y="1979"/>
                  <a:pt x="2611" y="1977"/>
                  <a:pt x="2613" y="1975"/>
                </a:cubicBezTo>
                <a:cubicBezTo>
                  <a:pt x="2615" y="1973"/>
                  <a:pt x="2613" y="1970"/>
                  <a:pt x="2613" y="1967"/>
                </a:cubicBezTo>
                <a:cubicBezTo>
                  <a:pt x="2612" y="1967"/>
                  <a:pt x="2612" y="1966"/>
                  <a:pt x="2611" y="1965"/>
                </a:cubicBezTo>
                <a:cubicBezTo>
                  <a:pt x="2611" y="1965"/>
                  <a:pt x="2612" y="1964"/>
                  <a:pt x="2611" y="1964"/>
                </a:cubicBezTo>
                <a:cubicBezTo>
                  <a:pt x="2611" y="1963"/>
                  <a:pt x="2610" y="1963"/>
                  <a:pt x="2609" y="1962"/>
                </a:cubicBezTo>
                <a:cubicBezTo>
                  <a:pt x="2609" y="1962"/>
                  <a:pt x="2609" y="1961"/>
                  <a:pt x="2608" y="1962"/>
                </a:cubicBezTo>
                <a:cubicBezTo>
                  <a:pt x="2607" y="1962"/>
                  <a:pt x="2607" y="1961"/>
                  <a:pt x="2607" y="1960"/>
                </a:cubicBezTo>
                <a:cubicBezTo>
                  <a:pt x="2607" y="1959"/>
                  <a:pt x="2607" y="1958"/>
                  <a:pt x="2608" y="1957"/>
                </a:cubicBezTo>
                <a:cubicBezTo>
                  <a:pt x="2608" y="1956"/>
                  <a:pt x="2609" y="1956"/>
                  <a:pt x="2609" y="1954"/>
                </a:cubicBezTo>
                <a:cubicBezTo>
                  <a:pt x="2609" y="1954"/>
                  <a:pt x="2609" y="1953"/>
                  <a:pt x="2610" y="1953"/>
                </a:cubicBezTo>
                <a:cubicBezTo>
                  <a:pt x="2610" y="1953"/>
                  <a:pt x="2611" y="1953"/>
                  <a:pt x="2611" y="1953"/>
                </a:cubicBezTo>
                <a:cubicBezTo>
                  <a:pt x="2612" y="1953"/>
                  <a:pt x="2612" y="1952"/>
                  <a:pt x="2613" y="1952"/>
                </a:cubicBezTo>
                <a:cubicBezTo>
                  <a:pt x="2613" y="1952"/>
                  <a:pt x="2614" y="1953"/>
                  <a:pt x="2614" y="1953"/>
                </a:cubicBezTo>
                <a:cubicBezTo>
                  <a:pt x="2614" y="1953"/>
                  <a:pt x="2614" y="1954"/>
                  <a:pt x="2614" y="1954"/>
                </a:cubicBezTo>
                <a:cubicBezTo>
                  <a:pt x="2613" y="1954"/>
                  <a:pt x="2613" y="1954"/>
                  <a:pt x="2613" y="1954"/>
                </a:cubicBezTo>
                <a:cubicBezTo>
                  <a:pt x="2613" y="1955"/>
                  <a:pt x="2613" y="1955"/>
                  <a:pt x="2613" y="1955"/>
                </a:cubicBezTo>
                <a:cubicBezTo>
                  <a:pt x="2614" y="1955"/>
                  <a:pt x="2614" y="1955"/>
                  <a:pt x="2614" y="1955"/>
                </a:cubicBezTo>
                <a:cubicBezTo>
                  <a:pt x="2614" y="1954"/>
                  <a:pt x="2614" y="1956"/>
                  <a:pt x="2615" y="1956"/>
                </a:cubicBezTo>
                <a:cubicBezTo>
                  <a:pt x="2616" y="1954"/>
                  <a:pt x="2615" y="1953"/>
                  <a:pt x="2615" y="1952"/>
                </a:cubicBezTo>
                <a:cubicBezTo>
                  <a:pt x="2615" y="1951"/>
                  <a:pt x="2614" y="1951"/>
                  <a:pt x="2613" y="1951"/>
                </a:cubicBezTo>
                <a:cubicBezTo>
                  <a:pt x="2612" y="1952"/>
                  <a:pt x="2612" y="1950"/>
                  <a:pt x="2612" y="1950"/>
                </a:cubicBezTo>
                <a:cubicBezTo>
                  <a:pt x="2612" y="1949"/>
                  <a:pt x="2613" y="1948"/>
                  <a:pt x="2613" y="1948"/>
                </a:cubicBezTo>
                <a:cubicBezTo>
                  <a:pt x="2614" y="1947"/>
                  <a:pt x="2615" y="1947"/>
                  <a:pt x="2615" y="1946"/>
                </a:cubicBezTo>
                <a:cubicBezTo>
                  <a:pt x="2615" y="1946"/>
                  <a:pt x="2616" y="1946"/>
                  <a:pt x="2616" y="1946"/>
                </a:cubicBezTo>
                <a:cubicBezTo>
                  <a:pt x="2616" y="1947"/>
                  <a:pt x="2616" y="1948"/>
                  <a:pt x="2616" y="1949"/>
                </a:cubicBezTo>
                <a:cubicBezTo>
                  <a:pt x="2616" y="1949"/>
                  <a:pt x="2617" y="1950"/>
                  <a:pt x="2617" y="1950"/>
                </a:cubicBezTo>
                <a:cubicBezTo>
                  <a:pt x="2617" y="1950"/>
                  <a:pt x="2617" y="1950"/>
                  <a:pt x="2617" y="1951"/>
                </a:cubicBezTo>
                <a:cubicBezTo>
                  <a:pt x="2617" y="1951"/>
                  <a:pt x="2618" y="1952"/>
                  <a:pt x="2618" y="1952"/>
                </a:cubicBezTo>
                <a:cubicBezTo>
                  <a:pt x="2618" y="1952"/>
                  <a:pt x="2619" y="1953"/>
                  <a:pt x="2619" y="1953"/>
                </a:cubicBezTo>
                <a:cubicBezTo>
                  <a:pt x="2619" y="1954"/>
                  <a:pt x="2619" y="1955"/>
                  <a:pt x="2619" y="1955"/>
                </a:cubicBezTo>
                <a:cubicBezTo>
                  <a:pt x="2619" y="1956"/>
                  <a:pt x="2620" y="1956"/>
                  <a:pt x="2620" y="1956"/>
                </a:cubicBezTo>
                <a:cubicBezTo>
                  <a:pt x="2621" y="1957"/>
                  <a:pt x="2621" y="1958"/>
                  <a:pt x="2621" y="1958"/>
                </a:cubicBezTo>
                <a:cubicBezTo>
                  <a:pt x="2621" y="1959"/>
                  <a:pt x="2621" y="1961"/>
                  <a:pt x="2621" y="1962"/>
                </a:cubicBezTo>
                <a:cubicBezTo>
                  <a:pt x="2621" y="1963"/>
                  <a:pt x="2621" y="1963"/>
                  <a:pt x="2621" y="1964"/>
                </a:cubicBezTo>
                <a:cubicBezTo>
                  <a:pt x="2622" y="1964"/>
                  <a:pt x="2622" y="1964"/>
                  <a:pt x="2622" y="1965"/>
                </a:cubicBezTo>
                <a:cubicBezTo>
                  <a:pt x="2622" y="1966"/>
                  <a:pt x="2623" y="1966"/>
                  <a:pt x="2623" y="1966"/>
                </a:cubicBezTo>
                <a:cubicBezTo>
                  <a:pt x="2623" y="1967"/>
                  <a:pt x="2623" y="1967"/>
                  <a:pt x="2623" y="1968"/>
                </a:cubicBezTo>
                <a:cubicBezTo>
                  <a:pt x="2624" y="1968"/>
                  <a:pt x="2623" y="1966"/>
                  <a:pt x="2623" y="1966"/>
                </a:cubicBezTo>
                <a:cubicBezTo>
                  <a:pt x="2623" y="1964"/>
                  <a:pt x="2623" y="1962"/>
                  <a:pt x="2624" y="1960"/>
                </a:cubicBezTo>
                <a:cubicBezTo>
                  <a:pt x="2624" y="1960"/>
                  <a:pt x="2624" y="1959"/>
                  <a:pt x="2624" y="1958"/>
                </a:cubicBezTo>
                <a:cubicBezTo>
                  <a:pt x="2624" y="1957"/>
                  <a:pt x="2623" y="1957"/>
                  <a:pt x="2623" y="1955"/>
                </a:cubicBezTo>
                <a:cubicBezTo>
                  <a:pt x="2623" y="1955"/>
                  <a:pt x="2623" y="1954"/>
                  <a:pt x="2624" y="1955"/>
                </a:cubicBezTo>
                <a:cubicBezTo>
                  <a:pt x="2625" y="1955"/>
                  <a:pt x="2625" y="1955"/>
                  <a:pt x="2625" y="1954"/>
                </a:cubicBezTo>
                <a:cubicBezTo>
                  <a:pt x="2626" y="1952"/>
                  <a:pt x="2627" y="1954"/>
                  <a:pt x="2628" y="1953"/>
                </a:cubicBezTo>
                <a:cubicBezTo>
                  <a:pt x="2628" y="1953"/>
                  <a:pt x="2629" y="1951"/>
                  <a:pt x="2629" y="1950"/>
                </a:cubicBezTo>
                <a:cubicBezTo>
                  <a:pt x="2629" y="1949"/>
                  <a:pt x="2631" y="1949"/>
                  <a:pt x="2631" y="1948"/>
                </a:cubicBezTo>
                <a:cubicBezTo>
                  <a:pt x="2631" y="1947"/>
                  <a:pt x="2630" y="1947"/>
                  <a:pt x="2630" y="1947"/>
                </a:cubicBezTo>
                <a:cubicBezTo>
                  <a:pt x="2630" y="1946"/>
                  <a:pt x="2630" y="1946"/>
                  <a:pt x="2630" y="1945"/>
                </a:cubicBezTo>
                <a:close/>
                <a:moveTo>
                  <a:pt x="2505" y="1819"/>
                </a:moveTo>
                <a:cubicBezTo>
                  <a:pt x="2506" y="1820"/>
                  <a:pt x="2505" y="1821"/>
                  <a:pt x="2506" y="1821"/>
                </a:cubicBezTo>
                <a:cubicBezTo>
                  <a:pt x="2507" y="1820"/>
                  <a:pt x="2508" y="1821"/>
                  <a:pt x="2509" y="1822"/>
                </a:cubicBezTo>
                <a:cubicBezTo>
                  <a:pt x="2509" y="1822"/>
                  <a:pt x="2509" y="1822"/>
                  <a:pt x="2509" y="1821"/>
                </a:cubicBezTo>
                <a:cubicBezTo>
                  <a:pt x="2509" y="1821"/>
                  <a:pt x="2509" y="1821"/>
                  <a:pt x="2508" y="1821"/>
                </a:cubicBezTo>
                <a:cubicBezTo>
                  <a:pt x="2508" y="1821"/>
                  <a:pt x="2507" y="1821"/>
                  <a:pt x="2507" y="1820"/>
                </a:cubicBezTo>
                <a:cubicBezTo>
                  <a:pt x="2506" y="1820"/>
                  <a:pt x="2506" y="1818"/>
                  <a:pt x="2505" y="1818"/>
                </a:cubicBezTo>
                <a:cubicBezTo>
                  <a:pt x="2504" y="1818"/>
                  <a:pt x="2504" y="1817"/>
                  <a:pt x="2503" y="1817"/>
                </a:cubicBezTo>
                <a:cubicBezTo>
                  <a:pt x="2503" y="1817"/>
                  <a:pt x="2503" y="1818"/>
                  <a:pt x="2503" y="1818"/>
                </a:cubicBezTo>
                <a:cubicBezTo>
                  <a:pt x="2503" y="1819"/>
                  <a:pt x="2504" y="1819"/>
                  <a:pt x="2505" y="1819"/>
                </a:cubicBezTo>
                <a:close/>
                <a:moveTo>
                  <a:pt x="2617" y="1902"/>
                </a:moveTo>
                <a:cubicBezTo>
                  <a:pt x="2618" y="1902"/>
                  <a:pt x="2618" y="1901"/>
                  <a:pt x="2618" y="1901"/>
                </a:cubicBezTo>
                <a:cubicBezTo>
                  <a:pt x="2618" y="1900"/>
                  <a:pt x="2618" y="1900"/>
                  <a:pt x="2618" y="1899"/>
                </a:cubicBezTo>
                <a:cubicBezTo>
                  <a:pt x="2618" y="1899"/>
                  <a:pt x="2618" y="1899"/>
                  <a:pt x="2617" y="1898"/>
                </a:cubicBezTo>
                <a:cubicBezTo>
                  <a:pt x="2617" y="1898"/>
                  <a:pt x="2616" y="1898"/>
                  <a:pt x="2617" y="1899"/>
                </a:cubicBezTo>
                <a:cubicBezTo>
                  <a:pt x="2617" y="1899"/>
                  <a:pt x="2617" y="1900"/>
                  <a:pt x="2617" y="1900"/>
                </a:cubicBezTo>
                <a:cubicBezTo>
                  <a:pt x="2616" y="1901"/>
                  <a:pt x="2616" y="1902"/>
                  <a:pt x="2617" y="1902"/>
                </a:cubicBezTo>
                <a:close/>
                <a:moveTo>
                  <a:pt x="2521" y="1814"/>
                </a:moveTo>
                <a:cubicBezTo>
                  <a:pt x="2521" y="1814"/>
                  <a:pt x="2520" y="1813"/>
                  <a:pt x="2520" y="1814"/>
                </a:cubicBezTo>
                <a:cubicBezTo>
                  <a:pt x="2520" y="1815"/>
                  <a:pt x="2520" y="1815"/>
                  <a:pt x="2521" y="1814"/>
                </a:cubicBezTo>
                <a:close/>
                <a:moveTo>
                  <a:pt x="2511" y="1968"/>
                </a:moveTo>
                <a:cubicBezTo>
                  <a:pt x="2511" y="1968"/>
                  <a:pt x="2509" y="1969"/>
                  <a:pt x="2510" y="1969"/>
                </a:cubicBezTo>
                <a:cubicBezTo>
                  <a:pt x="2511" y="1969"/>
                  <a:pt x="2511" y="1970"/>
                  <a:pt x="2512" y="1969"/>
                </a:cubicBezTo>
                <a:cubicBezTo>
                  <a:pt x="2512" y="1968"/>
                  <a:pt x="2512" y="1968"/>
                  <a:pt x="2512" y="1967"/>
                </a:cubicBezTo>
                <a:cubicBezTo>
                  <a:pt x="2512" y="1967"/>
                  <a:pt x="2512" y="1966"/>
                  <a:pt x="2512" y="1966"/>
                </a:cubicBezTo>
                <a:cubicBezTo>
                  <a:pt x="2511" y="1965"/>
                  <a:pt x="2511" y="1968"/>
                  <a:pt x="2511" y="1968"/>
                </a:cubicBezTo>
                <a:close/>
                <a:moveTo>
                  <a:pt x="2520" y="1878"/>
                </a:moveTo>
                <a:cubicBezTo>
                  <a:pt x="2519" y="1878"/>
                  <a:pt x="2521" y="1878"/>
                  <a:pt x="2521" y="1878"/>
                </a:cubicBezTo>
                <a:cubicBezTo>
                  <a:pt x="2521" y="1879"/>
                  <a:pt x="2521" y="1878"/>
                  <a:pt x="2522" y="1878"/>
                </a:cubicBezTo>
                <a:cubicBezTo>
                  <a:pt x="2522" y="1877"/>
                  <a:pt x="2522" y="1876"/>
                  <a:pt x="2521" y="1876"/>
                </a:cubicBezTo>
                <a:cubicBezTo>
                  <a:pt x="2521" y="1876"/>
                  <a:pt x="2521" y="1876"/>
                  <a:pt x="2521" y="1876"/>
                </a:cubicBezTo>
                <a:cubicBezTo>
                  <a:pt x="2521" y="1877"/>
                  <a:pt x="2521" y="1877"/>
                  <a:pt x="2521" y="1877"/>
                </a:cubicBezTo>
                <a:cubicBezTo>
                  <a:pt x="2520" y="1877"/>
                  <a:pt x="2520" y="1877"/>
                  <a:pt x="2520" y="1878"/>
                </a:cubicBezTo>
                <a:close/>
                <a:moveTo>
                  <a:pt x="2517" y="1983"/>
                </a:moveTo>
                <a:cubicBezTo>
                  <a:pt x="2516" y="1983"/>
                  <a:pt x="2516" y="1983"/>
                  <a:pt x="2516" y="1983"/>
                </a:cubicBezTo>
                <a:cubicBezTo>
                  <a:pt x="2516" y="1983"/>
                  <a:pt x="2516" y="1983"/>
                  <a:pt x="2516" y="1983"/>
                </a:cubicBezTo>
                <a:cubicBezTo>
                  <a:pt x="2515" y="1983"/>
                  <a:pt x="2515" y="1983"/>
                  <a:pt x="2515" y="1984"/>
                </a:cubicBezTo>
                <a:cubicBezTo>
                  <a:pt x="2515" y="1985"/>
                  <a:pt x="2516" y="1983"/>
                  <a:pt x="2517" y="1984"/>
                </a:cubicBezTo>
                <a:cubicBezTo>
                  <a:pt x="2517" y="1984"/>
                  <a:pt x="2518" y="1984"/>
                  <a:pt x="2518" y="1984"/>
                </a:cubicBezTo>
                <a:cubicBezTo>
                  <a:pt x="2518" y="1983"/>
                  <a:pt x="2518" y="1983"/>
                  <a:pt x="2518" y="1983"/>
                </a:cubicBezTo>
                <a:cubicBezTo>
                  <a:pt x="2517" y="1982"/>
                  <a:pt x="2517" y="1982"/>
                  <a:pt x="2517" y="1983"/>
                </a:cubicBezTo>
                <a:close/>
                <a:moveTo>
                  <a:pt x="2498" y="1992"/>
                </a:moveTo>
                <a:cubicBezTo>
                  <a:pt x="2498" y="1992"/>
                  <a:pt x="2499" y="1993"/>
                  <a:pt x="2500" y="1992"/>
                </a:cubicBezTo>
                <a:cubicBezTo>
                  <a:pt x="2500" y="1992"/>
                  <a:pt x="2500" y="1991"/>
                  <a:pt x="2500" y="1991"/>
                </a:cubicBezTo>
                <a:cubicBezTo>
                  <a:pt x="2501" y="1990"/>
                  <a:pt x="2501" y="1990"/>
                  <a:pt x="2501" y="1991"/>
                </a:cubicBezTo>
                <a:cubicBezTo>
                  <a:pt x="2502" y="1992"/>
                  <a:pt x="2502" y="1991"/>
                  <a:pt x="2502" y="1990"/>
                </a:cubicBezTo>
                <a:cubicBezTo>
                  <a:pt x="2502" y="1989"/>
                  <a:pt x="2503" y="1990"/>
                  <a:pt x="2503" y="1990"/>
                </a:cubicBezTo>
                <a:cubicBezTo>
                  <a:pt x="2504" y="1991"/>
                  <a:pt x="2503" y="1991"/>
                  <a:pt x="2504" y="1991"/>
                </a:cubicBezTo>
                <a:cubicBezTo>
                  <a:pt x="2505" y="1992"/>
                  <a:pt x="2504" y="1991"/>
                  <a:pt x="2505" y="1990"/>
                </a:cubicBezTo>
                <a:cubicBezTo>
                  <a:pt x="2505" y="1990"/>
                  <a:pt x="2506" y="1991"/>
                  <a:pt x="2506" y="1990"/>
                </a:cubicBezTo>
                <a:cubicBezTo>
                  <a:pt x="2506" y="1990"/>
                  <a:pt x="2506" y="1990"/>
                  <a:pt x="2506" y="1989"/>
                </a:cubicBezTo>
                <a:cubicBezTo>
                  <a:pt x="2506" y="1989"/>
                  <a:pt x="2506" y="1989"/>
                  <a:pt x="2505" y="1989"/>
                </a:cubicBezTo>
                <a:cubicBezTo>
                  <a:pt x="2505" y="1988"/>
                  <a:pt x="2504" y="1989"/>
                  <a:pt x="2505" y="1988"/>
                </a:cubicBezTo>
                <a:cubicBezTo>
                  <a:pt x="2505" y="1987"/>
                  <a:pt x="2504" y="1987"/>
                  <a:pt x="2504" y="1987"/>
                </a:cubicBezTo>
                <a:cubicBezTo>
                  <a:pt x="2503" y="1988"/>
                  <a:pt x="2503" y="1988"/>
                  <a:pt x="2502" y="1988"/>
                </a:cubicBezTo>
                <a:cubicBezTo>
                  <a:pt x="2501" y="1988"/>
                  <a:pt x="2501" y="1989"/>
                  <a:pt x="2500" y="1989"/>
                </a:cubicBezTo>
                <a:cubicBezTo>
                  <a:pt x="2499" y="1990"/>
                  <a:pt x="2499" y="1990"/>
                  <a:pt x="2499" y="1990"/>
                </a:cubicBezTo>
                <a:cubicBezTo>
                  <a:pt x="2498" y="1991"/>
                  <a:pt x="2498" y="1991"/>
                  <a:pt x="2497" y="1991"/>
                </a:cubicBezTo>
                <a:cubicBezTo>
                  <a:pt x="2497" y="1991"/>
                  <a:pt x="2497" y="1991"/>
                  <a:pt x="2496" y="1991"/>
                </a:cubicBezTo>
                <a:cubicBezTo>
                  <a:pt x="2496" y="1992"/>
                  <a:pt x="2497" y="1992"/>
                  <a:pt x="2498" y="1992"/>
                </a:cubicBezTo>
                <a:close/>
                <a:moveTo>
                  <a:pt x="2507" y="1854"/>
                </a:moveTo>
                <a:cubicBezTo>
                  <a:pt x="2507" y="1853"/>
                  <a:pt x="2507" y="1853"/>
                  <a:pt x="2507" y="1853"/>
                </a:cubicBezTo>
                <a:cubicBezTo>
                  <a:pt x="2507" y="1852"/>
                  <a:pt x="2507" y="1852"/>
                  <a:pt x="2506" y="1852"/>
                </a:cubicBezTo>
                <a:cubicBezTo>
                  <a:pt x="2506" y="1852"/>
                  <a:pt x="2506" y="1852"/>
                  <a:pt x="2506" y="1851"/>
                </a:cubicBezTo>
                <a:cubicBezTo>
                  <a:pt x="2506" y="1851"/>
                  <a:pt x="2506" y="1850"/>
                  <a:pt x="2505" y="1850"/>
                </a:cubicBezTo>
                <a:cubicBezTo>
                  <a:pt x="2505" y="1850"/>
                  <a:pt x="2505" y="1851"/>
                  <a:pt x="2505" y="1851"/>
                </a:cubicBezTo>
                <a:cubicBezTo>
                  <a:pt x="2504" y="1851"/>
                  <a:pt x="2504" y="1851"/>
                  <a:pt x="2504" y="1850"/>
                </a:cubicBezTo>
                <a:cubicBezTo>
                  <a:pt x="2504" y="1850"/>
                  <a:pt x="2504" y="1850"/>
                  <a:pt x="2504" y="1851"/>
                </a:cubicBezTo>
                <a:cubicBezTo>
                  <a:pt x="2504" y="1851"/>
                  <a:pt x="2505" y="1852"/>
                  <a:pt x="2504" y="1852"/>
                </a:cubicBezTo>
                <a:cubicBezTo>
                  <a:pt x="2504" y="1852"/>
                  <a:pt x="2503" y="1852"/>
                  <a:pt x="2503" y="1851"/>
                </a:cubicBezTo>
                <a:cubicBezTo>
                  <a:pt x="2503" y="1851"/>
                  <a:pt x="2503" y="1851"/>
                  <a:pt x="2503" y="1850"/>
                </a:cubicBezTo>
                <a:cubicBezTo>
                  <a:pt x="2503" y="1850"/>
                  <a:pt x="2502" y="1850"/>
                  <a:pt x="2502" y="1850"/>
                </a:cubicBezTo>
                <a:cubicBezTo>
                  <a:pt x="2501" y="1849"/>
                  <a:pt x="2501" y="1849"/>
                  <a:pt x="2501" y="1849"/>
                </a:cubicBezTo>
                <a:cubicBezTo>
                  <a:pt x="2500" y="1849"/>
                  <a:pt x="2500" y="1849"/>
                  <a:pt x="2500" y="1849"/>
                </a:cubicBezTo>
                <a:cubicBezTo>
                  <a:pt x="2500" y="1848"/>
                  <a:pt x="2500" y="1848"/>
                  <a:pt x="2499" y="1848"/>
                </a:cubicBezTo>
                <a:cubicBezTo>
                  <a:pt x="2499" y="1847"/>
                  <a:pt x="2498" y="1848"/>
                  <a:pt x="2498" y="1848"/>
                </a:cubicBezTo>
                <a:cubicBezTo>
                  <a:pt x="2499" y="1849"/>
                  <a:pt x="2498" y="1849"/>
                  <a:pt x="2498" y="1850"/>
                </a:cubicBezTo>
                <a:cubicBezTo>
                  <a:pt x="2498" y="1850"/>
                  <a:pt x="2498" y="1851"/>
                  <a:pt x="2498" y="1852"/>
                </a:cubicBezTo>
                <a:cubicBezTo>
                  <a:pt x="2498" y="1852"/>
                  <a:pt x="2498" y="1851"/>
                  <a:pt x="2498" y="1850"/>
                </a:cubicBezTo>
                <a:cubicBezTo>
                  <a:pt x="2499" y="1850"/>
                  <a:pt x="2499" y="1852"/>
                  <a:pt x="2499" y="1852"/>
                </a:cubicBezTo>
                <a:cubicBezTo>
                  <a:pt x="2499" y="1852"/>
                  <a:pt x="2500" y="1852"/>
                  <a:pt x="2500" y="1853"/>
                </a:cubicBezTo>
                <a:cubicBezTo>
                  <a:pt x="2500" y="1853"/>
                  <a:pt x="2500" y="1853"/>
                  <a:pt x="2500" y="1854"/>
                </a:cubicBezTo>
                <a:cubicBezTo>
                  <a:pt x="2501" y="1855"/>
                  <a:pt x="2501" y="1854"/>
                  <a:pt x="2502" y="1854"/>
                </a:cubicBezTo>
                <a:cubicBezTo>
                  <a:pt x="2502" y="1854"/>
                  <a:pt x="2502" y="1855"/>
                  <a:pt x="2502" y="1855"/>
                </a:cubicBezTo>
                <a:cubicBezTo>
                  <a:pt x="2503" y="1855"/>
                  <a:pt x="2502" y="1854"/>
                  <a:pt x="2502" y="1854"/>
                </a:cubicBezTo>
                <a:cubicBezTo>
                  <a:pt x="2503" y="1854"/>
                  <a:pt x="2503" y="1854"/>
                  <a:pt x="2503" y="1854"/>
                </a:cubicBezTo>
                <a:cubicBezTo>
                  <a:pt x="2503" y="1854"/>
                  <a:pt x="2503" y="1854"/>
                  <a:pt x="2503" y="1854"/>
                </a:cubicBezTo>
                <a:cubicBezTo>
                  <a:pt x="2503" y="1853"/>
                  <a:pt x="2504" y="1854"/>
                  <a:pt x="2504" y="1854"/>
                </a:cubicBezTo>
                <a:cubicBezTo>
                  <a:pt x="2504" y="1854"/>
                  <a:pt x="2504" y="1854"/>
                  <a:pt x="2504" y="1855"/>
                </a:cubicBezTo>
                <a:cubicBezTo>
                  <a:pt x="2505" y="1855"/>
                  <a:pt x="2504" y="1854"/>
                  <a:pt x="2504" y="1854"/>
                </a:cubicBezTo>
                <a:cubicBezTo>
                  <a:pt x="2505" y="1854"/>
                  <a:pt x="2505" y="1855"/>
                  <a:pt x="2505" y="1855"/>
                </a:cubicBezTo>
                <a:cubicBezTo>
                  <a:pt x="2505" y="1856"/>
                  <a:pt x="2504" y="1855"/>
                  <a:pt x="2505" y="1856"/>
                </a:cubicBezTo>
                <a:cubicBezTo>
                  <a:pt x="2505" y="1856"/>
                  <a:pt x="2505" y="1856"/>
                  <a:pt x="2505" y="1857"/>
                </a:cubicBezTo>
                <a:cubicBezTo>
                  <a:pt x="2505" y="1857"/>
                  <a:pt x="2505" y="1858"/>
                  <a:pt x="2506" y="1858"/>
                </a:cubicBezTo>
                <a:cubicBezTo>
                  <a:pt x="2506" y="1858"/>
                  <a:pt x="2506" y="1858"/>
                  <a:pt x="2506" y="1858"/>
                </a:cubicBezTo>
                <a:cubicBezTo>
                  <a:pt x="2506" y="1857"/>
                  <a:pt x="2506" y="1857"/>
                  <a:pt x="2506" y="1856"/>
                </a:cubicBezTo>
                <a:cubicBezTo>
                  <a:pt x="2506" y="1856"/>
                  <a:pt x="2506" y="1856"/>
                  <a:pt x="2506" y="1855"/>
                </a:cubicBezTo>
                <a:cubicBezTo>
                  <a:pt x="2506" y="1855"/>
                  <a:pt x="2506" y="1855"/>
                  <a:pt x="2505" y="1855"/>
                </a:cubicBezTo>
                <a:cubicBezTo>
                  <a:pt x="2505" y="1855"/>
                  <a:pt x="2505" y="1854"/>
                  <a:pt x="2506" y="1854"/>
                </a:cubicBezTo>
                <a:cubicBezTo>
                  <a:pt x="2506" y="1854"/>
                  <a:pt x="2506" y="1855"/>
                  <a:pt x="2507" y="1854"/>
                </a:cubicBezTo>
                <a:close/>
                <a:moveTo>
                  <a:pt x="2497" y="1885"/>
                </a:moveTo>
                <a:cubicBezTo>
                  <a:pt x="2497" y="1885"/>
                  <a:pt x="2497" y="1885"/>
                  <a:pt x="2498" y="1885"/>
                </a:cubicBezTo>
                <a:cubicBezTo>
                  <a:pt x="2498" y="1884"/>
                  <a:pt x="2498" y="1885"/>
                  <a:pt x="2499" y="1885"/>
                </a:cubicBezTo>
                <a:cubicBezTo>
                  <a:pt x="2499" y="1885"/>
                  <a:pt x="2499" y="1884"/>
                  <a:pt x="2499" y="1883"/>
                </a:cubicBezTo>
                <a:cubicBezTo>
                  <a:pt x="2499" y="1883"/>
                  <a:pt x="2499" y="1884"/>
                  <a:pt x="2500" y="1884"/>
                </a:cubicBezTo>
                <a:cubicBezTo>
                  <a:pt x="2500" y="1884"/>
                  <a:pt x="2501" y="1883"/>
                  <a:pt x="2501" y="1883"/>
                </a:cubicBezTo>
                <a:cubicBezTo>
                  <a:pt x="2501" y="1882"/>
                  <a:pt x="2500" y="1882"/>
                  <a:pt x="2500" y="1882"/>
                </a:cubicBezTo>
                <a:cubicBezTo>
                  <a:pt x="2499" y="1882"/>
                  <a:pt x="2498" y="1882"/>
                  <a:pt x="2498" y="1881"/>
                </a:cubicBezTo>
                <a:cubicBezTo>
                  <a:pt x="2497" y="1880"/>
                  <a:pt x="2497" y="1882"/>
                  <a:pt x="2497" y="1882"/>
                </a:cubicBezTo>
                <a:cubicBezTo>
                  <a:pt x="2497" y="1882"/>
                  <a:pt x="2497" y="1883"/>
                  <a:pt x="2496" y="1883"/>
                </a:cubicBezTo>
                <a:cubicBezTo>
                  <a:pt x="2496" y="1883"/>
                  <a:pt x="2496" y="1883"/>
                  <a:pt x="2496" y="1883"/>
                </a:cubicBezTo>
                <a:cubicBezTo>
                  <a:pt x="2496" y="1884"/>
                  <a:pt x="2496" y="1884"/>
                  <a:pt x="2496" y="1884"/>
                </a:cubicBezTo>
                <a:cubicBezTo>
                  <a:pt x="2496" y="1885"/>
                  <a:pt x="2496" y="1885"/>
                  <a:pt x="2497" y="1885"/>
                </a:cubicBezTo>
                <a:close/>
                <a:moveTo>
                  <a:pt x="2498" y="1856"/>
                </a:moveTo>
                <a:cubicBezTo>
                  <a:pt x="2498" y="1857"/>
                  <a:pt x="2499" y="1857"/>
                  <a:pt x="2499" y="1857"/>
                </a:cubicBezTo>
                <a:cubicBezTo>
                  <a:pt x="2499" y="1858"/>
                  <a:pt x="2499" y="1858"/>
                  <a:pt x="2499" y="1858"/>
                </a:cubicBezTo>
                <a:cubicBezTo>
                  <a:pt x="2499" y="1860"/>
                  <a:pt x="2500" y="1858"/>
                  <a:pt x="2501" y="1858"/>
                </a:cubicBezTo>
                <a:cubicBezTo>
                  <a:pt x="2501" y="1859"/>
                  <a:pt x="2500" y="1859"/>
                  <a:pt x="2500" y="1859"/>
                </a:cubicBezTo>
                <a:cubicBezTo>
                  <a:pt x="2500" y="1860"/>
                  <a:pt x="2500" y="1860"/>
                  <a:pt x="2500" y="1860"/>
                </a:cubicBezTo>
                <a:cubicBezTo>
                  <a:pt x="2500" y="1861"/>
                  <a:pt x="2500" y="1861"/>
                  <a:pt x="2500" y="1861"/>
                </a:cubicBezTo>
                <a:cubicBezTo>
                  <a:pt x="2500" y="1861"/>
                  <a:pt x="2500" y="1862"/>
                  <a:pt x="2500" y="1862"/>
                </a:cubicBezTo>
                <a:cubicBezTo>
                  <a:pt x="2500" y="1861"/>
                  <a:pt x="2500" y="1861"/>
                  <a:pt x="2500" y="1861"/>
                </a:cubicBezTo>
                <a:cubicBezTo>
                  <a:pt x="2501" y="1860"/>
                  <a:pt x="2501" y="1860"/>
                  <a:pt x="2501" y="1860"/>
                </a:cubicBezTo>
                <a:cubicBezTo>
                  <a:pt x="2502" y="1860"/>
                  <a:pt x="2501" y="1859"/>
                  <a:pt x="2502" y="1858"/>
                </a:cubicBezTo>
                <a:cubicBezTo>
                  <a:pt x="2502" y="1858"/>
                  <a:pt x="2501" y="1857"/>
                  <a:pt x="2501" y="1857"/>
                </a:cubicBezTo>
                <a:cubicBezTo>
                  <a:pt x="2502" y="1857"/>
                  <a:pt x="2502" y="1858"/>
                  <a:pt x="2503" y="1858"/>
                </a:cubicBezTo>
                <a:cubicBezTo>
                  <a:pt x="2503" y="1857"/>
                  <a:pt x="2501" y="1857"/>
                  <a:pt x="2502" y="1856"/>
                </a:cubicBezTo>
                <a:cubicBezTo>
                  <a:pt x="2502" y="1856"/>
                  <a:pt x="2502" y="1855"/>
                  <a:pt x="2501" y="1856"/>
                </a:cubicBezTo>
                <a:cubicBezTo>
                  <a:pt x="2501" y="1856"/>
                  <a:pt x="2501" y="1856"/>
                  <a:pt x="2500" y="1856"/>
                </a:cubicBezTo>
                <a:cubicBezTo>
                  <a:pt x="2500" y="1856"/>
                  <a:pt x="2500" y="1855"/>
                  <a:pt x="2500" y="1855"/>
                </a:cubicBezTo>
                <a:cubicBezTo>
                  <a:pt x="2501" y="1855"/>
                  <a:pt x="2500" y="1855"/>
                  <a:pt x="2500" y="1855"/>
                </a:cubicBezTo>
                <a:cubicBezTo>
                  <a:pt x="2500" y="1855"/>
                  <a:pt x="2500" y="1855"/>
                  <a:pt x="2500" y="1855"/>
                </a:cubicBezTo>
                <a:cubicBezTo>
                  <a:pt x="2499" y="1855"/>
                  <a:pt x="2499" y="1854"/>
                  <a:pt x="2498" y="1854"/>
                </a:cubicBezTo>
                <a:cubicBezTo>
                  <a:pt x="2498" y="1854"/>
                  <a:pt x="2497" y="1855"/>
                  <a:pt x="2498" y="1855"/>
                </a:cubicBezTo>
                <a:cubicBezTo>
                  <a:pt x="2498" y="1855"/>
                  <a:pt x="2498" y="1854"/>
                  <a:pt x="2498" y="1855"/>
                </a:cubicBezTo>
                <a:cubicBezTo>
                  <a:pt x="2498" y="1855"/>
                  <a:pt x="2498" y="1856"/>
                  <a:pt x="2498" y="1856"/>
                </a:cubicBezTo>
                <a:close/>
                <a:moveTo>
                  <a:pt x="2577" y="1887"/>
                </a:moveTo>
                <a:cubicBezTo>
                  <a:pt x="2577" y="1888"/>
                  <a:pt x="2577" y="1888"/>
                  <a:pt x="2577" y="1888"/>
                </a:cubicBezTo>
                <a:cubicBezTo>
                  <a:pt x="2577" y="1888"/>
                  <a:pt x="2576" y="1889"/>
                  <a:pt x="2577" y="1889"/>
                </a:cubicBezTo>
                <a:cubicBezTo>
                  <a:pt x="2577" y="1889"/>
                  <a:pt x="2578" y="1888"/>
                  <a:pt x="2578" y="1888"/>
                </a:cubicBezTo>
                <a:cubicBezTo>
                  <a:pt x="2578" y="1888"/>
                  <a:pt x="2578" y="1887"/>
                  <a:pt x="2578" y="1887"/>
                </a:cubicBezTo>
                <a:cubicBezTo>
                  <a:pt x="2578" y="1887"/>
                  <a:pt x="2578" y="1887"/>
                  <a:pt x="2577" y="1887"/>
                </a:cubicBezTo>
                <a:close/>
                <a:moveTo>
                  <a:pt x="2538" y="1886"/>
                </a:moveTo>
                <a:cubicBezTo>
                  <a:pt x="2538" y="1886"/>
                  <a:pt x="2539" y="1886"/>
                  <a:pt x="2540" y="1885"/>
                </a:cubicBezTo>
                <a:cubicBezTo>
                  <a:pt x="2540" y="1885"/>
                  <a:pt x="2541" y="1885"/>
                  <a:pt x="2541" y="1884"/>
                </a:cubicBezTo>
                <a:cubicBezTo>
                  <a:pt x="2541" y="1883"/>
                  <a:pt x="2542" y="1883"/>
                  <a:pt x="2543" y="1882"/>
                </a:cubicBezTo>
                <a:cubicBezTo>
                  <a:pt x="2543" y="1882"/>
                  <a:pt x="2543" y="1882"/>
                  <a:pt x="2544" y="1881"/>
                </a:cubicBezTo>
                <a:cubicBezTo>
                  <a:pt x="2545" y="1881"/>
                  <a:pt x="2545" y="1881"/>
                  <a:pt x="2546" y="1881"/>
                </a:cubicBezTo>
                <a:cubicBezTo>
                  <a:pt x="2548" y="1881"/>
                  <a:pt x="2549" y="1881"/>
                  <a:pt x="2550" y="1880"/>
                </a:cubicBezTo>
                <a:cubicBezTo>
                  <a:pt x="2551" y="1879"/>
                  <a:pt x="2551" y="1878"/>
                  <a:pt x="2552" y="1878"/>
                </a:cubicBezTo>
                <a:cubicBezTo>
                  <a:pt x="2553" y="1878"/>
                  <a:pt x="2553" y="1878"/>
                  <a:pt x="2554" y="1878"/>
                </a:cubicBezTo>
                <a:cubicBezTo>
                  <a:pt x="2554" y="1878"/>
                  <a:pt x="2554" y="1877"/>
                  <a:pt x="2554" y="1877"/>
                </a:cubicBezTo>
                <a:cubicBezTo>
                  <a:pt x="2555" y="1877"/>
                  <a:pt x="2555" y="1876"/>
                  <a:pt x="2555" y="1876"/>
                </a:cubicBezTo>
                <a:cubicBezTo>
                  <a:pt x="2555" y="1876"/>
                  <a:pt x="2555" y="1875"/>
                  <a:pt x="2555" y="1875"/>
                </a:cubicBezTo>
                <a:cubicBezTo>
                  <a:pt x="2555" y="1875"/>
                  <a:pt x="2555" y="1874"/>
                  <a:pt x="2556" y="1874"/>
                </a:cubicBezTo>
                <a:cubicBezTo>
                  <a:pt x="2556" y="1874"/>
                  <a:pt x="2556" y="1874"/>
                  <a:pt x="2557" y="1873"/>
                </a:cubicBezTo>
                <a:cubicBezTo>
                  <a:pt x="2558" y="1873"/>
                  <a:pt x="2558" y="1874"/>
                  <a:pt x="2559" y="1873"/>
                </a:cubicBezTo>
                <a:cubicBezTo>
                  <a:pt x="2560" y="1873"/>
                  <a:pt x="2560" y="1872"/>
                  <a:pt x="2560" y="1872"/>
                </a:cubicBezTo>
                <a:cubicBezTo>
                  <a:pt x="2560" y="1871"/>
                  <a:pt x="2560" y="1871"/>
                  <a:pt x="2560" y="1871"/>
                </a:cubicBezTo>
                <a:cubicBezTo>
                  <a:pt x="2561" y="1870"/>
                  <a:pt x="2562" y="1872"/>
                  <a:pt x="2562" y="1871"/>
                </a:cubicBezTo>
                <a:cubicBezTo>
                  <a:pt x="2562" y="1870"/>
                  <a:pt x="2562" y="1870"/>
                  <a:pt x="2562" y="1869"/>
                </a:cubicBezTo>
                <a:cubicBezTo>
                  <a:pt x="2562" y="1869"/>
                  <a:pt x="2563" y="1869"/>
                  <a:pt x="2563" y="1868"/>
                </a:cubicBezTo>
                <a:cubicBezTo>
                  <a:pt x="2562" y="1868"/>
                  <a:pt x="2562" y="1868"/>
                  <a:pt x="2562" y="1869"/>
                </a:cubicBezTo>
                <a:cubicBezTo>
                  <a:pt x="2562" y="1869"/>
                  <a:pt x="2562" y="1869"/>
                  <a:pt x="2562" y="1870"/>
                </a:cubicBezTo>
                <a:cubicBezTo>
                  <a:pt x="2561" y="1870"/>
                  <a:pt x="2561" y="1868"/>
                  <a:pt x="2562" y="1867"/>
                </a:cubicBezTo>
                <a:cubicBezTo>
                  <a:pt x="2562" y="1867"/>
                  <a:pt x="2562" y="1867"/>
                  <a:pt x="2562" y="1866"/>
                </a:cubicBezTo>
                <a:cubicBezTo>
                  <a:pt x="2561" y="1866"/>
                  <a:pt x="2562" y="1865"/>
                  <a:pt x="2562" y="1865"/>
                </a:cubicBezTo>
                <a:cubicBezTo>
                  <a:pt x="2562" y="1864"/>
                  <a:pt x="2562" y="1865"/>
                  <a:pt x="2561" y="1864"/>
                </a:cubicBezTo>
                <a:cubicBezTo>
                  <a:pt x="2561" y="1864"/>
                  <a:pt x="2562" y="1863"/>
                  <a:pt x="2562" y="1863"/>
                </a:cubicBezTo>
                <a:cubicBezTo>
                  <a:pt x="2563" y="1863"/>
                  <a:pt x="2563" y="1863"/>
                  <a:pt x="2562" y="1863"/>
                </a:cubicBezTo>
                <a:cubicBezTo>
                  <a:pt x="2562" y="1863"/>
                  <a:pt x="2562" y="1863"/>
                  <a:pt x="2562" y="1862"/>
                </a:cubicBezTo>
                <a:cubicBezTo>
                  <a:pt x="2562" y="1862"/>
                  <a:pt x="2562" y="1862"/>
                  <a:pt x="2561" y="1862"/>
                </a:cubicBezTo>
                <a:cubicBezTo>
                  <a:pt x="2561" y="1862"/>
                  <a:pt x="2561" y="1863"/>
                  <a:pt x="2561" y="1863"/>
                </a:cubicBezTo>
                <a:cubicBezTo>
                  <a:pt x="2560" y="1863"/>
                  <a:pt x="2560" y="1864"/>
                  <a:pt x="2559" y="1864"/>
                </a:cubicBezTo>
                <a:cubicBezTo>
                  <a:pt x="2559" y="1864"/>
                  <a:pt x="2558" y="1864"/>
                  <a:pt x="2558" y="1865"/>
                </a:cubicBezTo>
                <a:cubicBezTo>
                  <a:pt x="2558" y="1865"/>
                  <a:pt x="2557" y="1866"/>
                  <a:pt x="2557" y="1865"/>
                </a:cubicBezTo>
                <a:cubicBezTo>
                  <a:pt x="2557" y="1865"/>
                  <a:pt x="2557" y="1865"/>
                  <a:pt x="2558" y="1864"/>
                </a:cubicBezTo>
                <a:cubicBezTo>
                  <a:pt x="2558" y="1864"/>
                  <a:pt x="2557" y="1863"/>
                  <a:pt x="2557" y="1863"/>
                </a:cubicBezTo>
                <a:cubicBezTo>
                  <a:pt x="2556" y="1863"/>
                  <a:pt x="2557" y="1863"/>
                  <a:pt x="2556" y="1863"/>
                </a:cubicBezTo>
                <a:cubicBezTo>
                  <a:pt x="2556" y="1862"/>
                  <a:pt x="2555" y="1862"/>
                  <a:pt x="2555" y="1862"/>
                </a:cubicBezTo>
                <a:cubicBezTo>
                  <a:pt x="2554" y="1862"/>
                  <a:pt x="2554" y="1862"/>
                  <a:pt x="2554" y="1862"/>
                </a:cubicBezTo>
                <a:cubicBezTo>
                  <a:pt x="2553" y="1863"/>
                  <a:pt x="2553" y="1863"/>
                  <a:pt x="2553" y="1863"/>
                </a:cubicBezTo>
                <a:cubicBezTo>
                  <a:pt x="2552" y="1863"/>
                  <a:pt x="2552" y="1863"/>
                  <a:pt x="2552" y="1864"/>
                </a:cubicBezTo>
                <a:cubicBezTo>
                  <a:pt x="2551" y="1864"/>
                  <a:pt x="2551" y="1864"/>
                  <a:pt x="2551" y="1863"/>
                </a:cubicBezTo>
                <a:cubicBezTo>
                  <a:pt x="2551" y="1863"/>
                  <a:pt x="2550" y="1863"/>
                  <a:pt x="2550" y="1863"/>
                </a:cubicBezTo>
                <a:cubicBezTo>
                  <a:pt x="2550" y="1863"/>
                  <a:pt x="2549" y="1864"/>
                  <a:pt x="2549" y="1863"/>
                </a:cubicBezTo>
                <a:cubicBezTo>
                  <a:pt x="2549" y="1862"/>
                  <a:pt x="2549" y="1862"/>
                  <a:pt x="2549" y="1862"/>
                </a:cubicBezTo>
                <a:cubicBezTo>
                  <a:pt x="2549" y="1861"/>
                  <a:pt x="2548" y="1861"/>
                  <a:pt x="2548" y="1860"/>
                </a:cubicBezTo>
                <a:cubicBezTo>
                  <a:pt x="2547" y="1860"/>
                  <a:pt x="2547" y="1859"/>
                  <a:pt x="2546" y="1859"/>
                </a:cubicBezTo>
                <a:cubicBezTo>
                  <a:pt x="2546" y="1859"/>
                  <a:pt x="2545" y="1859"/>
                  <a:pt x="2545" y="1859"/>
                </a:cubicBezTo>
                <a:cubicBezTo>
                  <a:pt x="2544" y="1858"/>
                  <a:pt x="2544" y="1858"/>
                  <a:pt x="2543" y="1858"/>
                </a:cubicBezTo>
                <a:cubicBezTo>
                  <a:pt x="2543" y="1858"/>
                  <a:pt x="2542" y="1858"/>
                  <a:pt x="2541" y="1857"/>
                </a:cubicBezTo>
                <a:cubicBezTo>
                  <a:pt x="2540" y="1857"/>
                  <a:pt x="2540" y="1855"/>
                  <a:pt x="2539" y="1856"/>
                </a:cubicBezTo>
                <a:cubicBezTo>
                  <a:pt x="2538" y="1856"/>
                  <a:pt x="2538" y="1856"/>
                  <a:pt x="2538" y="1857"/>
                </a:cubicBezTo>
                <a:cubicBezTo>
                  <a:pt x="2537" y="1857"/>
                  <a:pt x="2538" y="1858"/>
                  <a:pt x="2537" y="1858"/>
                </a:cubicBezTo>
                <a:cubicBezTo>
                  <a:pt x="2537" y="1858"/>
                  <a:pt x="2537" y="1859"/>
                  <a:pt x="2538" y="1859"/>
                </a:cubicBezTo>
                <a:cubicBezTo>
                  <a:pt x="2538" y="1859"/>
                  <a:pt x="2538" y="1859"/>
                  <a:pt x="2539" y="1859"/>
                </a:cubicBezTo>
                <a:cubicBezTo>
                  <a:pt x="2539" y="1859"/>
                  <a:pt x="2539" y="1859"/>
                  <a:pt x="2540" y="1859"/>
                </a:cubicBezTo>
                <a:cubicBezTo>
                  <a:pt x="2541" y="1859"/>
                  <a:pt x="2542" y="1860"/>
                  <a:pt x="2542" y="1862"/>
                </a:cubicBezTo>
                <a:cubicBezTo>
                  <a:pt x="2541" y="1862"/>
                  <a:pt x="2541" y="1863"/>
                  <a:pt x="2541" y="1863"/>
                </a:cubicBezTo>
                <a:cubicBezTo>
                  <a:pt x="2541" y="1864"/>
                  <a:pt x="2542" y="1864"/>
                  <a:pt x="2541" y="1865"/>
                </a:cubicBezTo>
                <a:cubicBezTo>
                  <a:pt x="2541" y="1865"/>
                  <a:pt x="2541" y="1865"/>
                  <a:pt x="2541" y="1866"/>
                </a:cubicBezTo>
                <a:cubicBezTo>
                  <a:pt x="2540" y="1866"/>
                  <a:pt x="2541" y="1867"/>
                  <a:pt x="2541" y="1868"/>
                </a:cubicBezTo>
                <a:cubicBezTo>
                  <a:pt x="2540" y="1868"/>
                  <a:pt x="2540" y="1869"/>
                  <a:pt x="2541" y="1869"/>
                </a:cubicBezTo>
                <a:cubicBezTo>
                  <a:pt x="2541" y="1870"/>
                  <a:pt x="2540" y="1870"/>
                  <a:pt x="2540" y="1871"/>
                </a:cubicBezTo>
                <a:cubicBezTo>
                  <a:pt x="2540" y="1872"/>
                  <a:pt x="2541" y="1874"/>
                  <a:pt x="2540" y="1875"/>
                </a:cubicBezTo>
                <a:cubicBezTo>
                  <a:pt x="2539" y="1876"/>
                  <a:pt x="2538" y="1878"/>
                  <a:pt x="2539" y="1879"/>
                </a:cubicBezTo>
                <a:cubicBezTo>
                  <a:pt x="2539" y="1880"/>
                  <a:pt x="2539" y="1883"/>
                  <a:pt x="2539" y="1884"/>
                </a:cubicBezTo>
                <a:cubicBezTo>
                  <a:pt x="2538" y="1884"/>
                  <a:pt x="2538" y="1885"/>
                  <a:pt x="2538" y="1886"/>
                </a:cubicBezTo>
                <a:close/>
                <a:moveTo>
                  <a:pt x="2557" y="1910"/>
                </a:moveTo>
                <a:cubicBezTo>
                  <a:pt x="2557" y="1910"/>
                  <a:pt x="2557" y="1911"/>
                  <a:pt x="2558" y="1911"/>
                </a:cubicBezTo>
                <a:cubicBezTo>
                  <a:pt x="2558" y="1912"/>
                  <a:pt x="2559" y="1913"/>
                  <a:pt x="2560" y="1913"/>
                </a:cubicBezTo>
                <a:cubicBezTo>
                  <a:pt x="2562" y="1913"/>
                  <a:pt x="2563" y="1913"/>
                  <a:pt x="2563" y="1912"/>
                </a:cubicBezTo>
                <a:cubicBezTo>
                  <a:pt x="2564" y="1911"/>
                  <a:pt x="2565" y="1910"/>
                  <a:pt x="2565" y="1909"/>
                </a:cubicBezTo>
                <a:cubicBezTo>
                  <a:pt x="2566" y="1908"/>
                  <a:pt x="2566" y="1907"/>
                  <a:pt x="2565" y="1906"/>
                </a:cubicBezTo>
                <a:cubicBezTo>
                  <a:pt x="2564" y="1906"/>
                  <a:pt x="2565" y="1905"/>
                  <a:pt x="2563" y="1905"/>
                </a:cubicBezTo>
                <a:cubicBezTo>
                  <a:pt x="2563" y="1904"/>
                  <a:pt x="2563" y="1904"/>
                  <a:pt x="2563" y="1904"/>
                </a:cubicBezTo>
                <a:cubicBezTo>
                  <a:pt x="2563" y="1903"/>
                  <a:pt x="2562" y="1903"/>
                  <a:pt x="2562" y="1903"/>
                </a:cubicBezTo>
                <a:cubicBezTo>
                  <a:pt x="2563" y="1902"/>
                  <a:pt x="2562" y="1902"/>
                  <a:pt x="2562" y="1901"/>
                </a:cubicBezTo>
                <a:cubicBezTo>
                  <a:pt x="2562" y="1901"/>
                  <a:pt x="2562" y="1901"/>
                  <a:pt x="2563" y="1900"/>
                </a:cubicBezTo>
                <a:cubicBezTo>
                  <a:pt x="2563" y="1900"/>
                  <a:pt x="2562" y="1899"/>
                  <a:pt x="2562" y="1898"/>
                </a:cubicBezTo>
                <a:cubicBezTo>
                  <a:pt x="2562" y="1897"/>
                  <a:pt x="2562" y="1896"/>
                  <a:pt x="2563" y="1895"/>
                </a:cubicBezTo>
                <a:cubicBezTo>
                  <a:pt x="2564" y="1893"/>
                  <a:pt x="2565" y="1892"/>
                  <a:pt x="2565" y="1891"/>
                </a:cubicBezTo>
                <a:cubicBezTo>
                  <a:pt x="2565" y="1890"/>
                  <a:pt x="2565" y="1890"/>
                  <a:pt x="2565" y="1889"/>
                </a:cubicBezTo>
                <a:cubicBezTo>
                  <a:pt x="2566" y="1889"/>
                  <a:pt x="2566" y="1888"/>
                  <a:pt x="2566" y="1887"/>
                </a:cubicBezTo>
                <a:cubicBezTo>
                  <a:pt x="2566" y="1887"/>
                  <a:pt x="2566" y="1886"/>
                  <a:pt x="2566" y="1886"/>
                </a:cubicBezTo>
                <a:cubicBezTo>
                  <a:pt x="2567" y="1885"/>
                  <a:pt x="2567" y="1884"/>
                  <a:pt x="2568" y="1884"/>
                </a:cubicBezTo>
                <a:cubicBezTo>
                  <a:pt x="2568" y="1884"/>
                  <a:pt x="2569" y="1883"/>
                  <a:pt x="2569" y="1883"/>
                </a:cubicBezTo>
                <a:cubicBezTo>
                  <a:pt x="2569" y="1882"/>
                  <a:pt x="2569" y="1881"/>
                  <a:pt x="2569" y="1881"/>
                </a:cubicBezTo>
                <a:cubicBezTo>
                  <a:pt x="2570" y="1880"/>
                  <a:pt x="2571" y="1878"/>
                  <a:pt x="2570" y="1877"/>
                </a:cubicBezTo>
                <a:cubicBezTo>
                  <a:pt x="2570" y="1877"/>
                  <a:pt x="2569" y="1876"/>
                  <a:pt x="2569" y="1875"/>
                </a:cubicBezTo>
                <a:cubicBezTo>
                  <a:pt x="2568" y="1875"/>
                  <a:pt x="2568" y="1875"/>
                  <a:pt x="2567" y="1875"/>
                </a:cubicBezTo>
                <a:cubicBezTo>
                  <a:pt x="2567" y="1875"/>
                  <a:pt x="2566" y="1875"/>
                  <a:pt x="2565" y="1875"/>
                </a:cubicBezTo>
                <a:cubicBezTo>
                  <a:pt x="2564" y="1874"/>
                  <a:pt x="2564" y="1874"/>
                  <a:pt x="2563" y="1874"/>
                </a:cubicBezTo>
                <a:cubicBezTo>
                  <a:pt x="2562" y="1874"/>
                  <a:pt x="2562" y="1875"/>
                  <a:pt x="2561" y="1876"/>
                </a:cubicBezTo>
                <a:cubicBezTo>
                  <a:pt x="2560" y="1876"/>
                  <a:pt x="2557" y="1876"/>
                  <a:pt x="2558" y="1877"/>
                </a:cubicBezTo>
                <a:cubicBezTo>
                  <a:pt x="2558" y="1877"/>
                  <a:pt x="2558" y="1878"/>
                  <a:pt x="2558" y="1878"/>
                </a:cubicBezTo>
                <a:cubicBezTo>
                  <a:pt x="2559" y="1879"/>
                  <a:pt x="2558" y="1879"/>
                  <a:pt x="2558" y="1880"/>
                </a:cubicBezTo>
                <a:cubicBezTo>
                  <a:pt x="2558" y="1881"/>
                  <a:pt x="2557" y="1883"/>
                  <a:pt x="2556" y="1884"/>
                </a:cubicBezTo>
                <a:cubicBezTo>
                  <a:pt x="2556" y="1885"/>
                  <a:pt x="2556" y="1885"/>
                  <a:pt x="2556" y="1886"/>
                </a:cubicBezTo>
                <a:cubicBezTo>
                  <a:pt x="2556" y="1887"/>
                  <a:pt x="2556" y="1888"/>
                  <a:pt x="2556" y="1888"/>
                </a:cubicBezTo>
                <a:cubicBezTo>
                  <a:pt x="2556" y="1890"/>
                  <a:pt x="2557" y="1891"/>
                  <a:pt x="2556" y="1893"/>
                </a:cubicBezTo>
                <a:cubicBezTo>
                  <a:pt x="2556" y="1894"/>
                  <a:pt x="2555" y="1893"/>
                  <a:pt x="2554" y="1894"/>
                </a:cubicBezTo>
                <a:cubicBezTo>
                  <a:pt x="2553" y="1895"/>
                  <a:pt x="2553" y="1895"/>
                  <a:pt x="2551" y="1895"/>
                </a:cubicBezTo>
                <a:cubicBezTo>
                  <a:pt x="2550" y="1895"/>
                  <a:pt x="2549" y="1894"/>
                  <a:pt x="2549" y="1895"/>
                </a:cubicBezTo>
                <a:cubicBezTo>
                  <a:pt x="2548" y="1896"/>
                  <a:pt x="2547" y="1897"/>
                  <a:pt x="2548" y="1898"/>
                </a:cubicBezTo>
                <a:cubicBezTo>
                  <a:pt x="2548" y="1899"/>
                  <a:pt x="2547" y="1900"/>
                  <a:pt x="2548" y="1900"/>
                </a:cubicBezTo>
                <a:cubicBezTo>
                  <a:pt x="2548" y="1901"/>
                  <a:pt x="2549" y="1901"/>
                  <a:pt x="2549" y="1902"/>
                </a:cubicBezTo>
                <a:cubicBezTo>
                  <a:pt x="2549" y="1902"/>
                  <a:pt x="2549" y="1903"/>
                  <a:pt x="2550" y="1903"/>
                </a:cubicBezTo>
                <a:cubicBezTo>
                  <a:pt x="2550" y="1904"/>
                  <a:pt x="2551" y="1905"/>
                  <a:pt x="2552" y="1906"/>
                </a:cubicBezTo>
                <a:cubicBezTo>
                  <a:pt x="2553" y="1906"/>
                  <a:pt x="2554" y="1906"/>
                  <a:pt x="2555" y="1907"/>
                </a:cubicBezTo>
                <a:cubicBezTo>
                  <a:pt x="2556" y="1907"/>
                  <a:pt x="2557" y="1907"/>
                  <a:pt x="2557" y="1908"/>
                </a:cubicBezTo>
                <a:cubicBezTo>
                  <a:pt x="2557" y="1909"/>
                  <a:pt x="2557" y="1909"/>
                  <a:pt x="2557" y="1910"/>
                </a:cubicBezTo>
                <a:close/>
                <a:moveTo>
                  <a:pt x="2551" y="1848"/>
                </a:moveTo>
                <a:cubicBezTo>
                  <a:pt x="2551" y="1848"/>
                  <a:pt x="2552" y="1850"/>
                  <a:pt x="2552" y="1849"/>
                </a:cubicBezTo>
                <a:cubicBezTo>
                  <a:pt x="2553" y="1848"/>
                  <a:pt x="2553" y="1848"/>
                  <a:pt x="2553" y="1847"/>
                </a:cubicBezTo>
                <a:cubicBezTo>
                  <a:pt x="2553" y="1846"/>
                  <a:pt x="2553" y="1845"/>
                  <a:pt x="2552" y="1845"/>
                </a:cubicBezTo>
                <a:cubicBezTo>
                  <a:pt x="2551" y="1844"/>
                  <a:pt x="2549" y="1844"/>
                  <a:pt x="2548" y="1845"/>
                </a:cubicBezTo>
                <a:cubicBezTo>
                  <a:pt x="2547" y="1846"/>
                  <a:pt x="2549" y="1846"/>
                  <a:pt x="2550" y="1847"/>
                </a:cubicBezTo>
                <a:cubicBezTo>
                  <a:pt x="2550" y="1847"/>
                  <a:pt x="2550" y="1847"/>
                  <a:pt x="2551" y="1848"/>
                </a:cubicBezTo>
                <a:close/>
                <a:moveTo>
                  <a:pt x="2574" y="1868"/>
                </a:moveTo>
                <a:cubicBezTo>
                  <a:pt x="2574" y="1868"/>
                  <a:pt x="2574" y="1867"/>
                  <a:pt x="2573" y="1868"/>
                </a:cubicBezTo>
                <a:cubicBezTo>
                  <a:pt x="2573" y="1868"/>
                  <a:pt x="2572" y="1869"/>
                  <a:pt x="2573" y="1870"/>
                </a:cubicBezTo>
                <a:cubicBezTo>
                  <a:pt x="2573" y="1870"/>
                  <a:pt x="2573" y="1870"/>
                  <a:pt x="2573" y="1871"/>
                </a:cubicBezTo>
                <a:cubicBezTo>
                  <a:pt x="2573" y="1872"/>
                  <a:pt x="2574" y="1871"/>
                  <a:pt x="2574" y="1871"/>
                </a:cubicBezTo>
                <a:cubicBezTo>
                  <a:pt x="2575" y="1871"/>
                  <a:pt x="2575" y="1871"/>
                  <a:pt x="2575" y="1871"/>
                </a:cubicBezTo>
                <a:cubicBezTo>
                  <a:pt x="2575" y="1870"/>
                  <a:pt x="2575" y="1869"/>
                  <a:pt x="2575" y="1870"/>
                </a:cubicBezTo>
                <a:cubicBezTo>
                  <a:pt x="2575" y="1870"/>
                  <a:pt x="2574" y="1870"/>
                  <a:pt x="2574" y="1870"/>
                </a:cubicBezTo>
                <a:cubicBezTo>
                  <a:pt x="2574" y="1869"/>
                  <a:pt x="2575" y="1869"/>
                  <a:pt x="2574" y="1868"/>
                </a:cubicBezTo>
                <a:close/>
                <a:moveTo>
                  <a:pt x="2574" y="1847"/>
                </a:moveTo>
                <a:cubicBezTo>
                  <a:pt x="2574" y="1847"/>
                  <a:pt x="2575" y="1848"/>
                  <a:pt x="2575" y="1848"/>
                </a:cubicBezTo>
                <a:cubicBezTo>
                  <a:pt x="2575" y="1847"/>
                  <a:pt x="2575" y="1847"/>
                  <a:pt x="2574" y="1847"/>
                </a:cubicBezTo>
                <a:cubicBezTo>
                  <a:pt x="2574" y="1846"/>
                  <a:pt x="2574" y="1846"/>
                  <a:pt x="2574" y="1845"/>
                </a:cubicBezTo>
                <a:cubicBezTo>
                  <a:pt x="2574" y="1844"/>
                  <a:pt x="2573" y="1842"/>
                  <a:pt x="2572" y="1841"/>
                </a:cubicBezTo>
                <a:cubicBezTo>
                  <a:pt x="2572" y="1841"/>
                  <a:pt x="2572" y="1840"/>
                  <a:pt x="2571" y="1841"/>
                </a:cubicBezTo>
                <a:cubicBezTo>
                  <a:pt x="2571" y="1841"/>
                  <a:pt x="2570" y="1842"/>
                  <a:pt x="2571" y="1842"/>
                </a:cubicBezTo>
                <a:cubicBezTo>
                  <a:pt x="2572" y="1844"/>
                  <a:pt x="2573" y="1845"/>
                  <a:pt x="2574" y="1847"/>
                </a:cubicBezTo>
                <a:close/>
                <a:moveTo>
                  <a:pt x="2542" y="1825"/>
                </a:moveTo>
                <a:cubicBezTo>
                  <a:pt x="2542" y="1825"/>
                  <a:pt x="2542" y="1824"/>
                  <a:pt x="2541" y="1824"/>
                </a:cubicBezTo>
                <a:cubicBezTo>
                  <a:pt x="2541" y="1825"/>
                  <a:pt x="2541" y="1824"/>
                  <a:pt x="2540" y="1824"/>
                </a:cubicBezTo>
                <a:cubicBezTo>
                  <a:pt x="2540" y="1824"/>
                  <a:pt x="2540" y="1823"/>
                  <a:pt x="2540" y="1824"/>
                </a:cubicBezTo>
                <a:cubicBezTo>
                  <a:pt x="2539" y="1824"/>
                  <a:pt x="2539" y="1824"/>
                  <a:pt x="2538" y="1824"/>
                </a:cubicBezTo>
                <a:cubicBezTo>
                  <a:pt x="2538" y="1823"/>
                  <a:pt x="2538" y="1824"/>
                  <a:pt x="2537" y="1823"/>
                </a:cubicBezTo>
                <a:cubicBezTo>
                  <a:pt x="2537" y="1823"/>
                  <a:pt x="2537" y="1824"/>
                  <a:pt x="2537" y="1824"/>
                </a:cubicBezTo>
                <a:cubicBezTo>
                  <a:pt x="2537" y="1825"/>
                  <a:pt x="2536" y="1825"/>
                  <a:pt x="2536" y="1825"/>
                </a:cubicBezTo>
                <a:cubicBezTo>
                  <a:pt x="2536" y="1826"/>
                  <a:pt x="2536" y="1827"/>
                  <a:pt x="2536" y="1827"/>
                </a:cubicBezTo>
                <a:cubicBezTo>
                  <a:pt x="2536" y="1827"/>
                  <a:pt x="2537" y="1828"/>
                  <a:pt x="2537" y="1829"/>
                </a:cubicBezTo>
                <a:cubicBezTo>
                  <a:pt x="2538" y="1829"/>
                  <a:pt x="2538" y="1829"/>
                  <a:pt x="2539" y="1829"/>
                </a:cubicBezTo>
                <a:cubicBezTo>
                  <a:pt x="2539" y="1830"/>
                  <a:pt x="2539" y="1830"/>
                  <a:pt x="2540" y="1830"/>
                </a:cubicBezTo>
                <a:cubicBezTo>
                  <a:pt x="2540" y="1830"/>
                  <a:pt x="2541" y="1829"/>
                  <a:pt x="2541" y="1829"/>
                </a:cubicBezTo>
                <a:cubicBezTo>
                  <a:pt x="2541" y="1828"/>
                  <a:pt x="2543" y="1828"/>
                  <a:pt x="2543" y="1827"/>
                </a:cubicBezTo>
                <a:cubicBezTo>
                  <a:pt x="2543" y="1827"/>
                  <a:pt x="2543" y="1827"/>
                  <a:pt x="2542" y="1826"/>
                </a:cubicBezTo>
                <a:cubicBezTo>
                  <a:pt x="2542" y="1826"/>
                  <a:pt x="2542" y="1826"/>
                  <a:pt x="2542" y="1826"/>
                </a:cubicBezTo>
                <a:cubicBezTo>
                  <a:pt x="2542" y="1826"/>
                  <a:pt x="2543" y="1825"/>
                  <a:pt x="2542" y="1825"/>
                </a:cubicBezTo>
                <a:close/>
                <a:moveTo>
                  <a:pt x="2545" y="1962"/>
                </a:moveTo>
                <a:cubicBezTo>
                  <a:pt x="2545" y="1962"/>
                  <a:pt x="2547" y="1962"/>
                  <a:pt x="2546" y="1961"/>
                </a:cubicBezTo>
                <a:cubicBezTo>
                  <a:pt x="2546" y="1961"/>
                  <a:pt x="2544" y="1961"/>
                  <a:pt x="2544" y="1961"/>
                </a:cubicBezTo>
                <a:cubicBezTo>
                  <a:pt x="2543" y="1961"/>
                  <a:pt x="2543" y="1961"/>
                  <a:pt x="2543" y="1960"/>
                </a:cubicBezTo>
                <a:cubicBezTo>
                  <a:pt x="2542" y="1960"/>
                  <a:pt x="2542" y="1959"/>
                  <a:pt x="2542" y="1959"/>
                </a:cubicBezTo>
                <a:cubicBezTo>
                  <a:pt x="2541" y="1959"/>
                  <a:pt x="2541" y="1959"/>
                  <a:pt x="2541" y="1959"/>
                </a:cubicBezTo>
                <a:cubicBezTo>
                  <a:pt x="2541" y="1959"/>
                  <a:pt x="2540" y="1959"/>
                  <a:pt x="2540" y="1959"/>
                </a:cubicBezTo>
                <a:cubicBezTo>
                  <a:pt x="2540" y="1959"/>
                  <a:pt x="2539" y="1959"/>
                  <a:pt x="2539" y="1959"/>
                </a:cubicBezTo>
                <a:cubicBezTo>
                  <a:pt x="2539" y="1960"/>
                  <a:pt x="2539" y="1960"/>
                  <a:pt x="2539" y="1961"/>
                </a:cubicBezTo>
                <a:cubicBezTo>
                  <a:pt x="2538" y="1961"/>
                  <a:pt x="2538" y="1961"/>
                  <a:pt x="2538" y="1961"/>
                </a:cubicBezTo>
                <a:cubicBezTo>
                  <a:pt x="2537" y="1961"/>
                  <a:pt x="2537" y="1960"/>
                  <a:pt x="2537" y="1960"/>
                </a:cubicBezTo>
                <a:cubicBezTo>
                  <a:pt x="2536" y="1960"/>
                  <a:pt x="2536" y="1962"/>
                  <a:pt x="2536" y="1962"/>
                </a:cubicBezTo>
                <a:cubicBezTo>
                  <a:pt x="2536" y="1963"/>
                  <a:pt x="2536" y="1962"/>
                  <a:pt x="2537" y="1962"/>
                </a:cubicBezTo>
                <a:cubicBezTo>
                  <a:pt x="2538" y="1962"/>
                  <a:pt x="2537" y="1963"/>
                  <a:pt x="2537" y="1964"/>
                </a:cubicBezTo>
                <a:cubicBezTo>
                  <a:pt x="2537" y="1964"/>
                  <a:pt x="2538" y="1964"/>
                  <a:pt x="2538" y="1965"/>
                </a:cubicBezTo>
                <a:cubicBezTo>
                  <a:pt x="2538" y="1965"/>
                  <a:pt x="2539" y="1965"/>
                  <a:pt x="2539" y="1965"/>
                </a:cubicBezTo>
                <a:cubicBezTo>
                  <a:pt x="2539" y="1966"/>
                  <a:pt x="2540" y="1966"/>
                  <a:pt x="2541" y="1965"/>
                </a:cubicBezTo>
                <a:cubicBezTo>
                  <a:pt x="2542" y="1965"/>
                  <a:pt x="2543" y="1965"/>
                  <a:pt x="2543" y="1965"/>
                </a:cubicBezTo>
                <a:cubicBezTo>
                  <a:pt x="2543" y="1965"/>
                  <a:pt x="2543" y="1965"/>
                  <a:pt x="2544" y="1965"/>
                </a:cubicBezTo>
                <a:cubicBezTo>
                  <a:pt x="2544" y="1965"/>
                  <a:pt x="2544" y="1965"/>
                  <a:pt x="2544" y="1965"/>
                </a:cubicBezTo>
                <a:cubicBezTo>
                  <a:pt x="2545" y="1965"/>
                  <a:pt x="2544" y="1964"/>
                  <a:pt x="2544" y="1964"/>
                </a:cubicBezTo>
                <a:cubicBezTo>
                  <a:pt x="2544" y="1964"/>
                  <a:pt x="2544" y="1964"/>
                  <a:pt x="2544" y="1964"/>
                </a:cubicBezTo>
                <a:cubicBezTo>
                  <a:pt x="2544" y="1963"/>
                  <a:pt x="2544" y="1962"/>
                  <a:pt x="2545" y="1962"/>
                </a:cubicBezTo>
                <a:close/>
                <a:moveTo>
                  <a:pt x="2538" y="1853"/>
                </a:moveTo>
                <a:cubicBezTo>
                  <a:pt x="2538" y="1854"/>
                  <a:pt x="2539" y="1854"/>
                  <a:pt x="2539" y="1854"/>
                </a:cubicBezTo>
                <a:cubicBezTo>
                  <a:pt x="2539" y="1854"/>
                  <a:pt x="2539" y="1853"/>
                  <a:pt x="2539" y="1853"/>
                </a:cubicBezTo>
                <a:cubicBezTo>
                  <a:pt x="2539" y="1853"/>
                  <a:pt x="2539" y="1853"/>
                  <a:pt x="2539" y="1853"/>
                </a:cubicBezTo>
                <a:cubicBezTo>
                  <a:pt x="2539" y="1852"/>
                  <a:pt x="2538" y="1853"/>
                  <a:pt x="2538" y="1853"/>
                </a:cubicBezTo>
                <a:close/>
                <a:moveTo>
                  <a:pt x="2542" y="1842"/>
                </a:moveTo>
                <a:cubicBezTo>
                  <a:pt x="2542" y="1842"/>
                  <a:pt x="2543" y="1841"/>
                  <a:pt x="2542" y="1841"/>
                </a:cubicBezTo>
                <a:cubicBezTo>
                  <a:pt x="2542" y="1841"/>
                  <a:pt x="2541" y="1841"/>
                  <a:pt x="2541" y="1841"/>
                </a:cubicBezTo>
                <a:cubicBezTo>
                  <a:pt x="2540" y="1842"/>
                  <a:pt x="2540" y="1842"/>
                  <a:pt x="2540" y="1842"/>
                </a:cubicBezTo>
                <a:cubicBezTo>
                  <a:pt x="2539" y="1843"/>
                  <a:pt x="2540" y="1843"/>
                  <a:pt x="2540" y="1844"/>
                </a:cubicBezTo>
                <a:cubicBezTo>
                  <a:pt x="2540" y="1845"/>
                  <a:pt x="2540" y="1846"/>
                  <a:pt x="2539" y="1846"/>
                </a:cubicBezTo>
                <a:cubicBezTo>
                  <a:pt x="2539" y="1846"/>
                  <a:pt x="2538" y="1847"/>
                  <a:pt x="2538" y="1848"/>
                </a:cubicBezTo>
                <a:cubicBezTo>
                  <a:pt x="2538" y="1848"/>
                  <a:pt x="2539" y="1849"/>
                  <a:pt x="2539" y="1849"/>
                </a:cubicBezTo>
                <a:cubicBezTo>
                  <a:pt x="2540" y="1849"/>
                  <a:pt x="2540" y="1850"/>
                  <a:pt x="2539" y="1850"/>
                </a:cubicBezTo>
                <a:cubicBezTo>
                  <a:pt x="2539" y="1850"/>
                  <a:pt x="2539" y="1850"/>
                  <a:pt x="2539" y="1850"/>
                </a:cubicBezTo>
                <a:cubicBezTo>
                  <a:pt x="2539" y="1850"/>
                  <a:pt x="2539" y="1851"/>
                  <a:pt x="2539" y="1851"/>
                </a:cubicBezTo>
                <a:cubicBezTo>
                  <a:pt x="2539" y="1851"/>
                  <a:pt x="2539" y="1851"/>
                  <a:pt x="2540" y="1852"/>
                </a:cubicBezTo>
                <a:cubicBezTo>
                  <a:pt x="2540" y="1853"/>
                  <a:pt x="2540" y="1851"/>
                  <a:pt x="2541" y="1851"/>
                </a:cubicBezTo>
                <a:cubicBezTo>
                  <a:pt x="2541" y="1850"/>
                  <a:pt x="2541" y="1850"/>
                  <a:pt x="2541" y="1849"/>
                </a:cubicBezTo>
                <a:cubicBezTo>
                  <a:pt x="2541" y="1848"/>
                  <a:pt x="2541" y="1848"/>
                  <a:pt x="2542" y="1847"/>
                </a:cubicBezTo>
                <a:cubicBezTo>
                  <a:pt x="2542" y="1846"/>
                  <a:pt x="2542" y="1844"/>
                  <a:pt x="2542" y="1842"/>
                </a:cubicBezTo>
                <a:close/>
                <a:moveTo>
                  <a:pt x="2565" y="1843"/>
                </a:moveTo>
                <a:cubicBezTo>
                  <a:pt x="2565" y="1842"/>
                  <a:pt x="2564" y="1842"/>
                  <a:pt x="2564" y="1842"/>
                </a:cubicBezTo>
                <a:cubicBezTo>
                  <a:pt x="2563" y="1842"/>
                  <a:pt x="2564" y="1845"/>
                  <a:pt x="2564" y="1845"/>
                </a:cubicBezTo>
                <a:cubicBezTo>
                  <a:pt x="2565" y="1845"/>
                  <a:pt x="2564" y="1846"/>
                  <a:pt x="2565" y="1846"/>
                </a:cubicBezTo>
                <a:cubicBezTo>
                  <a:pt x="2565" y="1847"/>
                  <a:pt x="2565" y="1847"/>
                  <a:pt x="2564" y="1847"/>
                </a:cubicBezTo>
                <a:cubicBezTo>
                  <a:pt x="2564" y="1847"/>
                  <a:pt x="2564" y="1847"/>
                  <a:pt x="2564" y="1847"/>
                </a:cubicBezTo>
                <a:cubicBezTo>
                  <a:pt x="2563" y="1847"/>
                  <a:pt x="2564" y="1848"/>
                  <a:pt x="2564" y="1849"/>
                </a:cubicBezTo>
                <a:cubicBezTo>
                  <a:pt x="2564" y="1849"/>
                  <a:pt x="2563" y="1850"/>
                  <a:pt x="2564" y="1850"/>
                </a:cubicBezTo>
                <a:cubicBezTo>
                  <a:pt x="2564" y="1850"/>
                  <a:pt x="2564" y="1849"/>
                  <a:pt x="2565" y="1849"/>
                </a:cubicBezTo>
                <a:cubicBezTo>
                  <a:pt x="2565" y="1849"/>
                  <a:pt x="2564" y="1851"/>
                  <a:pt x="2564" y="1851"/>
                </a:cubicBezTo>
                <a:cubicBezTo>
                  <a:pt x="2564" y="1852"/>
                  <a:pt x="2564" y="1852"/>
                  <a:pt x="2563" y="1852"/>
                </a:cubicBezTo>
                <a:cubicBezTo>
                  <a:pt x="2563" y="1853"/>
                  <a:pt x="2563" y="1853"/>
                  <a:pt x="2563" y="1854"/>
                </a:cubicBezTo>
                <a:cubicBezTo>
                  <a:pt x="2563" y="1854"/>
                  <a:pt x="2562" y="1856"/>
                  <a:pt x="2563" y="1856"/>
                </a:cubicBezTo>
                <a:cubicBezTo>
                  <a:pt x="2564" y="1855"/>
                  <a:pt x="2564" y="1854"/>
                  <a:pt x="2565" y="1853"/>
                </a:cubicBezTo>
                <a:cubicBezTo>
                  <a:pt x="2565" y="1853"/>
                  <a:pt x="2566" y="1852"/>
                  <a:pt x="2566" y="1852"/>
                </a:cubicBezTo>
                <a:cubicBezTo>
                  <a:pt x="2567" y="1851"/>
                  <a:pt x="2567" y="1851"/>
                  <a:pt x="2567" y="1850"/>
                </a:cubicBezTo>
                <a:cubicBezTo>
                  <a:pt x="2568" y="1850"/>
                  <a:pt x="2569" y="1850"/>
                  <a:pt x="2569" y="1850"/>
                </a:cubicBezTo>
                <a:cubicBezTo>
                  <a:pt x="2570" y="1850"/>
                  <a:pt x="2570" y="1851"/>
                  <a:pt x="2570" y="1851"/>
                </a:cubicBezTo>
                <a:cubicBezTo>
                  <a:pt x="2571" y="1851"/>
                  <a:pt x="2571" y="1852"/>
                  <a:pt x="2571" y="1852"/>
                </a:cubicBezTo>
                <a:cubicBezTo>
                  <a:pt x="2572" y="1853"/>
                  <a:pt x="2572" y="1853"/>
                  <a:pt x="2572" y="1853"/>
                </a:cubicBezTo>
                <a:cubicBezTo>
                  <a:pt x="2573" y="1854"/>
                  <a:pt x="2573" y="1854"/>
                  <a:pt x="2573" y="1855"/>
                </a:cubicBezTo>
                <a:cubicBezTo>
                  <a:pt x="2573" y="1855"/>
                  <a:pt x="2573" y="1855"/>
                  <a:pt x="2574" y="1856"/>
                </a:cubicBezTo>
                <a:cubicBezTo>
                  <a:pt x="2575" y="1856"/>
                  <a:pt x="2576" y="1856"/>
                  <a:pt x="2577" y="1857"/>
                </a:cubicBezTo>
                <a:cubicBezTo>
                  <a:pt x="2578" y="1857"/>
                  <a:pt x="2579" y="1858"/>
                  <a:pt x="2579" y="1858"/>
                </a:cubicBezTo>
                <a:cubicBezTo>
                  <a:pt x="2579" y="1859"/>
                  <a:pt x="2580" y="1860"/>
                  <a:pt x="2580" y="1860"/>
                </a:cubicBezTo>
                <a:cubicBezTo>
                  <a:pt x="2580" y="1859"/>
                  <a:pt x="2580" y="1859"/>
                  <a:pt x="2580" y="1858"/>
                </a:cubicBezTo>
                <a:cubicBezTo>
                  <a:pt x="2580" y="1858"/>
                  <a:pt x="2580" y="1857"/>
                  <a:pt x="2580" y="1857"/>
                </a:cubicBezTo>
                <a:cubicBezTo>
                  <a:pt x="2580" y="1856"/>
                  <a:pt x="2579" y="1856"/>
                  <a:pt x="2579" y="1855"/>
                </a:cubicBezTo>
                <a:cubicBezTo>
                  <a:pt x="2579" y="1854"/>
                  <a:pt x="2579" y="1854"/>
                  <a:pt x="2579" y="1853"/>
                </a:cubicBezTo>
                <a:cubicBezTo>
                  <a:pt x="2578" y="1852"/>
                  <a:pt x="2577" y="1851"/>
                  <a:pt x="2577" y="1850"/>
                </a:cubicBezTo>
                <a:cubicBezTo>
                  <a:pt x="2577" y="1850"/>
                  <a:pt x="2576" y="1850"/>
                  <a:pt x="2576" y="1850"/>
                </a:cubicBezTo>
                <a:cubicBezTo>
                  <a:pt x="2576" y="1850"/>
                  <a:pt x="2575" y="1850"/>
                  <a:pt x="2575" y="1849"/>
                </a:cubicBezTo>
                <a:cubicBezTo>
                  <a:pt x="2575" y="1849"/>
                  <a:pt x="2575" y="1850"/>
                  <a:pt x="2575" y="1850"/>
                </a:cubicBezTo>
                <a:cubicBezTo>
                  <a:pt x="2574" y="1851"/>
                  <a:pt x="2573" y="1848"/>
                  <a:pt x="2573" y="1847"/>
                </a:cubicBezTo>
                <a:cubicBezTo>
                  <a:pt x="2572" y="1847"/>
                  <a:pt x="2572" y="1847"/>
                  <a:pt x="2571" y="1847"/>
                </a:cubicBezTo>
                <a:cubicBezTo>
                  <a:pt x="2571" y="1847"/>
                  <a:pt x="2571" y="1846"/>
                  <a:pt x="2571" y="1846"/>
                </a:cubicBezTo>
                <a:cubicBezTo>
                  <a:pt x="2570" y="1845"/>
                  <a:pt x="2570" y="1845"/>
                  <a:pt x="2569" y="1845"/>
                </a:cubicBezTo>
                <a:cubicBezTo>
                  <a:pt x="2569" y="1845"/>
                  <a:pt x="2568" y="1844"/>
                  <a:pt x="2568" y="1844"/>
                </a:cubicBezTo>
                <a:cubicBezTo>
                  <a:pt x="2567" y="1844"/>
                  <a:pt x="2567" y="1844"/>
                  <a:pt x="2566" y="1844"/>
                </a:cubicBezTo>
                <a:cubicBezTo>
                  <a:pt x="2566" y="1844"/>
                  <a:pt x="2566" y="1845"/>
                  <a:pt x="2566" y="1845"/>
                </a:cubicBezTo>
                <a:cubicBezTo>
                  <a:pt x="2565" y="1846"/>
                  <a:pt x="2566" y="1843"/>
                  <a:pt x="2566" y="1843"/>
                </a:cubicBezTo>
                <a:cubicBezTo>
                  <a:pt x="2566" y="1843"/>
                  <a:pt x="2565" y="1843"/>
                  <a:pt x="2565" y="1843"/>
                </a:cubicBezTo>
                <a:close/>
                <a:moveTo>
                  <a:pt x="2587" y="1864"/>
                </a:moveTo>
                <a:cubicBezTo>
                  <a:pt x="2588" y="1865"/>
                  <a:pt x="2589" y="1864"/>
                  <a:pt x="2589" y="1864"/>
                </a:cubicBezTo>
                <a:cubicBezTo>
                  <a:pt x="2590" y="1864"/>
                  <a:pt x="2591" y="1864"/>
                  <a:pt x="2591" y="1864"/>
                </a:cubicBezTo>
                <a:cubicBezTo>
                  <a:pt x="2591" y="1863"/>
                  <a:pt x="2590" y="1862"/>
                  <a:pt x="2589" y="1862"/>
                </a:cubicBezTo>
                <a:cubicBezTo>
                  <a:pt x="2589" y="1861"/>
                  <a:pt x="2589" y="1860"/>
                  <a:pt x="2588" y="1860"/>
                </a:cubicBezTo>
                <a:cubicBezTo>
                  <a:pt x="2588" y="1860"/>
                  <a:pt x="2586" y="1860"/>
                  <a:pt x="2586" y="1860"/>
                </a:cubicBezTo>
                <a:cubicBezTo>
                  <a:pt x="2585" y="1861"/>
                  <a:pt x="2586" y="1862"/>
                  <a:pt x="2586" y="1862"/>
                </a:cubicBezTo>
                <a:cubicBezTo>
                  <a:pt x="2586" y="1863"/>
                  <a:pt x="2587" y="1863"/>
                  <a:pt x="2587" y="1864"/>
                </a:cubicBezTo>
                <a:close/>
                <a:moveTo>
                  <a:pt x="2582" y="1830"/>
                </a:moveTo>
                <a:cubicBezTo>
                  <a:pt x="2583" y="1830"/>
                  <a:pt x="2582" y="1830"/>
                  <a:pt x="2582" y="1829"/>
                </a:cubicBezTo>
                <a:cubicBezTo>
                  <a:pt x="2581" y="1829"/>
                  <a:pt x="2580" y="1829"/>
                  <a:pt x="2580" y="1830"/>
                </a:cubicBezTo>
                <a:cubicBezTo>
                  <a:pt x="2580" y="1830"/>
                  <a:pt x="2581" y="1830"/>
                  <a:pt x="2581" y="1830"/>
                </a:cubicBezTo>
                <a:cubicBezTo>
                  <a:pt x="2581" y="1830"/>
                  <a:pt x="2582" y="1831"/>
                  <a:pt x="2582" y="1830"/>
                </a:cubicBezTo>
                <a:close/>
                <a:moveTo>
                  <a:pt x="2584" y="1882"/>
                </a:moveTo>
                <a:cubicBezTo>
                  <a:pt x="2585" y="1882"/>
                  <a:pt x="2585" y="1882"/>
                  <a:pt x="2585" y="1882"/>
                </a:cubicBezTo>
                <a:cubicBezTo>
                  <a:pt x="2586" y="1882"/>
                  <a:pt x="2586" y="1881"/>
                  <a:pt x="2586" y="1881"/>
                </a:cubicBezTo>
                <a:cubicBezTo>
                  <a:pt x="2586" y="1881"/>
                  <a:pt x="2585" y="1879"/>
                  <a:pt x="2585" y="1880"/>
                </a:cubicBezTo>
                <a:cubicBezTo>
                  <a:pt x="2585" y="1880"/>
                  <a:pt x="2585" y="1881"/>
                  <a:pt x="2585" y="1881"/>
                </a:cubicBezTo>
                <a:cubicBezTo>
                  <a:pt x="2585" y="1881"/>
                  <a:pt x="2584" y="1882"/>
                  <a:pt x="2584" y="1882"/>
                </a:cubicBezTo>
                <a:close/>
                <a:moveTo>
                  <a:pt x="2585" y="1859"/>
                </a:moveTo>
                <a:cubicBezTo>
                  <a:pt x="2586" y="1858"/>
                  <a:pt x="2585" y="1857"/>
                  <a:pt x="2584" y="1858"/>
                </a:cubicBezTo>
                <a:cubicBezTo>
                  <a:pt x="2584" y="1858"/>
                  <a:pt x="2585" y="1859"/>
                  <a:pt x="2585" y="1859"/>
                </a:cubicBezTo>
                <a:close/>
                <a:moveTo>
                  <a:pt x="2583" y="1853"/>
                </a:moveTo>
                <a:cubicBezTo>
                  <a:pt x="2583" y="1852"/>
                  <a:pt x="2582" y="1852"/>
                  <a:pt x="2582" y="1853"/>
                </a:cubicBezTo>
                <a:cubicBezTo>
                  <a:pt x="2582" y="1853"/>
                  <a:pt x="2583" y="1853"/>
                  <a:pt x="2583" y="1853"/>
                </a:cubicBezTo>
                <a:close/>
                <a:moveTo>
                  <a:pt x="2565" y="1838"/>
                </a:moveTo>
                <a:cubicBezTo>
                  <a:pt x="2564" y="1838"/>
                  <a:pt x="2564" y="1837"/>
                  <a:pt x="2564" y="1837"/>
                </a:cubicBezTo>
                <a:cubicBezTo>
                  <a:pt x="2564" y="1836"/>
                  <a:pt x="2563" y="1836"/>
                  <a:pt x="2563" y="1836"/>
                </a:cubicBezTo>
                <a:cubicBezTo>
                  <a:pt x="2562" y="1836"/>
                  <a:pt x="2562" y="1835"/>
                  <a:pt x="2562" y="1835"/>
                </a:cubicBezTo>
                <a:cubicBezTo>
                  <a:pt x="2562" y="1834"/>
                  <a:pt x="2561" y="1833"/>
                  <a:pt x="2560" y="1833"/>
                </a:cubicBezTo>
                <a:cubicBezTo>
                  <a:pt x="2560" y="1832"/>
                  <a:pt x="2560" y="1831"/>
                  <a:pt x="2559" y="1831"/>
                </a:cubicBezTo>
                <a:cubicBezTo>
                  <a:pt x="2559" y="1831"/>
                  <a:pt x="2558" y="1831"/>
                  <a:pt x="2558" y="1832"/>
                </a:cubicBezTo>
                <a:cubicBezTo>
                  <a:pt x="2558" y="1832"/>
                  <a:pt x="2558" y="1832"/>
                  <a:pt x="2558" y="1832"/>
                </a:cubicBezTo>
                <a:cubicBezTo>
                  <a:pt x="2558" y="1833"/>
                  <a:pt x="2558" y="1833"/>
                  <a:pt x="2558" y="1833"/>
                </a:cubicBezTo>
                <a:cubicBezTo>
                  <a:pt x="2558" y="1833"/>
                  <a:pt x="2558" y="1834"/>
                  <a:pt x="2558" y="1834"/>
                </a:cubicBezTo>
                <a:cubicBezTo>
                  <a:pt x="2559" y="1834"/>
                  <a:pt x="2560" y="1834"/>
                  <a:pt x="2561" y="1835"/>
                </a:cubicBezTo>
                <a:cubicBezTo>
                  <a:pt x="2561" y="1835"/>
                  <a:pt x="2561" y="1836"/>
                  <a:pt x="2561" y="1836"/>
                </a:cubicBezTo>
                <a:cubicBezTo>
                  <a:pt x="2562" y="1836"/>
                  <a:pt x="2562" y="1836"/>
                  <a:pt x="2562" y="1837"/>
                </a:cubicBezTo>
                <a:cubicBezTo>
                  <a:pt x="2563" y="1837"/>
                  <a:pt x="2563" y="1837"/>
                  <a:pt x="2563" y="1837"/>
                </a:cubicBezTo>
                <a:cubicBezTo>
                  <a:pt x="2564" y="1837"/>
                  <a:pt x="2564" y="1838"/>
                  <a:pt x="2564" y="1838"/>
                </a:cubicBezTo>
                <a:cubicBezTo>
                  <a:pt x="2565" y="1839"/>
                  <a:pt x="2565" y="1839"/>
                  <a:pt x="2566" y="1840"/>
                </a:cubicBezTo>
                <a:cubicBezTo>
                  <a:pt x="2566" y="1839"/>
                  <a:pt x="2565" y="1839"/>
                  <a:pt x="2565" y="1838"/>
                </a:cubicBezTo>
                <a:close/>
                <a:moveTo>
                  <a:pt x="2588" y="1881"/>
                </a:moveTo>
                <a:cubicBezTo>
                  <a:pt x="2588" y="1881"/>
                  <a:pt x="2590" y="1881"/>
                  <a:pt x="2589" y="1880"/>
                </a:cubicBezTo>
                <a:cubicBezTo>
                  <a:pt x="2588" y="1880"/>
                  <a:pt x="2588" y="1880"/>
                  <a:pt x="2588" y="1880"/>
                </a:cubicBezTo>
                <a:cubicBezTo>
                  <a:pt x="2587" y="1879"/>
                  <a:pt x="2587" y="1880"/>
                  <a:pt x="2587" y="1881"/>
                </a:cubicBezTo>
                <a:cubicBezTo>
                  <a:pt x="2586" y="1882"/>
                  <a:pt x="2587" y="1881"/>
                  <a:pt x="2588" y="1881"/>
                </a:cubicBezTo>
                <a:close/>
                <a:moveTo>
                  <a:pt x="2552" y="1880"/>
                </a:moveTo>
                <a:cubicBezTo>
                  <a:pt x="2551" y="1880"/>
                  <a:pt x="2551" y="1881"/>
                  <a:pt x="2551" y="1881"/>
                </a:cubicBezTo>
                <a:cubicBezTo>
                  <a:pt x="2550" y="1882"/>
                  <a:pt x="2550" y="1883"/>
                  <a:pt x="2549" y="1883"/>
                </a:cubicBezTo>
                <a:cubicBezTo>
                  <a:pt x="2549" y="1884"/>
                  <a:pt x="2549" y="1885"/>
                  <a:pt x="2550" y="1885"/>
                </a:cubicBezTo>
                <a:cubicBezTo>
                  <a:pt x="2550" y="1886"/>
                  <a:pt x="2551" y="1885"/>
                  <a:pt x="2551" y="1885"/>
                </a:cubicBezTo>
                <a:cubicBezTo>
                  <a:pt x="2551" y="1885"/>
                  <a:pt x="2551" y="1885"/>
                  <a:pt x="2552" y="1885"/>
                </a:cubicBezTo>
                <a:cubicBezTo>
                  <a:pt x="2552" y="1885"/>
                  <a:pt x="2552" y="1885"/>
                  <a:pt x="2552" y="1885"/>
                </a:cubicBezTo>
                <a:cubicBezTo>
                  <a:pt x="2553" y="1885"/>
                  <a:pt x="2553" y="1884"/>
                  <a:pt x="2553" y="1883"/>
                </a:cubicBezTo>
                <a:cubicBezTo>
                  <a:pt x="2553" y="1883"/>
                  <a:pt x="2554" y="1882"/>
                  <a:pt x="2554" y="1881"/>
                </a:cubicBezTo>
                <a:cubicBezTo>
                  <a:pt x="2554" y="1880"/>
                  <a:pt x="2553" y="1879"/>
                  <a:pt x="2552" y="1880"/>
                </a:cubicBezTo>
                <a:close/>
                <a:moveTo>
                  <a:pt x="2576" y="1900"/>
                </a:moveTo>
                <a:cubicBezTo>
                  <a:pt x="2576" y="1900"/>
                  <a:pt x="2576" y="1901"/>
                  <a:pt x="2577" y="1902"/>
                </a:cubicBezTo>
                <a:cubicBezTo>
                  <a:pt x="2578" y="1902"/>
                  <a:pt x="2579" y="1902"/>
                  <a:pt x="2581" y="1902"/>
                </a:cubicBezTo>
                <a:cubicBezTo>
                  <a:pt x="2581" y="1902"/>
                  <a:pt x="2582" y="1902"/>
                  <a:pt x="2583" y="1902"/>
                </a:cubicBezTo>
                <a:cubicBezTo>
                  <a:pt x="2583" y="1902"/>
                  <a:pt x="2584" y="1902"/>
                  <a:pt x="2584" y="1902"/>
                </a:cubicBezTo>
                <a:cubicBezTo>
                  <a:pt x="2585" y="1902"/>
                  <a:pt x="2586" y="1902"/>
                  <a:pt x="2587" y="1901"/>
                </a:cubicBezTo>
                <a:cubicBezTo>
                  <a:pt x="2587" y="1900"/>
                  <a:pt x="2587" y="1900"/>
                  <a:pt x="2588" y="1899"/>
                </a:cubicBezTo>
                <a:cubicBezTo>
                  <a:pt x="2588" y="1899"/>
                  <a:pt x="2588" y="1899"/>
                  <a:pt x="2588" y="1899"/>
                </a:cubicBezTo>
                <a:cubicBezTo>
                  <a:pt x="2589" y="1898"/>
                  <a:pt x="2589" y="1899"/>
                  <a:pt x="2589" y="1899"/>
                </a:cubicBezTo>
                <a:cubicBezTo>
                  <a:pt x="2589" y="1900"/>
                  <a:pt x="2589" y="1900"/>
                  <a:pt x="2590" y="1899"/>
                </a:cubicBezTo>
                <a:cubicBezTo>
                  <a:pt x="2591" y="1899"/>
                  <a:pt x="2591" y="1898"/>
                  <a:pt x="2590" y="1897"/>
                </a:cubicBezTo>
                <a:cubicBezTo>
                  <a:pt x="2589" y="1897"/>
                  <a:pt x="2591" y="1896"/>
                  <a:pt x="2590" y="1895"/>
                </a:cubicBezTo>
                <a:cubicBezTo>
                  <a:pt x="2590" y="1895"/>
                  <a:pt x="2589" y="1895"/>
                  <a:pt x="2590" y="1894"/>
                </a:cubicBezTo>
                <a:cubicBezTo>
                  <a:pt x="2590" y="1894"/>
                  <a:pt x="2590" y="1894"/>
                  <a:pt x="2590" y="1893"/>
                </a:cubicBezTo>
                <a:cubicBezTo>
                  <a:pt x="2590" y="1893"/>
                  <a:pt x="2589" y="1893"/>
                  <a:pt x="2589" y="1893"/>
                </a:cubicBezTo>
                <a:cubicBezTo>
                  <a:pt x="2588" y="1893"/>
                  <a:pt x="2588" y="1893"/>
                  <a:pt x="2587" y="1892"/>
                </a:cubicBezTo>
                <a:cubicBezTo>
                  <a:pt x="2587" y="1892"/>
                  <a:pt x="2587" y="1892"/>
                  <a:pt x="2587" y="1891"/>
                </a:cubicBezTo>
                <a:cubicBezTo>
                  <a:pt x="2586" y="1891"/>
                  <a:pt x="2586" y="1892"/>
                  <a:pt x="2586" y="1892"/>
                </a:cubicBezTo>
                <a:cubicBezTo>
                  <a:pt x="2585" y="1891"/>
                  <a:pt x="2586" y="1891"/>
                  <a:pt x="2585" y="1891"/>
                </a:cubicBezTo>
                <a:cubicBezTo>
                  <a:pt x="2584" y="1891"/>
                  <a:pt x="2584" y="1891"/>
                  <a:pt x="2583" y="1891"/>
                </a:cubicBezTo>
                <a:cubicBezTo>
                  <a:pt x="2583" y="1891"/>
                  <a:pt x="2582" y="1891"/>
                  <a:pt x="2582" y="1891"/>
                </a:cubicBezTo>
                <a:cubicBezTo>
                  <a:pt x="2581" y="1892"/>
                  <a:pt x="2581" y="1892"/>
                  <a:pt x="2581" y="1892"/>
                </a:cubicBezTo>
                <a:cubicBezTo>
                  <a:pt x="2580" y="1893"/>
                  <a:pt x="2580" y="1894"/>
                  <a:pt x="2579" y="1894"/>
                </a:cubicBezTo>
                <a:cubicBezTo>
                  <a:pt x="2578" y="1895"/>
                  <a:pt x="2578" y="1895"/>
                  <a:pt x="2578" y="1895"/>
                </a:cubicBezTo>
                <a:cubicBezTo>
                  <a:pt x="2578" y="1896"/>
                  <a:pt x="2577" y="1896"/>
                  <a:pt x="2577" y="1896"/>
                </a:cubicBezTo>
                <a:cubicBezTo>
                  <a:pt x="2576" y="1896"/>
                  <a:pt x="2576" y="1897"/>
                  <a:pt x="2575" y="1897"/>
                </a:cubicBezTo>
                <a:cubicBezTo>
                  <a:pt x="2575" y="1897"/>
                  <a:pt x="2575" y="1898"/>
                  <a:pt x="2575" y="1898"/>
                </a:cubicBezTo>
                <a:cubicBezTo>
                  <a:pt x="2575" y="1900"/>
                  <a:pt x="2576" y="1899"/>
                  <a:pt x="2576" y="1900"/>
                </a:cubicBezTo>
                <a:close/>
                <a:moveTo>
                  <a:pt x="2594" y="1863"/>
                </a:moveTo>
                <a:cubicBezTo>
                  <a:pt x="2595" y="1864"/>
                  <a:pt x="2595" y="1862"/>
                  <a:pt x="2595" y="1862"/>
                </a:cubicBezTo>
                <a:cubicBezTo>
                  <a:pt x="2594" y="1862"/>
                  <a:pt x="2594" y="1861"/>
                  <a:pt x="2594" y="1861"/>
                </a:cubicBezTo>
                <a:cubicBezTo>
                  <a:pt x="2594" y="1861"/>
                  <a:pt x="2594" y="1859"/>
                  <a:pt x="2593" y="1859"/>
                </a:cubicBezTo>
                <a:cubicBezTo>
                  <a:pt x="2592" y="1859"/>
                  <a:pt x="2593" y="1861"/>
                  <a:pt x="2593" y="1861"/>
                </a:cubicBezTo>
                <a:cubicBezTo>
                  <a:pt x="2593" y="1861"/>
                  <a:pt x="2593" y="1861"/>
                  <a:pt x="2594" y="1861"/>
                </a:cubicBezTo>
                <a:cubicBezTo>
                  <a:pt x="2594" y="1862"/>
                  <a:pt x="2594" y="1862"/>
                  <a:pt x="2594" y="1862"/>
                </a:cubicBezTo>
                <a:cubicBezTo>
                  <a:pt x="2594" y="1862"/>
                  <a:pt x="2594" y="1863"/>
                  <a:pt x="2594" y="1863"/>
                </a:cubicBezTo>
                <a:close/>
                <a:moveTo>
                  <a:pt x="2557" y="1805"/>
                </a:moveTo>
                <a:cubicBezTo>
                  <a:pt x="2557" y="1805"/>
                  <a:pt x="2558" y="1806"/>
                  <a:pt x="2558" y="1806"/>
                </a:cubicBezTo>
                <a:cubicBezTo>
                  <a:pt x="2558" y="1807"/>
                  <a:pt x="2559" y="1806"/>
                  <a:pt x="2559" y="1806"/>
                </a:cubicBezTo>
                <a:cubicBezTo>
                  <a:pt x="2558" y="1806"/>
                  <a:pt x="2558" y="1806"/>
                  <a:pt x="2558" y="1806"/>
                </a:cubicBezTo>
                <a:cubicBezTo>
                  <a:pt x="2558" y="1805"/>
                  <a:pt x="2558" y="1805"/>
                  <a:pt x="2558" y="1805"/>
                </a:cubicBezTo>
                <a:cubicBezTo>
                  <a:pt x="2558" y="1804"/>
                  <a:pt x="2557" y="1805"/>
                  <a:pt x="2557" y="1805"/>
                </a:cubicBezTo>
                <a:close/>
                <a:moveTo>
                  <a:pt x="2543" y="1796"/>
                </a:moveTo>
                <a:cubicBezTo>
                  <a:pt x="2542" y="1796"/>
                  <a:pt x="2542" y="1796"/>
                  <a:pt x="2542" y="1797"/>
                </a:cubicBezTo>
                <a:cubicBezTo>
                  <a:pt x="2542" y="1797"/>
                  <a:pt x="2543" y="1796"/>
                  <a:pt x="2543" y="1796"/>
                </a:cubicBezTo>
                <a:close/>
                <a:moveTo>
                  <a:pt x="2580" y="1820"/>
                </a:moveTo>
                <a:cubicBezTo>
                  <a:pt x="2580" y="1820"/>
                  <a:pt x="2579" y="1821"/>
                  <a:pt x="2579" y="1821"/>
                </a:cubicBezTo>
                <a:cubicBezTo>
                  <a:pt x="2579" y="1822"/>
                  <a:pt x="2579" y="1822"/>
                  <a:pt x="2580" y="1822"/>
                </a:cubicBezTo>
                <a:cubicBezTo>
                  <a:pt x="2581" y="1822"/>
                  <a:pt x="2581" y="1823"/>
                  <a:pt x="2582" y="1823"/>
                </a:cubicBezTo>
                <a:cubicBezTo>
                  <a:pt x="2583" y="1824"/>
                  <a:pt x="2583" y="1823"/>
                  <a:pt x="2583" y="1822"/>
                </a:cubicBezTo>
                <a:cubicBezTo>
                  <a:pt x="2584" y="1822"/>
                  <a:pt x="2584" y="1823"/>
                  <a:pt x="2584" y="1823"/>
                </a:cubicBezTo>
                <a:cubicBezTo>
                  <a:pt x="2585" y="1822"/>
                  <a:pt x="2585" y="1821"/>
                  <a:pt x="2585" y="1821"/>
                </a:cubicBezTo>
                <a:cubicBezTo>
                  <a:pt x="2585" y="1821"/>
                  <a:pt x="2586" y="1821"/>
                  <a:pt x="2586" y="1821"/>
                </a:cubicBezTo>
                <a:cubicBezTo>
                  <a:pt x="2586" y="1820"/>
                  <a:pt x="2586" y="1820"/>
                  <a:pt x="2586" y="1820"/>
                </a:cubicBezTo>
                <a:cubicBezTo>
                  <a:pt x="2586" y="1819"/>
                  <a:pt x="2586" y="1819"/>
                  <a:pt x="2586" y="1818"/>
                </a:cubicBezTo>
                <a:cubicBezTo>
                  <a:pt x="2586" y="1818"/>
                  <a:pt x="2586" y="1818"/>
                  <a:pt x="2586" y="1818"/>
                </a:cubicBezTo>
                <a:cubicBezTo>
                  <a:pt x="2586" y="1817"/>
                  <a:pt x="2586" y="1817"/>
                  <a:pt x="2586" y="1816"/>
                </a:cubicBezTo>
                <a:cubicBezTo>
                  <a:pt x="2586" y="1816"/>
                  <a:pt x="2585" y="1816"/>
                  <a:pt x="2585" y="1816"/>
                </a:cubicBezTo>
                <a:cubicBezTo>
                  <a:pt x="2585" y="1816"/>
                  <a:pt x="2585" y="1814"/>
                  <a:pt x="2584" y="1815"/>
                </a:cubicBezTo>
                <a:cubicBezTo>
                  <a:pt x="2584" y="1815"/>
                  <a:pt x="2585" y="1816"/>
                  <a:pt x="2584" y="1816"/>
                </a:cubicBezTo>
                <a:cubicBezTo>
                  <a:pt x="2584" y="1816"/>
                  <a:pt x="2584" y="1814"/>
                  <a:pt x="2583" y="1814"/>
                </a:cubicBezTo>
                <a:cubicBezTo>
                  <a:pt x="2583" y="1813"/>
                  <a:pt x="2583" y="1812"/>
                  <a:pt x="2582" y="1813"/>
                </a:cubicBezTo>
                <a:cubicBezTo>
                  <a:pt x="2581" y="1813"/>
                  <a:pt x="2581" y="1813"/>
                  <a:pt x="2581" y="1814"/>
                </a:cubicBezTo>
                <a:cubicBezTo>
                  <a:pt x="2581" y="1815"/>
                  <a:pt x="2581" y="1815"/>
                  <a:pt x="2581" y="1815"/>
                </a:cubicBezTo>
                <a:cubicBezTo>
                  <a:pt x="2581" y="1816"/>
                  <a:pt x="2581" y="1816"/>
                  <a:pt x="2581" y="1817"/>
                </a:cubicBezTo>
                <a:cubicBezTo>
                  <a:pt x="2581" y="1818"/>
                  <a:pt x="2581" y="1819"/>
                  <a:pt x="2580" y="1820"/>
                </a:cubicBezTo>
                <a:close/>
                <a:moveTo>
                  <a:pt x="2575" y="1815"/>
                </a:moveTo>
                <a:cubicBezTo>
                  <a:pt x="2574" y="1815"/>
                  <a:pt x="2575" y="1816"/>
                  <a:pt x="2575" y="1816"/>
                </a:cubicBezTo>
                <a:cubicBezTo>
                  <a:pt x="2575" y="1816"/>
                  <a:pt x="2575" y="1815"/>
                  <a:pt x="2575" y="1815"/>
                </a:cubicBezTo>
                <a:close/>
                <a:moveTo>
                  <a:pt x="2545" y="1798"/>
                </a:moveTo>
                <a:cubicBezTo>
                  <a:pt x="2545" y="1798"/>
                  <a:pt x="2544" y="1798"/>
                  <a:pt x="2544" y="1798"/>
                </a:cubicBezTo>
                <a:cubicBezTo>
                  <a:pt x="2544" y="1799"/>
                  <a:pt x="2544" y="1799"/>
                  <a:pt x="2543" y="1798"/>
                </a:cubicBezTo>
                <a:cubicBezTo>
                  <a:pt x="2543" y="1797"/>
                  <a:pt x="2542" y="1797"/>
                  <a:pt x="2541" y="1798"/>
                </a:cubicBezTo>
                <a:cubicBezTo>
                  <a:pt x="2541" y="1798"/>
                  <a:pt x="2541" y="1798"/>
                  <a:pt x="2541" y="1798"/>
                </a:cubicBezTo>
                <a:cubicBezTo>
                  <a:pt x="2542" y="1799"/>
                  <a:pt x="2543" y="1799"/>
                  <a:pt x="2544" y="1799"/>
                </a:cubicBezTo>
                <a:cubicBezTo>
                  <a:pt x="2544" y="1800"/>
                  <a:pt x="2545" y="1799"/>
                  <a:pt x="2545" y="1798"/>
                </a:cubicBezTo>
                <a:close/>
                <a:moveTo>
                  <a:pt x="2497" y="1771"/>
                </a:moveTo>
                <a:cubicBezTo>
                  <a:pt x="2497" y="1771"/>
                  <a:pt x="2497" y="1772"/>
                  <a:pt x="2497" y="1772"/>
                </a:cubicBezTo>
                <a:cubicBezTo>
                  <a:pt x="2497" y="1773"/>
                  <a:pt x="2497" y="1774"/>
                  <a:pt x="2497" y="1775"/>
                </a:cubicBezTo>
                <a:cubicBezTo>
                  <a:pt x="2497" y="1775"/>
                  <a:pt x="2496" y="1777"/>
                  <a:pt x="2497" y="1776"/>
                </a:cubicBezTo>
                <a:cubicBezTo>
                  <a:pt x="2497" y="1776"/>
                  <a:pt x="2497" y="1775"/>
                  <a:pt x="2498" y="1775"/>
                </a:cubicBezTo>
                <a:cubicBezTo>
                  <a:pt x="2498" y="1775"/>
                  <a:pt x="2499" y="1775"/>
                  <a:pt x="2499" y="1776"/>
                </a:cubicBezTo>
                <a:cubicBezTo>
                  <a:pt x="2499" y="1777"/>
                  <a:pt x="2499" y="1778"/>
                  <a:pt x="2499" y="1779"/>
                </a:cubicBezTo>
                <a:cubicBezTo>
                  <a:pt x="2499" y="1780"/>
                  <a:pt x="2499" y="1780"/>
                  <a:pt x="2499" y="1780"/>
                </a:cubicBezTo>
                <a:cubicBezTo>
                  <a:pt x="2500" y="1781"/>
                  <a:pt x="2499" y="1781"/>
                  <a:pt x="2499" y="1782"/>
                </a:cubicBezTo>
                <a:cubicBezTo>
                  <a:pt x="2499" y="1783"/>
                  <a:pt x="2501" y="1784"/>
                  <a:pt x="2500" y="1785"/>
                </a:cubicBezTo>
                <a:cubicBezTo>
                  <a:pt x="2498" y="1785"/>
                  <a:pt x="2501" y="1787"/>
                  <a:pt x="2501" y="1788"/>
                </a:cubicBezTo>
                <a:cubicBezTo>
                  <a:pt x="2503" y="1791"/>
                  <a:pt x="2501" y="1796"/>
                  <a:pt x="2503" y="1799"/>
                </a:cubicBezTo>
                <a:cubicBezTo>
                  <a:pt x="2504" y="1799"/>
                  <a:pt x="2504" y="1800"/>
                  <a:pt x="2505" y="1799"/>
                </a:cubicBezTo>
                <a:cubicBezTo>
                  <a:pt x="2505" y="1799"/>
                  <a:pt x="2505" y="1798"/>
                  <a:pt x="2505" y="1798"/>
                </a:cubicBezTo>
                <a:cubicBezTo>
                  <a:pt x="2505" y="1798"/>
                  <a:pt x="2505" y="1797"/>
                  <a:pt x="2505" y="1797"/>
                </a:cubicBezTo>
                <a:cubicBezTo>
                  <a:pt x="2506" y="1797"/>
                  <a:pt x="2506" y="1798"/>
                  <a:pt x="2506" y="1798"/>
                </a:cubicBezTo>
                <a:cubicBezTo>
                  <a:pt x="2506" y="1799"/>
                  <a:pt x="2506" y="1801"/>
                  <a:pt x="2507" y="1801"/>
                </a:cubicBezTo>
                <a:cubicBezTo>
                  <a:pt x="2507" y="1802"/>
                  <a:pt x="2509" y="1802"/>
                  <a:pt x="2508" y="1803"/>
                </a:cubicBezTo>
                <a:cubicBezTo>
                  <a:pt x="2508" y="1804"/>
                  <a:pt x="2508" y="1804"/>
                  <a:pt x="2508" y="1805"/>
                </a:cubicBezTo>
                <a:cubicBezTo>
                  <a:pt x="2508" y="1805"/>
                  <a:pt x="2509" y="1805"/>
                  <a:pt x="2509" y="1805"/>
                </a:cubicBezTo>
                <a:cubicBezTo>
                  <a:pt x="2510" y="1806"/>
                  <a:pt x="2510" y="1806"/>
                  <a:pt x="2510" y="1806"/>
                </a:cubicBezTo>
                <a:cubicBezTo>
                  <a:pt x="2510" y="1806"/>
                  <a:pt x="2511" y="1806"/>
                  <a:pt x="2511" y="1806"/>
                </a:cubicBezTo>
                <a:cubicBezTo>
                  <a:pt x="2511" y="1806"/>
                  <a:pt x="2511" y="1806"/>
                  <a:pt x="2512" y="1806"/>
                </a:cubicBezTo>
                <a:cubicBezTo>
                  <a:pt x="2513" y="1805"/>
                  <a:pt x="2513" y="1805"/>
                  <a:pt x="2513" y="1804"/>
                </a:cubicBezTo>
                <a:cubicBezTo>
                  <a:pt x="2513" y="1803"/>
                  <a:pt x="2512" y="1802"/>
                  <a:pt x="2512" y="1801"/>
                </a:cubicBezTo>
                <a:cubicBezTo>
                  <a:pt x="2511" y="1801"/>
                  <a:pt x="2511" y="1799"/>
                  <a:pt x="2512" y="1798"/>
                </a:cubicBezTo>
                <a:cubicBezTo>
                  <a:pt x="2512" y="1797"/>
                  <a:pt x="2513" y="1799"/>
                  <a:pt x="2513" y="1799"/>
                </a:cubicBezTo>
                <a:cubicBezTo>
                  <a:pt x="2514" y="1800"/>
                  <a:pt x="2515" y="1799"/>
                  <a:pt x="2516" y="1799"/>
                </a:cubicBezTo>
                <a:cubicBezTo>
                  <a:pt x="2518" y="1799"/>
                  <a:pt x="2518" y="1800"/>
                  <a:pt x="2519" y="1801"/>
                </a:cubicBezTo>
                <a:cubicBezTo>
                  <a:pt x="2519" y="1803"/>
                  <a:pt x="2519" y="1804"/>
                  <a:pt x="2518" y="1805"/>
                </a:cubicBezTo>
                <a:cubicBezTo>
                  <a:pt x="2518" y="1805"/>
                  <a:pt x="2517" y="1806"/>
                  <a:pt x="2517" y="1806"/>
                </a:cubicBezTo>
                <a:cubicBezTo>
                  <a:pt x="2516" y="1807"/>
                  <a:pt x="2516" y="1807"/>
                  <a:pt x="2515" y="1808"/>
                </a:cubicBezTo>
                <a:cubicBezTo>
                  <a:pt x="2514" y="1809"/>
                  <a:pt x="2512" y="1809"/>
                  <a:pt x="2512" y="1811"/>
                </a:cubicBezTo>
                <a:cubicBezTo>
                  <a:pt x="2512" y="1812"/>
                  <a:pt x="2513" y="1813"/>
                  <a:pt x="2513" y="1814"/>
                </a:cubicBezTo>
                <a:cubicBezTo>
                  <a:pt x="2513" y="1815"/>
                  <a:pt x="2513" y="1816"/>
                  <a:pt x="2513" y="1817"/>
                </a:cubicBezTo>
                <a:cubicBezTo>
                  <a:pt x="2513" y="1817"/>
                  <a:pt x="2513" y="1819"/>
                  <a:pt x="2514" y="1819"/>
                </a:cubicBezTo>
                <a:cubicBezTo>
                  <a:pt x="2514" y="1818"/>
                  <a:pt x="2514" y="1818"/>
                  <a:pt x="2514" y="1817"/>
                </a:cubicBezTo>
                <a:cubicBezTo>
                  <a:pt x="2514" y="1817"/>
                  <a:pt x="2514" y="1818"/>
                  <a:pt x="2515" y="1817"/>
                </a:cubicBezTo>
                <a:cubicBezTo>
                  <a:pt x="2515" y="1817"/>
                  <a:pt x="2514" y="1817"/>
                  <a:pt x="2514" y="1816"/>
                </a:cubicBezTo>
                <a:cubicBezTo>
                  <a:pt x="2515" y="1815"/>
                  <a:pt x="2516" y="1816"/>
                  <a:pt x="2516" y="1816"/>
                </a:cubicBezTo>
                <a:cubicBezTo>
                  <a:pt x="2517" y="1816"/>
                  <a:pt x="2519" y="1816"/>
                  <a:pt x="2519" y="1817"/>
                </a:cubicBezTo>
                <a:cubicBezTo>
                  <a:pt x="2519" y="1818"/>
                  <a:pt x="2519" y="1818"/>
                  <a:pt x="2518" y="1819"/>
                </a:cubicBezTo>
                <a:cubicBezTo>
                  <a:pt x="2518" y="1819"/>
                  <a:pt x="2517" y="1820"/>
                  <a:pt x="2518" y="1820"/>
                </a:cubicBezTo>
                <a:cubicBezTo>
                  <a:pt x="2519" y="1821"/>
                  <a:pt x="2519" y="1818"/>
                  <a:pt x="2521" y="1819"/>
                </a:cubicBezTo>
                <a:cubicBezTo>
                  <a:pt x="2521" y="1819"/>
                  <a:pt x="2521" y="1820"/>
                  <a:pt x="2521" y="1820"/>
                </a:cubicBezTo>
                <a:cubicBezTo>
                  <a:pt x="2522" y="1821"/>
                  <a:pt x="2521" y="1821"/>
                  <a:pt x="2521" y="1822"/>
                </a:cubicBezTo>
                <a:cubicBezTo>
                  <a:pt x="2522" y="1822"/>
                  <a:pt x="2523" y="1821"/>
                  <a:pt x="2524" y="1822"/>
                </a:cubicBezTo>
                <a:cubicBezTo>
                  <a:pt x="2525" y="1822"/>
                  <a:pt x="2525" y="1822"/>
                  <a:pt x="2525" y="1822"/>
                </a:cubicBezTo>
                <a:cubicBezTo>
                  <a:pt x="2526" y="1823"/>
                  <a:pt x="2526" y="1822"/>
                  <a:pt x="2527" y="1822"/>
                </a:cubicBezTo>
                <a:cubicBezTo>
                  <a:pt x="2527" y="1821"/>
                  <a:pt x="2528" y="1821"/>
                  <a:pt x="2528" y="1821"/>
                </a:cubicBezTo>
                <a:cubicBezTo>
                  <a:pt x="2529" y="1821"/>
                  <a:pt x="2529" y="1821"/>
                  <a:pt x="2529" y="1820"/>
                </a:cubicBezTo>
                <a:cubicBezTo>
                  <a:pt x="2528" y="1819"/>
                  <a:pt x="2529" y="1818"/>
                  <a:pt x="2529" y="1818"/>
                </a:cubicBezTo>
                <a:cubicBezTo>
                  <a:pt x="2530" y="1817"/>
                  <a:pt x="2532" y="1817"/>
                  <a:pt x="2532" y="1817"/>
                </a:cubicBezTo>
                <a:cubicBezTo>
                  <a:pt x="2533" y="1816"/>
                  <a:pt x="2534" y="1816"/>
                  <a:pt x="2534" y="1816"/>
                </a:cubicBezTo>
                <a:cubicBezTo>
                  <a:pt x="2534" y="1815"/>
                  <a:pt x="2534" y="1815"/>
                  <a:pt x="2535" y="1815"/>
                </a:cubicBezTo>
                <a:cubicBezTo>
                  <a:pt x="2536" y="1816"/>
                  <a:pt x="2536" y="1816"/>
                  <a:pt x="2537" y="1816"/>
                </a:cubicBezTo>
                <a:cubicBezTo>
                  <a:pt x="2537" y="1817"/>
                  <a:pt x="2538" y="1817"/>
                  <a:pt x="2538" y="1817"/>
                </a:cubicBezTo>
                <a:cubicBezTo>
                  <a:pt x="2539" y="1817"/>
                  <a:pt x="2539" y="1818"/>
                  <a:pt x="2540" y="1818"/>
                </a:cubicBezTo>
                <a:cubicBezTo>
                  <a:pt x="2540" y="1819"/>
                  <a:pt x="2541" y="1819"/>
                  <a:pt x="2542" y="1819"/>
                </a:cubicBezTo>
                <a:cubicBezTo>
                  <a:pt x="2543" y="1820"/>
                  <a:pt x="2543" y="1821"/>
                  <a:pt x="2543" y="1822"/>
                </a:cubicBezTo>
                <a:cubicBezTo>
                  <a:pt x="2545" y="1823"/>
                  <a:pt x="2546" y="1823"/>
                  <a:pt x="2547" y="1824"/>
                </a:cubicBezTo>
                <a:cubicBezTo>
                  <a:pt x="2549" y="1826"/>
                  <a:pt x="2550" y="1827"/>
                  <a:pt x="2550" y="1829"/>
                </a:cubicBezTo>
                <a:cubicBezTo>
                  <a:pt x="2550" y="1830"/>
                  <a:pt x="2551" y="1831"/>
                  <a:pt x="2551" y="1831"/>
                </a:cubicBezTo>
                <a:cubicBezTo>
                  <a:pt x="2552" y="1831"/>
                  <a:pt x="2552" y="1831"/>
                  <a:pt x="2552" y="1830"/>
                </a:cubicBezTo>
                <a:cubicBezTo>
                  <a:pt x="2553" y="1830"/>
                  <a:pt x="2553" y="1830"/>
                  <a:pt x="2553" y="1829"/>
                </a:cubicBezTo>
                <a:cubicBezTo>
                  <a:pt x="2553" y="1828"/>
                  <a:pt x="2553" y="1827"/>
                  <a:pt x="2552" y="1826"/>
                </a:cubicBezTo>
                <a:cubicBezTo>
                  <a:pt x="2552" y="1826"/>
                  <a:pt x="2552" y="1825"/>
                  <a:pt x="2552" y="1825"/>
                </a:cubicBezTo>
                <a:cubicBezTo>
                  <a:pt x="2551" y="1824"/>
                  <a:pt x="2551" y="1824"/>
                  <a:pt x="2551" y="1823"/>
                </a:cubicBezTo>
                <a:cubicBezTo>
                  <a:pt x="2551" y="1823"/>
                  <a:pt x="2551" y="1824"/>
                  <a:pt x="2552" y="1824"/>
                </a:cubicBezTo>
                <a:cubicBezTo>
                  <a:pt x="2552" y="1823"/>
                  <a:pt x="2551" y="1823"/>
                  <a:pt x="2550" y="1822"/>
                </a:cubicBezTo>
                <a:cubicBezTo>
                  <a:pt x="2550" y="1822"/>
                  <a:pt x="2549" y="1821"/>
                  <a:pt x="2549" y="1820"/>
                </a:cubicBezTo>
                <a:cubicBezTo>
                  <a:pt x="2549" y="1820"/>
                  <a:pt x="2549" y="1819"/>
                  <a:pt x="2549" y="1819"/>
                </a:cubicBezTo>
                <a:cubicBezTo>
                  <a:pt x="2550" y="1819"/>
                  <a:pt x="2550" y="1818"/>
                  <a:pt x="2549" y="1818"/>
                </a:cubicBezTo>
                <a:cubicBezTo>
                  <a:pt x="2549" y="1817"/>
                  <a:pt x="2549" y="1817"/>
                  <a:pt x="2549" y="1816"/>
                </a:cubicBezTo>
                <a:cubicBezTo>
                  <a:pt x="2548" y="1816"/>
                  <a:pt x="2548" y="1816"/>
                  <a:pt x="2548" y="1816"/>
                </a:cubicBezTo>
                <a:cubicBezTo>
                  <a:pt x="2548" y="1815"/>
                  <a:pt x="2550" y="1817"/>
                  <a:pt x="2550" y="1815"/>
                </a:cubicBezTo>
                <a:cubicBezTo>
                  <a:pt x="2550" y="1815"/>
                  <a:pt x="2550" y="1815"/>
                  <a:pt x="2550" y="1816"/>
                </a:cubicBezTo>
                <a:cubicBezTo>
                  <a:pt x="2551" y="1816"/>
                  <a:pt x="2550" y="1816"/>
                  <a:pt x="2551" y="1816"/>
                </a:cubicBezTo>
                <a:cubicBezTo>
                  <a:pt x="2551" y="1817"/>
                  <a:pt x="2551" y="1816"/>
                  <a:pt x="2552" y="1817"/>
                </a:cubicBezTo>
                <a:cubicBezTo>
                  <a:pt x="2552" y="1817"/>
                  <a:pt x="2552" y="1818"/>
                  <a:pt x="2552" y="1818"/>
                </a:cubicBezTo>
                <a:cubicBezTo>
                  <a:pt x="2553" y="1818"/>
                  <a:pt x="2554" y="1818"/>
                  <a:pt x="2554" y="1818"/>
                </a:cubicBezTo>
                <a:cubicBezTo>
                  <a:pt x="2555" y="1819"/>
                  <a:pt x="2557" y="1820"/>
                  <a:pt x="2556" y="1821"/>
                </a:cubicBezTo>
                <a:cubicBezTo>
                  <a:pt x="2555" y="1822"/>
                  <a:pt x="2557" y="1822"/>
                  <a:pt x="2557" y="1823"/>
                </a:cubicBezTo>
                <a:cubicBezTo>
                  <a:pt x="2557" y="1823"/>
                  <a:pt x="2557" y="1824"/>
                  <a:pt x="2558" y="1824"/>
                </a:cubicBezTo>
                <a:cubicBezTo>
                  <a:pt x="2559" y="1824"/>
                  <a:pt x="2559" y="1824"/>
                  <a:pt x="2560" y="1824"/>
                </a:cubicBezTo>
                <a:cubicBezTo>
                  <a:pt x="2561" y="1824"/>
                  <a:pt x="2563" y="1825"/>
                  <a:pt x="2563" y="1826"/>
                </a:cubicBezTo>
                <a:cubicBezTo>
                  <a:pt x="2563" y="1827"/>
                  <a:pt x="2563" y="1828"/>
                  <a:pt x="2564" y="1828"/>
                </a:cubicBezTo>
                <a:cubicBezTo>
                  <a:pt x="2564" y="1828"/>
                  <a:pt x="2565" y="1829"/>
                  <a:pt x="2565" y="1829"/>
                </a:cubicBezTo>
                <a:cubicBezTo>
                  <a:pt x="2565" y="1830"/>
                  <a:pt x="2565" y="1830"/>
                  <a:pt x="2565" y="1831"/>
                </a:cubicBezTo>
                <a:cubicBezTo>
                  <a:pt x="2564" y="1832"/>
                  <a:pt x="2564" y="1832"/>
                  <a:pt x="2565" y="1833"/>
                </a:cubicBezTo>
                <a:cubicBezTo>
                  <a:pt x="2565" y="1834"/>
                  <a:pt x="2566" y="1834"/>
                  <a:pt x="2567" y="1833"/>
                </a:cubicBezTo>
                <a:cubicBezTo>
                  <a:pt x="2568" y="1832"/>
                  <a:pt x="2568" y="1835"/>
                  <a:pt x="2569" y="1835"/>
                </a:cubicBezTo>
                <a:cubicBezTo>
                  <a:pt x="2569" y="1835"/>
                  <a:pt x="2570" y="1835"/>
                  <a:pt x="2570" y="1836"/>
                </a:cubicBezTo>
                <a:cubicBezTo>
                  <a:pt x="2571" y="1836"/>
                  <a:pt x="2571" y="1836"/>
                  <a:pt x="2572" y="1836"/>
                </a:cubicBezTo>
                <a:cubicBezTo>
                  <a:pt x="2572" y="1836"/>
                  <a:pt x="2572" y="1836"/>
                  <a:pt x="2573" y="1837"/>
                </a:cubicBezTo>
                <a:cubicBezTo>
                  <a:pt x="2573" y="1837"/>
                  <a:pt x="2573" y="1837"/>
                  <a:pt x="2574" y="1837"/>
                </a:cubicBezTo>
                <a:cubicBezTo>
                  <a:pt x="2574" y="1837"/>
                  <a:pt x="2575" y="1836"/>
                  <a:pt x="2576" y="1836"/>
                </a:cubicBezTo>
                <a:cubicBezTo>
                  <a:pt x="2576" y="1835"/>
                  <a:pt x="2577" y="1834"/>
                  <a:pt x="2578" y="1835"/>
                </a:cubicBezTo>
                <a:cubicBezTo>
                  <a:pt x="2578" y="1836"/>
                  <a:pt x="2578" y="1836"/>
                  <a:pt x="2577" y="1837"/>
                </a:cubicBezTo>
                <a:cubicBezTo>
                  <a:pt x="2577" y="1837"/>
                  <a:pt x="2577" y="1837"/>
                  <a:pt x="2576" y="1837"/>
                </a:cubicBezTo>
                <a:cubicBezTo>
                  <a:pt x="2574" y="1837"/>
                  <a:pt x="2575" y="1839"/>
                  <a:pt x="2576" y="1840"/>
                </a:cubicBezTo>
                <a:cubicBezTo>
                  <a:pt x="2576" y="1841"/>
                  <a:pt x="2576" y="1841"/>
                  <a:pt x="2577" y="1842"/>
                </a:cubicBezTo>
                <a:cubicBezTo>
                  <a:pt x="2578" y="1842"/>
                  <a:pt x="2578" y="1844"/>
                  <a:pt x="2580" y="1843"/>
                </a:cubicBezTo>
                <a:cubicBezTo>
                  <a:pt x="2580" y="1843"/>
                  <a:pt x="2581" y="1841"/>
                  <a:pt x="2581" y="1840"/>
                </a:cubicBezTo>
                <a:cubicBezTo>
                  <a:pt x="2581" y="1839"/>
                  <a:pt x="2581" y="1839"/>
                  <a:pt x="2581" y="1838"/>
                </a:cubicBezTo>
                <a:cubicBezTo>
                  <a:pt x="2582" y="1837"/>
                  <a:pt x="2581" y="1836"/>
                  <a:pt x="2581" y="1835"/>
                </a:cubicBezTo>
                <a:cubicBezTo>
                  <a:pt x="2581" y="1834"/>
                  <a:pt x="2582" y="1834"/>
                  <a:pt x="2582" y="1834"/>
                </a:cubicBezTo>
                <a:cubicBezTo>
                  <a:pt x="2582" y="1833"/>
                  <a:pt x="2582" y="1832"/>
                  <a:pt x="2581" y="1833"/>
                </a:cubicBezTo>
                <a:cubicBezTo>
                  <a:pt x="2580" y="1833"/>
                  <a:pt x="2581" y="1834"/>
                  <a:pt x="2580" y="1834"/>
                </a:cubicBezTo>
                <a:cubicBezTo>
                  <a:pt x="2580" y="1834"/>
                  <a:pt x="2580" y="1833"/>
                  <a:pt x="2579" y="1833"/>
                </a:cubicBezTo>
                <a:cubicBezTo>
                  <a:pt x="2579" y="1833"/>
                  <a:pt x="2579" y="1833"/>
                  <a:pt x="2579" y="1833"/>
                </a:cubicBezTo>
                <a:cubicBezTo>
                  <a:pt x="2578" y="1833"/>
                  <a:pt x="2579" y="1832"/>
                  <a:pt x="2578" y="1832"/>
                </a:cubicBezTo>
                <a:cubicBezTo>
                  <a:pt x="2578" y="1832"/>
                  <a:pt x="2577" y="1832"/>
                  <a:pt x="2577" y="1832"/>
                </a:cubicBezTo>
                <a:cubicBezTo>
                  <a:pt x="2575" y="1831"/>
                  <a:pt x="2575" y="1833"/>
                  <a:pt x="2574" y="1833"/>
                </a:cubicBezTo>
                <a:cubicBezTo>
                  <a:pt x="2574" y="1833"/>
                  <a:pt x="2574" y="1832"/>
                  <a:pt x="2574" y="1832"/>
                </a:cubicBezTo>
                <a:cubicBezTo>
                  <a:pt x="2574" y="1831"/>
                  <a:pt x="2574" y="1831"/>
                  <a:pt x="2574" y="1830"/>
                </a:cubicBezTo>
                <a:cubicBezTo>
                  <a:pt x="2574" y="1830"/>
                  <a:pt x="2575" y="1829"/>
                  <a:pt x="2576" y="1829"/>
                </a:cubicBezTo>
                <a:cubicBezTo>
                  <a:pt x="2576" y="1829"/>
                  <a:pt x="2577" y="1829"/>
                  <a:pt x="2576" y="1829"/>
                </a:cubicBezTo>
                <a:cubicBezTo>
                  <a:pt x="2576" y="1828"/>
                  <a:pt x="2577" y="1828"/>
                  <a:pt x="2577" y="1828"/>
                </a:cubicBezTo>
                <a:cubicBezTo>
                  <a:pt x="2577" y="1827"/>
                  <a:pt x="2576" y="1827"/>
                  <a:pt x="2576" y="1827"/>
                </a:cubicBezTo>
                <a:cubicBezTo>
                  <a:pt x="2575" y="1827"/>
                  <a:pt x="2576" y="1827"/>
                  <a:pt x="2576" y="1828"/>
                </a:cubicBezTo>
                <a:cubicBezTo>
                  <a:pt x="2576" y="1830"/>
                  <a:pt x="2573" y="1826"/>
                  <a:pt x="2572" y="1825"/>
                </a:cubicBezTo>
                <a:cubicBezTo>
                  <a:pt x="2571" y="1824"/>
                  <a:pt x="2569" y="1824"/>
                  <a:pt x="2569" y="1822"/>
                </a:cubicBezTo>
                <a:cubicBezTo>
                  <a:pt x="2569" y="1821"/>
                  <a:pt x="2570" y="1820"/>
                  <a:pt x="2571" y="1820"/>
                </a:cubicBezTo>
                <a:cubicBezTo>
                  <a:pt x="2571" y="1820"/>
                  <a:pt x="2572" y="1820"/>
                  <a:pt x="2572" y="1820"/>
                </a:cubicBezTo>
                <a:cubicBezTo>
                  <a:pt x="2573" y="1820"/>
                  <a:pt x="2574" y="1820"/>
                  <a:pt x="2574" y="1820"/>
                </a:cubicBezTo>
                <a:cubicBezTo>
                  <a:pt x="2575" y="1820"/>
                  <a:pt x="2575" y="1820"/>
                  <a:pt x="2576" y="1820"/>
                </a:cubicBezTo>
                <a:cubicBezTo>
                  <a:pt x="2576" y="1819"/>
                  <a:pt x="2577" y="1820"/>
                  <a:pt x="2578" y="1820"/>
                </a:cubicBezTo>
                <a:cubicBezTo>
                  <a:pt x="2578" y="1819"/>
                  <a:pt x="2577" y="1819"/>
                  <a:pt x="2577" y="1818"/>
                </a:cubicBezTo>
                <a:cubicBezTo>
                  <a:pt x="2576" y="1818"/>
                  <a:pt x="2576" y="1818"/>
                  <a:pt x="2575" y="1817"/>
                </a:cubicBezTo>
                <a:cubicBezTo>
                  <a:pt x="2574" y="1817"/>
                  <a:pt x="2574" y="1817"/>
                  <a:pt x="2573" y="1817"/>
                </a:cubicBezTo>
                <a:cubicBezTo>
                  <a:pt x="2573" y="1816"/>
                  <a:pt x="2573" y="1815"/>
                  <a:pt x="2573" y="1816"/>
                </a:cubicBezTo>
                <a:cubicBezTo>
                  <a:pt x="2572" y="1816"/>
                  <a:pt x="2572" y="1816"/>
                  <a:pt x="2572" y="1816"/>
                </a:cubicBezTo>
                <a:cubicBezTo>
                  <a:pt x="2572" y="1817"/>
                  <a:pt x="2571" y="1817"/>
                  <a:pt x="2571" y="1816"/>
                </a:cubicBezTo>
                <a:cubicBezTo>
                  <a:pt x="2571" y="1816"/>
                  <a:pt x="2570" y="1816"/>
                  <a:pt x="2570" y="1816"/>
                </a:cubicBezTo>
                <a:cubicBezTo>
                  <a:pt x="2571" y="1816"/>
                  <a:pt x="2571" y="1816"/>
                  <a:pt x="2571" y="1816"/>
                </a:cubicBezTo>
                <a:cubicBezTo>
                  <a:pt x="2572" y="1816"/>
                  <a:pt x="2572" y="1815"/>
                  <a:pt x="2572" y="1815"/>
                </a:cubicBezTo>
                <a:cubicBezTo>
                  <a:pt x="2571" y="1815"/>
                  <a:pt x="2571" y="1815"/>
                  <a:pt x="2571" y="1815"/>
                </a:cubicBezTo>
                <a:cubicBezTo>
                  <a:pt x="2570" y="1815"/>
                  <a:pt x="2570" y="1815"/>
                  <a:pt x="2570" y="1815"/>
                </a:cubicBezTo>
                <a:cubicBezTo>
                  <a:pt x="2570" y="1815"/>
                  <a:pt x="2570" y="1815"/>
                  <a:pt x="2570" y="1815"/>
                </a:cubicBezTo>
                <a:cubicBezTo>
                  <a:pt x="2570" y="1816"/>
                  <a:pt x="2570" y="1816"/>
                  <a:pt x="2569" y="1816"/>
                </a:cubicBezTo>
                <a:cubicBezTo>
                  <a:pt x="2569" y="1816"/>
                  <a:pt x="2568" y="1815"/>
                  <a:pt x="2568" y="1815"/>
                </a:cubicBezTo>
                <a:cubicBezTo>
                  <a:pt x="2567" y="1815"/>
                  <a:pt x="2567" y="1816"/>
                  <a:pt x="2567" y="1815"/>
                </a:cubicBezTo>
                <a:cubicBezTo>
                  <a:pt x="2567" y="1815"/>
                  <a:pt x="2567" y="1814"/>
                  <a:pt x="2566" y="1814"/>
                </a:cubicBezTo>
                <a:cubicBezTo>
                  <a:pt x="2566" y="1814"/>
                  <a:pt x="2566" y="1814"/>
                  <a:pt x="2566" y="1813"/>
                </a:cubicBezTo>
                <a:cubicBezTo>
                  <a:pt x="2566" y="1812"/>
                  <a:pt x="2565" y="1812"/>
                  <a:pt x="2565" y="1813"/>
                </a:cubicBezTo>
                <a:cubicBezTo>
                  <a:pt x="2565" y="1813"/>
                  <a:pt x="2565" y="1813"/>
                  <a:pt x="2564" y="1813"/>
                </a:cubicBezTo>
                <a:cubicBezTo>
                  <a:pt x="2564" y="1813"/>
                  <a:pt x="2564" y="1814"/>
                  <a:pt x="2564" y="1814"/>
                </a:cubicBezTo>
                <a:cubicBezTo>
                  <a:pt x="2563" y="1815"/>
                  <a:pt x="2563" y="1815"/>
                  <a:pt x="2564" y="1815"/>
                </a:cubicBezTo>
                <a:cubicBezTo>
                  <a:pt x="2565" y="1816"/>
                  <a:pt x="2565" y="1815"/>
                  <a:pt x="2565" y="1815"/>
                </a:cubicBezTo>
                <a:cubicBezTo>
                  <a:pt x="2565" y="1816"/>
                  <a:pt x="2564" y="1816"/>
                  <a:pt x="2565" y="1817"/>
                </a:cubicBezTo>
                <a:cubicBezTo>
                  <a:pt x="2565" y="1817"/>
                  <a:pt x="2565" y="1818"/>
                  <a:pt x="2565" y="1819"/>
                </a:cubicBezTo>
                <a:cubicBezTo>
                  <a:pt x="2564" y="1819"/>
                  <a:pt x="2564" y="1819"/>
                  <a:pt x="2564" y="1819"/>
                </a:cubicBezTo>
                <a:cubicBezTo>
                  <a:pt x="2564" y="1820"/>
                  <a:pt x="2563" y="1820"/>
                  <a:pt x="2562" y="1820"/>
                </a:cubicBezTo>
                <a:cubicBezTo>
                  <a:pt x="2561" y="1820"/>
                  <a:pt x="2562" y="1821"/>
                  <a:pt x="2561" y="1821"/>
                </a:cubicBezTo>
                <a:cubicBezTo>
                  <a:pt x="2561" y="1820"/>
                  <a:pt x="2561" y="1820"/>
                  <a:pt x="2561" y="1819"/>
                </a:cubicBezTo>
                <a:cubicBezTo>
                  <a:pt x="2561" y="1819"/>
                  <a:pt x="2560" y="1819"/>
                  <a:pt x="2560" y="1819"/>
                </a:cubicBezTo>
                <a:cubicBezTo>
                  <a:pt x="2559" y="1817"/>
                  <a:pt x="2561" y="1817"/>
                  <a:pt x="2561" y="1816"/>
                </a:cubicBezTo>
                <a:cubicBezTo>
                  <a:pt x="2561" y="1815"/>
                  <a:pt x="2560" y="1815"/>
                  <a:pt x="2560" y="1814"/>
                </a:cubicBezTo>
                <a:cubicBezTo>
                  <a:pt x="2560" y="1813"/>
                  <a:pt x="2560" y="1813"/>
                  <a:pt x="2560" y="1812"/>
                </a:cubicBezTo>
                <a:cubicBezTo>
                  <a:pt x="2559" y="1812"/>
                  <a:pt x="2559" y="1812"/>
                  <a:pt x="2558" y="1812"/>
                </a:cubicBezTo>
                <a:cubicBezTo>
                  <a:pt x="2558" y="1811"/>
                  <a:pt x="2558" y="1811"/>
                  <a:pt x="2558" y="1810"/>
                </a:cubicBezTo>
                <a:cubicBezTo>
                  <a:pt x="2557" y="1810"/>
                  <a:pt x="2556" y="1809"/>
                  <a:pt x="2556" y="1809"/>
                </a:cubicBezTo>
                <a:cubicBezTo>
                  <a:pt x="2555" y="1809"/>
                  <a:pt x="2555" y="1809"/>
                  <a:pt x="2555" y="1808"/>
                </a:cubicBezTo>
                <a:cubicBezTo>
                  <a:pt x="2554" y="1808"/>
                  <a:pt x="2554" y="1808"/>
                  <a:pt x="2553" y="1808"/>
                </a:cubicBezTo>
                <a:cubicBezTo>
                  <a:pt x="2552" y="1807"/>
                  <a:pt x="2553" y="1809"/>
                  <a:pt x="2552" y="1808"/>
                </a:cubicBezTo>
                <a:cubicBezTo>
                  <a:pt x="2552" y="1808"/>
                  <a:pt x="2551" y="1808"/>
                  <a:pt x="2551" y="1808"/>
                </a:cubicBezTo>
                <a:cubicBezTo>
                  <a:pt x="2550" y="1808"/>
                  <a:pt x="2550" y="1808"/>
                  <a:pt x="2549" y="1808"/>
                </a:cubicBezTo>
                <a:cubicBezTo>
                  <a:pt x="2548" y="1808"/>
                  <a:pt x="2547" y="1809"/>
                  <a:pt x="2547" y="1810"/>
                </a:cubicBezTo>
                <a:cubicBezTo>
                  <a:pt x="2546" y="1810"/>
                  <a:pt x="2546" y="1810"/>
                  <a:pt x="2546" y="1811"/>
                </a:cubicBezTo>
                <a:cubicBezTo>
                  <a:pt x="2546" y="1811"/>
                  <a:pt x="2546" y="1812"/>
                  <a:pt x="2546" y="1812"/>
                </a:cubicBezTo>
                <a:cubicBezTo>
                  <a:pt x="2546" y="1813"/>
                  <a:pt x="2545" y="1812"/>
                  <a:pt x="2545" y="1812"/>
                </a:cubicBezTo>
                <a:cubicBezTo>
                  <a:pt x="2545" y="1811"/>
                  <a:pt x="2545" y="1811"/>
                  <a:pt x="2545" y="1811"/>
                </a:cubicBezTo>
                <a:cubicBezTo>
                  <a:pt x="2545" y="1810"/>
                  <a:pt x="2545" y="1810"/>
                  <a:pt x="2545" y="1810"/>
                </a:cubicBezTo>
                <a:cubicBezTo>
                  <a:pt x="2545" y="1809"/>
                  <a:pt x="2544" y="1810"/>
                  <a:pt x="2544" y="1810"/>
                </a:cubicBezTo>
                <a:cubicBezTo>
                  <a:pt x="2544" y="1811"/>
                  <a:pt x="2543" y="1811"/>
                  <a:pt x="2543" y="1811"/>
                </a:cubicBezTo>
                <a:cubicBezTo>
                  <a:pt x="2543" y="1812"/>
                  <a:pt x="2543" y="1812"/>
                  <a:pt x="2543" y="1813"/>
                </a:cubicBezTo>
                <a:cubicBezTo>
                  <a:pt x="2544" y="1813"/>
                  <a:pt x="2546" y="1814"/>
                  <a:pt x="2546" y="1815"/>
                </a:cubicBezTo>
                <a:cubicBezTo>
                  <a:pt x="2545" y="1816"/>
                  <a:pt x="2544" y="1815"/>
                  <a:pt x="2544" y="1815"/>
                </a:cubicBezTo>
                <a:cubicBezTo>
                  <a:pt x="2543" y="1815"/>
                  <a:pt x="2544" y="1815"/>
                  <a:pt x="2544" y="1815"/>
                </a:cubicBezTo>
                <a:cubicBezTo>
                  <a:pt x="2544" y="1815"/>
                  <a:pt x="2545" y="1816"/>
                  <a:pt x="2544" y="1816"/>
                </a:cubicBezTo>
                <a:cubicBezTo>
                  <a:pt x="2543" y="1817"/>
                  <a:pt x="2542" y="1816"/>
                  <a:pt x="2542" y="1816"/>
                </a:cubicBezTo>
                <a:cubicBezTo>
                  <a:pt x="2540" y="1816"/>
                  <a:pt x="2539" y="1815"/>
                  <a:pt x="2538" y="1814"/>
                </a:cubicBezTo>
                <a:cubicBezTo>
                  <a:pt x="2537" y="1814"/>
                  <a:pt x="2537" y="1813"/>
                  <a:pt x="2536" y="1813"/>
                </a:cubicBezTo>
                <a:cubicBezTo>
                  <a:pt x="2536" y="1812"/>
                  <a:pt x="2535" y="1812"/>
                  <a:pt x="2535" y="1812"/>
                </a:cubicBezTo>
                <a:cubicBezTo>
                  <a:pt x="2535" y="1811"/>
                  <a:pt x="2534" y="1811"/>
                  <a:pt x="2535" y="1811"/>
                </a:cubicBezTo>
                <a:cubicBezTo>
                  <a:pt x="2535" y="1810"/>
                  <a:pt x="2535" y="1810"/>
                  <a:pt x="2535" y="1809"/>
                </a:cubicBezTo>
                <a:cubicBezTo>
                  <a:pt x="2534" y="1809"/>
                  <a:pt x="2534" y="1809"/>
                  <a:pt x="2534" y="1808"/>
                </a:cubicBezTo>
                <a:cubicBezTo>
                  <a:pt x="2534" y="1808"/>
                  <a:pt x="2534" y="1807"/>
                  <a:pt x="2533" y="1807"/>
                </a:cubicBezTo>
                <a:cubicBezTo>
                  <a:pt x="2533" y="1806"/>
                  <a:pt x="2533" y="1805"/>
                  <a:pt x="2532" y="1804"/>
                </a:cubicBezTo>
                <a:cubicBezTo>
                  <a:pt x="2532" y="1803"/>
                  <a:pt x="2532" y="1802"/>
                  <a:pt x="2533" y="1801"/>
                </a:cubicBezTo>
                <a:cubicBezTo>
                  <a:pt x="2533" y="1801"/>
                  <a:pt x="2535" y="1801"/>
                  <a:pt x="2534" y="1800"/>
                </a:cubicBezTo>
                <a:cubicBezTo>
                  <a:pt x="2534" y="1800"/>
                  <a:pt x="2533" y="1799"/>
                  <a:pt x="2533" y="1799"/>
                </a:cubicBezTo>
                <a:cubicBezTo>
                  <a:pt x="2531" y="1798"/>
                  <a:pt x="2532" y="1797"/>
                  <a:pt x="2531" y="1796"/>
                </a:cubicBezTo>
                <a:cubicBezTo>
                  <a:pt x="2531" y="1794"/>
                  <a:pt x="2530" y="1794"/>
                  <a:pt x="2530" y="1792"/>
                </a:cubicBezTo>
                <a:cubicBezTo>
                  <a:pt x="2530" y="1792"/>
                  <a:pt x="2530" y="1791"/>
                  <a:pt x="2529" y="1791"/>
                </a:cubicBezTo>
                <a:cubicBezTo>
                  <a:pt x="2529" y="1790"/>
                  <a:pt x="2528" y="1790"/>
                  <a:pt x="2528" y="1790"/>
                </a:cubicBezTo>
                <a:cubicBezTo>
                  <a:pt x="2528" y="1788"/>
                  <a:pt x="2527" y="1787"/>
                  <a:pt x="2529" y="1787"/>
                </a:cubicBezTo>
                <a:cubicBezTo>
                  <a:pt x="2530" y="1786"/>
                  <a:pt x="2529" y="1785"/>
                  <a:pt x="2530" y="1784"/>
                </a:cubicBezTo>
                <a:cubicBezTo>
                  <a:pt x="2530" y="1784"/>
                  <a:pt x="2530" y="1783"/>
                  <a:pt x="2531" y="1783"/>
                </a:cubicBezTo>
                <a:cubicBezTo>
                  <a:pt x="2531" y="1782"/>
                  <a:pt x="2532" y="1782"/>
                  <a:pt x="2532" y="1781"/>
                </a:cubicBezTo>
                <a:cubicBezTo>
                  <a:pt x="2532" y="1780"/>
                  <a:pt x="2533" y="1780"/>
                  <a:pt x="2532" y="1779"/>
                </a:cubicBezTo>
                <a:cubicBezTo>
                  <a:pt x="2532" y="1779"/>
                  <a:pt x="2532" y="1778"/>
                  <a:pt x="2531" y="1778"/>
                </a:cubicBezTo>
                <a:cubicBezTo>
                  <a:pt x="2530" y="1778"/>
                  <a:pt x="2531" y="1776"/>
                  <a:pt x="2532" y="1776"/>
                </a:cubicBezTo>
                <a:cubicBezTo>
                  <a:pt x="2532" y="1775"/>
                  <a:pt x="2533" y="1775"/>
                  <a:pt x="2533" y="1774"/>
                </a:cubicBezTo>
                <a:cubicBezTo>
                  <a:pt x="2534" y="1774"/>
                  <a:pt x="2535" y="1773"/>
                  <a:pt x="2536" y="1773"/>
                </a:cubicBezTo>
                <a:cubicBezTo>
                  <a:pt x="2537" y="1772"/>
                  <a:pt x="2539" y="1772"/>
                  <a:pt x="2540" y="1771"/>
                </a:cubicBezTo>
                <a:cubicBezTo>
                  <a:pt x="2541" y="1771"/>
                  <a:pt x="2541" y="1770"/>
                  <a:pt x="2541" y="1770"/>
                </a:cubicBezTo>
                <a:cubicBezTo>
                  <a:pt x="2541" y="1769"/>
                  <a:pt x="2542" y="1769"/>
                  <a:pt x="2542" y="1770"/>
                </a:cubicBezTo>
                <a:cubicBezTo>
                  <a:pt x="2542" y="1770"/>
                  <a:pt x="2542" y="1770"/>
                  <a:pt x="2542" y="1770"/>
                </a:cubicBezTo>
                <a:cubicBezTo>
                  <a:pt x="2541" y="1771"/>
                  <a:pt x="2541" y="1771"/>
                  <a:pt x="2541" y="1771"/>
                </a:cubicBezTo>
                <a:cubicBezTo>
                  <a:pt x="2541" y="1772"/>
                  <a:pt x="2539" y="1773"/>
                  <a:pt x="2539" y="1774"/>
                </a:cubicBezTo>
                <a:cubicBezTo>
                  <a:pt x="2539" y="1774"/>
                  <a:pt x="2540" y="1773"/>
                  <a:pt x="2540" y="1773"/>
                </a:cubicBezTo>
                <a:cubicBezTo>
                  <a:pt x="2541" y="1773"/>
                  <a:pt x="2541" y="1772"/>
                  <a:pt x="2541" y="1772"/>
                </a:cubicBezTo>
                <a:cubicBezTo>
                  <a:pt x="2542" y="1771"/>
                  <a:pt x="2543" y="1770"/>
                  <a:pt x="2544" y="1769"/>
                </a:cubicBezTo>
                <a:cubicBezTo>
                  <a:pt x="2544" y="1769"/>
                  <a:pt x="2544" y="1769"/>
                  <a:pt x="2544" y="1768"/>
                </a:cubicBezTo>
                <a:cubicBezTo>
                  <a:pt x="2544" y="1768"/>
                  <a:pt x="2544" y="1768"/>
                  <a:pt x="2543" y="1768"/>
                </a:cubicBezTo>
                <a:cubicBezTo>
                  <a:pt x="2543" y="1769"/>
                  <a:pt x="2543" y="1768"/>
                  <a:pt x="2543" y="1768"/>
                </a:cubicBezTo>
                <a:cubicBezTo>
                  <a:pt x="2544" y="1767"/>
                  <a:pt x="2544" y="1767"/>
                  <a:pt x="2544" y="1767"/>
                </a:cubicBezTo>
                <a:cubicBezTo>
                  <a:pt x="2544" y="1766"/>
                  <a:pt x="2544" y="1766"/>
                  <a:pt x="2543" y="1766"/>
                </a:cubicBezTo>
                <a:cubicBezTo>
                  <a:pt x="2543" y="1766"/>
                  <a:pt x="2543" y="1766"/>
                  <a:pt x="2543" y="1765"/>
                </a:cubicBezTo>
                <a:cubicBezTo>
                  <a:pt x="2544" y="1764"/>
                  <a:pt x="2546" y="1762"/>
                  <a:pt x="2546" y="1761"/>
                </a:cubicBezTo>
                <a:cubicBezTo>
                  <a:pt x="2548" y="1759"/>
                  <a:pt x="2548" y="1757"/>
                  <a:pt x="2549" y="1754"/>
                </a:cubicBezTo>
                <a:cubicBezTo>
                  <a:pt x="2549" y="1754"/>
                  <a:pt x="2550" y="1752"/>
                  <a:pt x="2550" y="1751"/>
                </a:cubicBezTo>
                <a:cubicBezTo>
                  <a:pt x="2550" y="1750"/>
                  <a:pt x="2548" y="1752"/>
                  <a:pt x="2548" y="1750"/>
                </a:cubicBezTo>
                <a:cubicBezTo>
                  <a:pt x="2548" y="1750"/>
                  <a:pt x="2548" y="1749"/>
                  <a:pt x="2548" y="1748"/>
                </a:cubicBezTo>
                <a:cubicBezTo>
                  <a:pt x="2547" y="1747"/>
                  <a:pt x="2545" y="1747"/>
                  <a:pt x="2545" y="1746"/>
                </a:cubicBezTo>
                <a:cubicBezTo>
                  <a:pt x="2545" y="1745"/>
                  <a:pt x="2545" y="1745"/>
                  <a:pt x="2544" y="1744"/>
                </a:cubicBezTo>
                <a:cubicBezTo>
                  <a:pt x="2544" y="1744"/>
                  <a:pt x="2543" y="1743"/>
                  <a:pt x="2543" y="1743"/>
                </a:cubicBezTo>
                <a:cubicBezTo>
                  <a:pt x="2543" y="1741"/>
                  <a:pt x="2543" y="1740"/>
                  <a:pt x="2543" y="1738"/>
                </a:cubicBezTo>
                <a:cubicBezTo>
                  <a:pt x="2544" y="1737"/>
                  <a:pt x="2544" y="1736"/>
                  <a:pt x="2544" y="1735"/>
                </a:cubicBezTo>
                <a:cubicBezTo>
                  <a:pt x="2544" y="1734"/>
                  <a:pt x="2544" y="1733"/>
                  <a:pt x="2544" y="1733"/>
                </a:cubicBezTo>
                <a:cubicBezTo>
                  <a:pt x="2544" y="1732"/>
                  <a:pt x="2545" y="1732"/>
                  <a:pt x="2545" y="1732"/>
                </a:cubicBezTo>
                <a:cubicBezTo>
                  <a:pt x="2546" y="1731"/>
                  <a:pt x="2546" y="1729"/>
                  <a:pt x="2546" y="1727"/>
                </a:cubicBezTo>
                <a:cubicBezTo>
                  <a:pt x="2546" y="1727"/>
                  <a:pt x="2545" y="1726"/>
                  <a:pt x="2545" y="1726"/>
                </a:cubicBezTo>
                <a:cubicBezTo>
                  <a:pt x="2544" y="1725"/>
                  <a:pt x="2545" y="1724"/>
                  <a:pt x="2545" y="1724"/>
                </a:cubicBezTo>
                <a:cubicBezTo>
                  <a:pt x="2545" y="1723"/>
                  <a:pt x="2543" y="1723"/>
                  <a:pt x="2543" y="1724"/>
                </a:cubicBezTo>
                <a:cubicBezTo>
                  <a:pt x="2542" y="1725"/>
                  <a:pt x="2542" y="1726"/>
                  <a:pt x="2542" y="1727"/>
                </a:cubicBezTo>
                <a:cubicBezTo>
                  <a:pt x="2541" y="1728"/>
                  <a:pt x="2540" y="1729"/>
                  <a:pt x="2539" y="1729"/>
                </a:cubicBezTo>
                <a:cubicBezTo>
                  <a:pt x="2537" y="1729"/>
                  <a:pt x="2536" y="1728"/>
                  <a:pt x="2534" y="1728"/>
                </a:cubicBezTo>
                <a:cubicBezTo>
                  <a:pt x="2534" y="1728"/>
                  <a:pt x="2533" y="1727"/>
                  <a:pt x="2532" y="1727"/>
                </a:cubicBezTo>
                <a:cubicBezTo>
                  <a:pt x="2532" y="1727"/>
                  <a:pt x="2531" y="1727"/>
                  <a:pt x="2531" y="1726"/>
                </a:cubicBezTo>
                <a:cubicBezTo>
                  <a:pt x="2530" y="1726"/>
                  <a:pt x="2529" y="1725"/>
                  <a:pt x="2527" y="1724"/>
                </a:cubicBezTo>
                <a:cubicBezTo>
                  <a:pt x="2527" y="1724"/>
                  <a:pt x="2526" y="1724"/>
                  <a:pt x="2526" y="1723"/>
                </a:cubicBezTo>
                <a:cubicBezTo>
                  <a:pt x="2525" y="1723"/>
                  <a:pt x="2525" y="1723"/>
                  <a:pt x="2524" y="1722"/>
                </a:cubicBezTo>
                <a:cubicBezTo>
                  <a:pt x="2523" y="1722"/>
                  <a:pt x="2522" y="1722"/>
                  <a:pt x="2521" y="1722"/>
                </a:cubicBezTo>
                <a:cubicBezTo>
                  <a:pt x="2521" y="1722"/>
                  <a:pt x="2520" y="1723"/>
                  <a:pt x="2519" y="1722"/>
                </a:cubicBezTo>
                <a:cubicBezTo>
                  <a:pt x="2519" y="1722"/>
                  <a:pt x="2520" y="1721"/>
                  <a:pt x="2519" y="1721"/>
                </a:cubicBezTo>
                <a:cubicBezTo>
                  <a:pt x="2517" y="1720"/>
                  <a:pt x="2517" y="1723"/>
                  <a:pt x="2517" y="1723"/>
                </a:cubicBezTo>
                <a:cubicBezTo>
                  <a:pt x="2515" y="1724"/>
                  <a:pt x="2515" y="1723"/>
                  <a:pt x="2514" y="1722"/>
                </a:cubicBezTo>
                <a:cubicBezTo>
                  <a:pt x="2513" y="1722"/>
                  <a:pt x="2512" y="1722"/>
                  <a:pt x="2512" y="1723"/>
                </a:cubicBezTo>
                <a:cubicBezTo>
                  <a:pt x="2511" y="1724"/>
                  <a:pt x="2512" y="1724"/>
                  <a:pt x="2512" y="1725"/>
                </a:cubicBezTo>
                <a:cubicBezTo>
                  <a:pt x="2513" y="1727"/>
                  <a:pt x="2512" y="1729"/>
                  <a:pt x="2511" y="1730"/>
                </a:cubicBezTo>
                <a:cubicBezTo>
                  <a:pt x="2511" y="1731"/>
                  <a:pt x="2510" y="1732"/>
                  <a:pt x="2510" y="1733"/>
                </a:cubicBezTo>
                <a:cubicBezTo>
                  <a:pt x="2510" y="1734"/>
                  <a:pt x="2510" y="1734"/>
                  <a:pt x="2510" y="1735"/>
                </a:cubicBezTo>
                <a:cubicBezTo>
                  <a:pt x="2510" y="1736"/>
                  <a:pt x="2510" y="1736"/>
                  <a:pt x="2510" y="1737"/>
                </a:cubicBezTo>
                <a:cubicBezTo>
                  <a:pt x="2510" y="1738"/>
                  <a:pt x="2509" y="1739"/>
                  <a:pt x="2509" y="1740"/>
                </a:cubicBezTo>
                <a:cubicBezTo>
                  <a:pt x="2508" y="1741"/>
                  <a:pt x="2507" y="1743"/>
                  <a:pt x="2509" y="1744"/>
                </a:cubicBezTo>
                <a:cubicBezTo>
                  <a:pt x="2509" y="1744"/>
                  <a:pt x="2509" y="1744"/>
                  <a:pt x="2510" y="1745"/>
                </a:cubicBezTo>
                <a:cubicBezTo>
                  <a:pt x="2510" y="1746"/>
                  <a:pt x="2510" y="1746"/>
                  <a:pt x="2510" y="1747"/>
                </a:cubicBezTo>
                <a:cubicBezTo>
                  <a:pt x="2510" y="1747"/>
                  <a:pt x="2509" y="1748"/>
                  <a:pt x="2509" y="1748"/>
                </a:cubicBezTo>
                <a:cubicBezTo>
                  <a:pt x="2509" y="1749"/>
                  <a:pt x="2509" y="1750"/>
                  <a:pt x="2509" y="1750"/>
                </a:cubicBezTo>
                <a:cubicBezTo>
                  <a:pt x="2509" y="1751"/>
                  <a:pt x="2510" y="1752"/>
                  <a:pt x="2510" y="1752"/>
                </a:cubicBezTo>
                <a:cubicBezTo>
                  <a:pt x="2510" y="1754"/>
                  <a:pt x="2510" y="1755"/>
                  <a:pt x="2509" y="1757"/>
                </a:cubicBezTo>
                <a:cubicBezTo>
                  <a:pt x="2509" y="1757"/>
                  <a:pt x="2508" y="1757"/>
                  <a:pt x="2508" y="1758"/>
                </a:cubicBezTo>
                <a:cubicBezTo>
                  <a:pt x="2507" y="1758"/>
                  <a:pt x="2508" y="1759"/>
                  <a:pt x="2508" y="1759"/>
                </a:cubicBezTo>
                <a:cubicBezTo>
                  <a:pt x="2508" y="1761"/>
                  <a:pt x="2506" y="1761"/>
                  <a:pt x="2506" y="1762"/>
                </a:cubicBezTo>
                <a:cubicBezTo>
                  <a:pt x="2506" y="1763"/>
                  <a:pt x="2507" y="1764"/>
                  <a:pt x="2507" y="1765"/>
                </a:cubicBezTo>
                <a:cubicBezTo>
                  <a:pt x="2507" y="1766"/>
                  <a:pt x="2507" y="1766"/>
                  <a:pt x="2507" y="1767"/>
                </a:cubicBezTo>
                <a:cubicBezTo>
                  <a:pt x="2508" y="1768"/>
                  <a:pt x="2508" y="1769"/>
                  <a:pt x="2508" y="1770"/>
                </a:cubicBezTo>
                <a:cubicBezTo>
                  <a:pt x="2508" y="1771"/>
                  <a:pt x="2508" y="1771"/>
                  <a:pt x="2508" y="1772"/>
                </a:cubicBezTo>
                <a:cubicBezTo>
                  <a:pt x="2508" y="1773"/>
                  <a:pt x="2506" y="1774"/>
                  <a:pt x="2504" y="1774"/>
                </a:cubicBezTo>
                <a:cubicBezTo>
                  <a:pt x="2504" y="1774"/>
                  <a:pt x="2504" y="1773"/>
                  <a:pt x="2503" y="1773"/>
                </a:cubicBezTo>
                <a:cubicBezTo>
                  <a:pt x="2503" y="1773"/>
                  <a:pt x="2502" y="1773"/>
                  <a:pt x="2503" y="1772"/>
                </a:cubicBezTo>
                <a:cubicBezTo>
                  <a:pt x="2503" y="1772"/>
                  <a:pt x="2503" y="1771"/>
                  <a:pt x="2503" y="1771"/>
                </a:cubicBezTo>
                <a:cubicBezTo>
                  <a:pt x="2502" y="1771"/>
                  <a:pt x="2502" y="1771"/>
                  <a:pt x="2501" y="1771"/>
                </a:cubicBezTo>
                <a:cubicBezTo>
                  <a:pt x="2501" y="1771"/>
                  <a:pt x="2501" y="1770"/>
                  <a:pt x="2500" y="1770"/>
                </a:cubicBezTo>
                <a:cubicBezTo>
                  <a:pt x="2500" y="1770"/>
                  <a:pt x="2499" y="1770"/>
                  <a:pt x="2499" y="1769"/>
                </a:cubicBezTo>
                <a:cubicBezTo>
                  <a:pt x="2499" y="1769"/>
                  <a:pt x="2500" y="1767"/>
                  <a:pt x="2499" y="1767"/>
                </a:cubicBezTo>
                <a:cubicBezTo>
                  <a:pt x="2497" y="1767"/>
                  <a:pt x="2496" y="1769"/>
                  <a:pt x="2497" y="1771"/>
                </a:cubicBezTo>
                <a:close/>
                <a:moveTo>
                  <a:pt x="2522" y="1805"/>
                </a:moveTo>
                <a:cubicBezTo>
                  <a:pt x="2522" y="1804"/>
                  <a:pt x="2523" y="1804"/>
                  <a:pt x="2523" y="1804"/>
                </a:cubicBezTo>
                <a:cubicBezTo>
                  <a:pt x="2524" y="1805"/>
                  <a:pt x="2524" y="1805"/>
                  <a:pt x="2524" y="1805"/>
                </a:cubicBezTo>
                <a:cubicBezTo>
                  <a:pt x="2524" y="1806"/>
                  <a:pt x="2524" y="1806"/>
                  <a:pt x="2525" y="1807"/>
                </a:cubicBezTo>
                <a:cubicBezTo>
                  <a:pt x="2525" y="1807"/>
                  <a:pt x="2524" y="1803"/>
                  <a:pt x="2526" y="1805"/>
                </a:cubicBezTo>
                <a:cubicBezTo>
                  <a:pt x="2526" y="1805"/>
                  <a:pt x="2527" y="1806"/>
                  <a:pt x="2527" y="1806"/>
                </a:cubicBezTo>
                <a:cubicBezTo>
                  <a:pt x="2527" y="1807"/>
                  <a:pt x="2526" y="1807"/>
                  <a:pt x="2526" y="1807"/>
                </a:cubicBezTo>
                <a:cubicBezTo>
                  <a:pt x="2526" y="1808"/>
                  <a:pt x="2526" y="1808"/>
                  <a:pt x="2526" y="1809"/>
                </a:cubicBezTo>
                <a:cubicBezTo>
                  <a:pt x="2526" y="1809"/>
                  <a:pt x="2527" y="1808"/>
                  <a:pt x="2528" y="1808"/>
                </a:cubicBezTo>
                <a:cubicBezTo>
                  <a:pt x="2528" y="1807"/>
                  <a:pt x="2528" y="1807"/>
                  <a:pt x="2529" y="1806"/>
                </a:cubicBezTo>
                <a:cubicBezTo>
                  <a:pt x="2530" y="1806"/>
                  <a:pt x="2530" y="1807"/>
                  <a:pt x="2529" y="1808"/>
                </a:cubicBezTo>
                <a:cubicBezTo>
                  <a:pt x="2529" y="1808"/>
                  <a:pt x="2528" y="1808"/>
                  <a:pt x="2528" y="1808"/>
                </a:cubicBezTo>
                <a:cubicBezTo>
                  <a:pt x="2527" y="1809"/>
                  <a:pt x="2527" y="1809"/>
                  <a:pt x="2527" y="1809"/>
                </a:cubicBezTo>
                <a:cubicBezTo>
                  <a:pt x="2527" y="1810"/>
                  <a:pt x="2526" y="1810"/>
                  <a:pt x="2526" y="1810"/>
                </a:cubicBezTo>
                <a:cubicBezTo>
                  <a:pt x="2525" y="1810"/>
                  <a:pt x="2524" y="1811"/>
                  <a:pt x="2524" y="1811"/>
                </a:cubicBezTo>
                <a:cubicBezTo>
                  <a:pt x="2524" y="1811"/>
                  <a:pt x="2524" y="1810"/>
                  <a:pt x="2524" y="1810"/>
                </a:cubicBezTo>
                <a:cubicBezTo>
                  <a:pt x="2524" y="1810"/>
                  <a:pt x="2524" y="1809"/>
                  <a:pt x="2523" y="1809"/>
                </a:cubicBezTo>
                <a:cubicBezTo>
                  <a:pt x="2523" y="1809"/>
                  <a:pt x="2523" y="1809"/>
                  <a:pt x="2523" y="1808"/>
                </a:cubicBezTo>
                <a:cubicBezTo>
                  <a:pt x="2522" y="1808"/>
                  <a:pt x="2522" y="1808"/>
                  <a:pt x="2522" y="1807"/>
                </a:cubicBezTo>
                <a:cubicBezTo>
                  <a:pt x="2521" y="1807"/>
                  <a:pt x="2521" y="1806"/>
                  <a:pt x="2522" y="1805"/>
                </a:cubicBezTo>
                <a:close/>
                <a:moveTo>
                  <a:pt x="2521" y="1813"/>
                </a:moveTo>
                <a:cubicBezTo>
                  <a:pt x="2522" y="1813"/>
                  <a:pt x="2521" y="1813"/>
                  <a:pt x="2522" y="1814"/>
                </a:cubicBezTo>
                <a:cubicBezTo>
                  <a:pt x="2522" y="1814"/>
                  <a:pt x="2522" y="1814"/>
                  <a:pt x="2522" y="1814"/>
                </a:cubicBezTo>
                <a:cubicBezTo>
                  <a:pt x="2522" y="1814"/>
                  <a:pt x="2522" y="1815"/>
                  <a:pt x="2522" y="1815"/>
                </a:cubicBezTo>
                <a:cubicBezTo>
                  <a:pt x="2522" y="1815"/>
                  <a:pt x="2521" y="1815"/>
                  <a:pt x="2521" y="1816"/>
                </a:cubicBezTo>
                <a:cubicBezTo>
                  <a:pt x="2521" y="1816"/>
                  <a:pt x="2521" y="1817"/>
                  <a:pt x="2520" y="1817"/>
                </a:cubicBezTo>
                <a:cubicBezTo>
                  <a:pt x="2520" y="1817"/>
                  <a:pt x="2519" y="1816"/>
                  <a:pt x="2519" y="1816"/>
                </a:cubicBezTo>
                <a:cubicBezTo>
                  <a:pt x="2519" y="1815"/>
                  <a:pt x="2520" y="1814"/>
                  <a:pt x="2519" y="1814"/>
                </a:cubicBezTo>
                <a:cubicBezTo>
                  <a:pt x="2518" y="1812"/>
                  <a:pt x="2520" y="1812"/>
                  <a:pt x="2521" y="1813"/>
                </a:cubicBezTo>
                <a:close/>
                <a:moveTo>
                  <a:pt x="2545" y="1800"/>
                </a:moveTo>
                <a:cubicBezTo>
                  <a:pt x="2546" y="1801"/>
                  <a:pt x="2548" y="1801"/>
                  <a:pt x="2548" y="1801"/>
                </a:cubicBezTo>
                <a:cubicBezTo>
                  <a:pt x="2548" y="1799"/>
                  <a:pt x="2546" y="1800"/>
                  <a:pt x="2545" y="1800"/>
                </a:cubicBezTo>
                <a:close/>
                <a:moveTo>
                  <a:pt x="2540" y="1812"/>
                </a:moveTo>
                <a:cubicBezTo>
                  <a:pt x="2540" y="1813"/>
                  <a:pt x="2542" y="1815"/>
                  <a:pt x="2543" y="1814"/>
                </a:cubicBezTo>
                <a:cubicBezTo>
                  <a:pt x="2544" y="1814"/>
                  <a:pt x="2542" y="1813"/>
                  <a:pt x="2542" y="1812"/>
                </a:cubicBezTo>
                <a:cubicBezTo>
                  <a:pt x="2541" y="1812"/>
                  <a:pt x="2541" y="1812"/>
                  <a:pt x="2541" y="1812"/>
                </a:cubicBezTo>
                <a:cubicBezTo>
                  <a:pt x="2540" y="1811"/>
                  <a:pt x="2539" y="1811"/>
                  <a:pt x="2539" y="1810"/>
                </a:cubicBezTo>
                <a:cubicBezTo>
                  <a:pt x="2538" y="1810"/>
                  <a:pt x="2538" y="1810"/>
                  <a:pt x="2538" y="1811"/>
                </a:cubicBezTo>
                <a:cubicBezTo>
                  <a:pt x="2539" y="1811"/>
                  <a:pt x="2539" y="1812"/>
                  <a:pt x="2540" y="1812"/>
                </a:cubicBezTo>
                <a:close/>
                <a:moveTo>
                  <a:pt x="2538" y="1802"/>
                </a:moveTo>
                <a:cubicBezTo>
                  <a:pt x="2539" y="1802"/>
                  <a:pt x="2539" y="1801"/>
                  <a:pt x="2539" y="1801"/>
                </a:cubicBezTo>
                <a:cubicBezTo>
                  <a:pt x="2540" y="1800"/>
                  <a:pt x="2540" y="1799"/>
                  <a:pt x="2539" y="1798"/>
                </a:cubicBezTo>
                <a:cubicBezTo>
                  <a:pt x="2539" y="1798"/>
                  <a:pt x="2539" y="1797"/>
                  <a:pt x="2539" y="1797"/>
                </a:cubicBezTo>
                <a:cubicBezTo>
                  <a:pt x="2539" y="1796"/>
                  <a:pt x="2540" y="1796"/>
                  <a:pt x="2540" y="1795"/>
                </a:cubicBezTo>
                <a:cubicBezTo>
                  <a:pt x="2539" y="1795"/>
                  <a:pt x="2540" y="1795"/>
                  <a:pt x="2540" y="1795"/>
                </a:cubicBezTo>
                <a:cubicBezTo>
                  <a:pt x="2541" y="1795"/>
                  <a:pt x="2540" y="1795"/>
                  <a:pt x="2540" y="1794"/>
                </a:cubicBezTo>
                <a:cubicBezTo>
                  <a:pt x="2539" y="1793"/>
                  <a:pt x="2538" y="1794"/>
                  <a:pt x="2537" y="1794"/>
                </a:cubicBezTo>
                <a:cubicBezTo>
                  <a:pt x="2536" y="1794"/>
                  <a:pt x="2536" y="1795"/>
                  <a:pt x="2536" y="1795"/>
                </a:cubicBezTo>
                <a:cubicBezTo>
                  <a:pt x="2536" y="1795"/>
                  <a:pt x="2536" y="1796"/>
                  <a:pt x="2536" y="1796"/>
                </a:cubicBezTo>
                <a:cubicBezTo>
                  <a:pt x="2537" y="1796"/>
                  <a:pt x="2537" y="1796"/>
                  <a:pt x="2537" y="1797"/>
                </a:cubicBezTo>
                <a:cubicBezTo>
                  <a:pt x="2537" y="1797"/>
                  <a:pt x="2537" y="1797"/>
                  <a:pt x="2537" y="1798"/>
                </a:cubicBezTo>
                <a:cubicBezTo>
                  <a:pt x="2538" y="1798"/>
                  <a:pt x="2538" y="1799"/>
                  <a:pt x="2538" y="1799"/>
                </a:cubicBezTo>
                <a:cubicBezTo>
                  <a:pt x="2538" y="1799"/>
                  <a:pt x="2538" y="1799"/>
                  <a:pt x="2539" y="1800"/>
                </a:cubicBezTo>
                <a:cubicBezTo>
                  <a:pt x="2539" y="1800"/>
                  <a:pt x="2538" y="1800"/>
                  <a:pt x="2538" y="1800"/>
                </a:cubicBezTo>
                <a:cubicBezTo>
                  <a:pt x="2537" y="1801"/>
                  <a:pt x="2538" y="1801"/>
                  <a:pt x="2538" y="1802"/>
                </a:cubicBezTo>
                <a:close/>
                <a:moveTo>
                  <a:pt x="2598" y="1841"/>
                </a:moveTo>
                <a:cubicBezTo>
                  <a:pt x="2598" y="1841"/>
                  <a:pt x="2597" y="1842"/>
                  <a:pt x="2597" y="1842"/>
                </a:cubicBezTo>
                <a:cubicBezTo>
                  <a:pt x="2597" y="1842"/>
                  <a:pt x="2598" y="1842"/>
                  <a:pt x="2598" y="1842"/>
                </a:cubicBezTo>
                <a:cubicBezTo>
                  <a:pt x="2599" y="1842"/>
                  <a:pt x="2599" y="1842"/>
                  <a:pt x="2598" y="1842"/>
                </a:cubicBezTo>
                <a:cubicBezTo>
                  <a:pt x="2598" y="1842"/>
                  <a:pt x="2599" y="1841"/>
                  <a:pt x="2598" y="1841"/>
                </a:cubicBezTo>
                <a:close/>
                <a:moveTo>
                  <a:pt x="2599" y="1886"/>
                </a:moveTo>
                <a:cubicBezTo>
                  <a:pt x="2600" y="1887"/>
                  <a:pt x="2600" y="1889"/>
                  <a:pt x="2600" y="1890"/>
                </a:cubicBezTo>
                <a:cubicBezTo>
                  <a:pt x="2601" y="1890"/>
                  <a:pt x="2601" y="1890"/>
                  <a:pt x="2601" y="1889"/>
                </a:cubicBezTo>
                <a:cubicBezTo>
                  <a:pt x="2601" y="1889"/>
                  <a:pt x="2601" y="1888"/>
                  <a:pt x="2601" y="1888"/>
                </a:cubicBezTo>
                <a:cubicBezTo>
                  <a:pt x="2602" y="1888"/>
                  <a:pt x="2603" y="1889"/>
                  <a:pt x="2603" y="1888"/>
                </a:cubicBezTo>
                <a:cubicBezTo>
                  <a:pt x="2604" y="1887"/>
                  <a:pt x="2603" y="1886"/>
                  <a:pt x="2603" y="1886"/>
                </a:cubicBezTo>
                <a:cubicBezTo>
                  <a:pt x="2602" y="1885"/>
                  <a:pt x="2602" y="1883"/>
                  <a:pt x="2602" y="1883"/>
                </a:cubicBezTo>
                <a:cubicBezTo>
                  <a:pt x="2602" y="1882"/>
                  <a:pt x="2601" y="1882"/>
                  <a:pt x="2601" y="1881"/>
                </a:cubicBezTo>
                <a:cubicBezTo>
                  <a:pt x="2601" y="1881"/>
                  <a:pt x="2601" y="1880"/>
                  <a:pt x="2600" y="1880"/>
                </a:cubicBezTo>
                <a:cubicBezTo>
                  <a:pt x="2600" y="1879"/>
                  <a:pt x="2599" y="1880"/>
                  <a:pt x="2598" y="1878"/>
                </a:cubicBezTo>
                <a:cubicBezTo>
                  <a:pt x="2598" y="1877"/>
                  <a:pt x="2598" y="1877"/>
                  <a:pt x="2599" y="1876"/>
                </a:cubicBezTo>
                <a:cubicBezTo>
                  <a:pt x="2599" y="1875"/>
                  <a:pt x="2599" y="1875"/>
                  <a:pt x="2599" y="1874"/>
                </a:cubicBezTo>
                <a:cubicBezTo>
                  <a:pt x="2599" y="1874"/>
                  <a:pt x="2599" y="1874"/>
                  <a:pt x="2599" y="1873"/>
                </a:cubicBezTo>
                <a:cubicBezTo>
                  <a:pt x="2599" y="1873"/>
                  <a:pt x="2599" y="1873"/>
                  <a:pt x="2599" y="1872"/>
                </a:cubicBezTo>
                <a:cubicBezTo>
                  <a:pt x="2599" y="1872"/>
                  <a:pt x="2599" y="1871"/>
                  <a:pt x="2599" y="1871"/>
                </a:cubicBezTo>
                <a:cubicBezTo>
                  <a:pt x="2599" y="1870"/>
                  <a:pt x="2599" y="1869"/>
                  <a:pt x="2598" y="1869"/>
                </a:cubicBezTo>
                <a:cubicBezTo>
                  <a:pt x="2598" y="1869"/>
                  <a:pt x="2598" y="1868"/>
                  <a:pt x="2597" y="1868"/>
                </a:cubicBezTo>
                <a:cubicBezTo>
                  <a:pt x="2597" y="1867"/>
                  <a:pt x="2597" y="1867"/>
                  <a:pt x="2597" y="1866"/>
                </a:cubicBezTo>
                <a:cubicBezTo>
                  <a:pt x="2597" y="1866"/>
                  <a:pt x="2597" y="1866"/>
                  <a:pt x="2597" y="1865"/>
                </a:cubicBezTo>
                <a:cubicBezTo>
                  <a:pt x="2596" y="1865"/>
                  <a:pt x="2596" y="1865"/>
                  <a:pt x="2596" y="1865"/>
                </a:cubicBezTo>
                <a:cubicBezTo>
                  <a:pt x="2595" y="1866"/>
                  <a:pt x="2595" y="1865"/>
                  <a:pt x="2594" y="1866"/>
                </a:cubicBezTo>
                <a:cubicBezTo>
                  <a:pt x="2593" y="1867"/>
                  <a:pt x="2593" y="1868"/>
                  <a:pt x="2591" y="1868"/>
                </a:cubicBezTo>
                <a:cubicBezTo>
                  <a:pt x="2590" y="1868"/>
                  <a:pt x="2589" y="1867"/>
                  <a:pt x="2589" y="1866"/>
                </a:cubicBezTo>
                <a:cubicBezTo>
                  <a:pt x="2589" y="1865"/>
                  <a:pt x="2588" y="1864"/>
                  <a:pt x="2588" y="1865"/>
                </a:cubicBezTo>
                <a:cubicBezTo>
                  <a:pt x="2588" y="1865"/>
                  <a:pt x="2588" y="1866"/>
                  <a:pt x="2588" y="1866"/>
                </a:cubicBezTo>
                <a:cubicBezTo>
                  <a:pt x="2587" y="1866"/>
                  <a:pt x="2587" y="1865"/>
                  <a:pt x="2586" y="1864"/>
                </a:cubicBezTo>
                <a:cubicBezTo>
                  <a:pt x="2586" y="1864"/>
                  <a:pt x="2586" y="1863"/>
                  <a:pt x="2585" y="1863"/>
                </a:cubicBezTo>
                <a:cubicBezTo>
                  <a:pt x="2585" y="1863"/>
                  <a:pt x="2585" y="1863"/>
                  <a:pt x="2585" y="1863"/>
                </a:cubicBezTo>
                <a:cubicBezTo>
                  <a:pt x="2584" y="1864"/>
                  <a:pt x="2585" y="1864"/>
                  <a:pt x="2585" y="1865"/>
                </a:cubicBezTo>
                <a:cubicBezTo>
                  <a:pt x="2585" y="1866"/>
                  <a:pt x="2585" y="1866"/>
                  <a:pt x="2586" y="1867"/>
                </a:cubicBezTo>
                <a:cubicBezTo>
                  <a:pt x="2586" y="1867"/>
                  <a:pt x="2586" y="1868"/>
                  <a:pt x="2586" y="1868"/>
                </a:cubicBezTo>
                <a:cubicBezTo>
                  <a:pt x="2586" y="1869"/>
                  <a:pt x="2586" y="1869"/>
                  <a:pt x="2586" y="1870"/>
                </a:cubicBezTo>
                <a:cubicBezTo>
                  <a:pt x="2586" y="1871"/>
                  <a:pt x="2587" y="1871"/>
                  <a:pt x="2586" y="1872"/>
                </a:cubicBezTo>
                <a:cubicBezTo>
                  <a:pt x="2586" y="1873"/>
                  <a:pt x="2587" y="1873"/>
                  <a:pt x="2587" y="1874"/>
                </a:cubicBezTo>
                <a:cubicBezTo>
                  <a:pt x="2587" y="1874"/>
                  <a:pt x="2587" y="1875"/>
                  <a:pt x="2587" y="1875"/>
                </a:cubicBezTo>
                <a:cubicBezTo>
                  <a:pt x="2587" y="1876"/>
                  <a:pt x="2588" y="1876"/>
                  <a:pt x="2588" y="1876"/>
                </a:cubicBezTo>
                <a:cubicBezTo>
                  <a:pt x="2589" y="1877"/>
                  <a:pt x="2589" y="1875"/>
                  <a:pt x="2589" y="1875"/>
                </a:cubicBezTo>
                <a:cubicBezTo>
                  <a:pt x="2590" y="1873"/>
                  <a:pt x="2591" y="1874"/>
                  <a:pt x="2592" y="1875"/>
                </a:cubicBezTo>
                <a:cubicBezTo>
                  <a:pt x="2593" y="1876"/>
                  <a:pt x="2594" y="1877"/>
                  <a:pt x="2594" y="1878"/>
                </a:cubicBezTo>
                <a:cubicBezTo>
                  <a:pt x="2595" y="1880"/>
                  <a:pt x="2594" y="1881"/>
                  <a:pt x="2594" y="1882"/>
                </a:cubicBezTo>
                <a:cubicBezTo>
                  <a:pt x="2594" y="1883"/>
                  <a:pt x="2593" y="1884"/>
                  <a:pt x="2593" y="1886"/>
                </a:cubicBezTo>
                <a:cubicBezTo>
                  <a:pt x="2593" y="1887"/>
                  <a:pt x="2594" y="1887"/>
                  <a:pt x="2594" y="1888"/>
                </a:cubicBezTo>
                <a:cubicBezTo>
                  <a:pt x="2594" y="1889"/>
                  <a:pt x="2594" y="1889"/>
                  <a:pt x="2594" y="1890"/>
                </a:cubicBezTo>
                <a:cubicBezTo>
                  <a:pt x="2594" y="1891"/>
                  <a:pt x="2595" y="1891"/>
                  <a:pt x="2595" y="1891"/>
                </a:cubicBezTo>
                <a:cubicBezTo>
                  <a:pt x="2596" y="1891"/>
                  <a:pt x="2596" y="1891"/>
                  <a:pt x="2596" y="1891"/>
                </a:cubicBezTo>
                <a:cubicBezTo>
                  <a:pt x="2597" y="1892"/>
                  <a:pt x="2597" y="1892"/>
                  <a:pt x="2598" y="1892"/>
                </a:cubicBezTo>
                <a:cubicBezTo>
                  <a:pt x="2598" y="1893"/>
                  <a:pt x="2598" y="1893"/>
                  <a:pt x="2599" y="1893"/>
                </a:cubicBezTo>
                <a:cubicBezTo>
                  <a:pt x="2599" y="1893"/>
                  <a:pt x="2599" y="1892"/>
                  <a:pt x="2599" y="1891"/>
                </a:cubicBezTo>
                <a:cubicBezTo>
                  <a:pt x="2599" y="1891"/>
                  <a:pt x="2598" y="1890"/>
                  <a:pt x="2598" y="1890"/>
                </a:cubicBezTo>
                <a:cubicBezTo>
                  <a:pt x="2598" y="1889"/>
                  <a:pt x="2598" y="1888"/>
                  <a:pt x="2598" y="1887"/>
                </a:cubicBezTo>
                <a:cubicBezTo>
                  <a:pt x="2598" y="1887"/>
                  <a:pt x="2598" y="1886"/>
                  <a:pt x="2598" y="1886"/>
                </a:cubicBezTo>
                <a:cubicBezTo>
                  <a:pt x="2599" y="1886"/>
                  <a:pt x="2599" y="1886"/>
                  <a:pt x="2599" y="1886"/>
                </a:cubicBezTo>
                <a:close/>
                <a:moveTo>
                  <a:pt x="2593" y="1909"/>
                </a:moveTo>
                <a:cubicBezTo>
                  <a:pt x="2592" y="1909"/>
                  <a:pt x="2591" y="1910"/>
                  <a:pt x="2592" y="1911"/>
                </a:cubicBezTo>
                <a:cubicBezTo>
                  <a:pt x="2592" y="1911"/>
                  <a:pt x="2593" y="1911"/>
                  <a:pt x="2593" y="1912"/>
                </a:cubicBezTo>
                <a:cubicBezTo>
                  <a:pt x="2594" y="1912"/>
                  <a:pt x="2594" y="1912"/>
                  <a:pt x="2594" y="1912"/>
                </a:cubicBezTo>
                <a:cubicBezTo>
                  <a:pt x="2595" y="1912"/>
                  <a:pt x="2595" y="1910"/>
                  <a:pt x="2595" y="1910"/>
                </a:cubicBezTo>
                <a:cubicBezTo>
                  <a:pt x="2594" y="1909"/>
                  <a:pt x="2594" y="1910"/>
                  <a:pt x="2594" y="1909"/>
                </a:cubicBezTo>
                <a:cubicBezTo>
                  <a:pt x="2593" y="1909"/>
                  <a:pt x="2593" y="1909"/>
                  <a:pt x="2593" y="1909"/>
                </a:cubicBezTo>
                <a:close/>
                <a:moveTo>
                  <a:pt x="2572" y="1909"/>
                </a:moveTo>
                <a:cubicBezTo>
                  <a:pt x="2572" y="1909"/>
                  <a:pt x="2572" y="1908"/>
                  <a:pt x="2571" y="1908"/>
                </a:cubicBezTo>
                <a:cubicBezTo>
                  <a:pt x="2570" y="1908"/>
                  <a:pt x="2570" y="1910"/>
                  <a:pt x="2570" y="1910"/>
                </a:cubicBezTo>
                <a:cubicBezTo>
                  <a:pt x="2570" y="1910"/>
                  <a:pt x="2568" y="1910"/>
                  <a:pt x="2568" y="1911"/>
                </a:cubicBezTo>
                <a:cubicBezTo>
                  <a:pt x="2569" y="1912"/>
                  <a:pt x="2570" y="1911"/>
                  <a:pt x="2570" y="1912"/>
                </a:cubicBezTo>
                <a:cubicBezTo>
                  <a:pt x="2571" y="1912"/>
                  <a:pt x="2571" y="1912"/>
                  <a:pt x="2572" y="1912"/>
                </a:cubicBezTo>
                <a:cubicBezTo>
                  <a:pt x="2573" y="1912"/>
                  <a:pt x="2574" y="1911"/>
                  <a:pt x="2573" y="1911"/>
                </a:cubicBezTo>
                <a:cubicBezTo>
                  <a:pt x="2573" y="1911"/>
                  <a:pt x="2572" y="1910"/>
                  <a:pt x="2573" y="1910"/>
                </a:cubicBezTo>
                <a:cubicBezTo>
                  <a:pt x="2573" y="1910"/>
                  <a:pt x="2573" y="1909"/>
                  <a:pt x="2572" y="1909"/>
                </a:cubicBezTo>
                <a:close/>
                <a:moveTo>
                  <a:pt x="2614" y="1879"/>
                </a:moveTo>
                <a:cubicBezTo>
                  <a:pt x="2614" y="1878"/>
                  <a:pt x="2613" y="1879"/>
                  <a:pt x="2612" y="1878"/>
                </a:cubicBezTo>
                <a:cubicBezTo>
                  <a:pt x="2612" y="1878"/>
                  <a:pt x="2612" y="1878"/>
                  <a:pt x="2612" y="1877"/>
                </a:cubicBezTo>
                <a:cubicBezTo>
                  <a:pt x="2612" y="1877"/>
                  <a:pt x="2612" y="1877"/>
                  <a:pt x="2611" y="1877"/>
                </a:cubicBezTo>
                <a:cubicBezTo>
                  <a:pt x="2611" y="1878"/>
                  <a:pt x="2612" y="1879"/>
                  <a:pt x="2612" y="1879"/>
                </a:cubicBezTo>
                <a:cubicBezTo>
                  <a:pt x="2613" y="1879"/>
                  <a:pt x="2615" y="1880"/>
                  <a:pt x="2614" y="1879"/>
                </a:cubicBezTo>
                <a:close/>
                <a:moveTo>
                  <a:pt x="2588" y="1843"/>
                </a:moveTo>
                <a:cubicBezTo>
                  <a:pt x="2587" y="1843"/>
                  <a:pt x="2587" y="1844"/>
                  <a:pt x="2587" y="1843"/>
                </a:cubicBezTo>
                <a:cubicBezTo>
                  <a:pt x="2587" y="1843"/>
                  <a:pt x="2587" y="1843"/>
                  <a:pt x="2587" y="1843"/>
                </a:cubicBezTo>
                <a:cubicBezTo>
                  <a:pt x="2586" y="1843"/>
                  <a:pt x="2586" y="1843"/>
                  <a:pt x="2585" y="1843"/>
                </a:cubicBezTo>
                <a:cubicBezTo>
                  <a:pt x="2585" y="1843"/>
                  <a:pt x="2585" y="1843"/>
                  <a:pt x="2584" y="1843"/>
                </a:cubicBezTo>
                <a:cubicBezTo>
                  <a:pt x="2584" y="1842"/>
                  <a:pt x="2584" y="1842"/>
                  <a:pt x="2584" y="1843"/>
                </a:cubicBezTo>
                <a:cubicBezTo>
                  <a:pt x="2584" y="1844"/>
                  <a:pt x="2584" y="1845"/>
                  <a:pt x="2585" y="1845"/>
                </a:cubicBezTo>
                <a:cubicBezTo>
                  <a:pt x="2585" y="1847"/>
                  <a:pt x="2584" y="1848"/>
                  <a:pt x="2585" y="1849"/>
                </a:cubicBezTo>
                <a:cubicBezTo>
                  <a:pt x="2586" y="1849"/>
                  <a:pt x="2586" y="1850"/>
                  <a:pt x="2586" y="1850"/>
                </a:cubicBezTo>
                <a:cubicBezTo>
                  <a:pt x="2587" y="1851"/>
                  <a:pt x="2587" y="1851"/>
                  <a:pt x="2588" y="1851"/>
                </a:cubicBezTo>
                <a:cubicBezTo>
                  <a:pt x="2588" y="1852"/>
                  <a:pt x="2588" y="1852"/>
                  <a:pt x="2589" y="1852"/>
                </a:cubicBezTo>
                <a:cubicBezTo>
                  <a:pt x="2589" y="1853"/>
                  <a:pt x="2590" y="1853"/>
                  <a:pt x="2590" y="1853"/>
                </a:cubicBezTo>
                <a:cubicBezTo>
                  <a:pt x="2592" y="1853"/>
                  <a:pt x="2592" y="1854"/>
                  <a:pt x="2593" y="1855"/>
                </a:cubicBezTo>
                <a:cubicBezTo>
                  <a:pt x="2593" y="1856"/>
                  <a:pt x="2595" y="1857"/>
                  <a:pt x="2595" y="1857"/>
                </a:cubicBezTo>
                <a:cubicBezTo>
                  <a:pt x="2595" y="1858"/>
                  <a:pt x="2596" y="1858"/>
                  <a:pt x="2596" y="1859"/>
                </a:cubicBezTo>
                <a:cubicBezTo>
                  <a:pt x="2596" y="1859"/>
                  <a:pt x="2597" y="1859"/>
                  <a:pt x="2597" y="1858"/>
                </a:cubicBezTo>
                <a:cubicBezTo>
                  <a:pt x="2598" y="1858"/>
                  <a:pt x="2599" y="1858"/>
                  <a:pt x="2599" y="1859"/>
                </a:cubicBezTo>
                <a:cubicBezTo>
                  <a:pt x="2599" y="1860"/>
                  <a:pt x="2598" y="1860"/>
                  <a:pt x="2598" y="1860"/>
                </a:cubicBezTo>
                <a:cubicBezTo>
                  <a:pt x="2598" y="1861"/>
                  <a:pt x="2598" y="1861"/>
                  <a:pt x="2598" y="1861"/>
                </a:cubicBezTo>
                <a:cubicBezTo>
                  <a:pt x="2598" y="1862"/>
                  <a:pt x="2598" y="1862"/>
                  <a:pt x="2598" y="1862"/>
                </a:cubicBezTo>
                <a:cubicBezTo>
                  <a:pt x="2597" y="1862"/>
                  <a:pt x="2597" y="1862"/>
                  <a:pt x="2597" y="1862"/>
                </a:cubicBezTo>
                <a:cubicBezTo>
                  <a:pt x="2597" y="1863"/>
                  <a:pt x="2596" y="1862"/>
                  <a:pt x="2596" y="1862"/>
                </a:cubicBezTo>
                <a:cubicBezTo>
                  <a:pt x="2596" y="1863"/>
                  <a:pt x="2596" y="1863"/>
                  <a:pt x="2596" y="1863"/>
                </a:cubicBezTo>
                <a:cubicBezTo>
                  <a:pt x="2595" y="1863"/>
                  <a:pt x="2595" y="1863"/>
                  <a:pt x="2595" y="1864"/>
                </a:cubicBezTo>
                <a:cubicBezTo>
                  <a:pt x="2595" y="1864"/>
                  <a:pt x="2596" y="1865"/>
                  <a:pt x="2596" y="1864"/>
                </a:cubicBezTo>
                <a:cubicBezTo>
                  <a:pt x="2596" y="1864"/>
                  <a:pt x="2596" y="1864"/>
                  <a:pt x="2597" y="1864"/>
                </a:cubicBezTo>
                <a:cubicBezTo>
                  <a:pt x="2597" y="1865"/>
                  <a:pt x="2598" y="1865"/>
                  <a:pt x="2598" y="1865"/>
                </a:cubicBezTo>
                <a:cubicBezTo>
                  <a:pt x="2598" y="1866"/>
                  <a:pt x="2598" y="1866"/>
                  <a:pt x="2598" y="1867"/>
                </a:cubicBezTo>
                <a:cubicBezTo>
                  <a:pt x="2598" y="1867"/>
                  <a:pt x="2598" y="1868"/>
                  <a:pt x="2598" y="1868"/>
                </a:cubicBezTo>
                <a:cubicBezTo>
                  <a:pt x="2598" y="1868"/>
                  <a:pt x="2599" y="1868"/>
                  <a:pt x="2599" y="1868"/>
                </a:cubicBezTo>
                <a:cubicBezTo>
                  <a:pt x="2601" y="1868"/>
                  <a:pt x="2602" y="1869"/>
                  <a:pt x="2602" y="1870"/>
                </a:cubicBezTo>
                <a:cubicBezTo>
                  <a:pt x="2602" y="1871"/>
                  <a:pt x="2602" y="1873"/>
                  <a:pt x="2603" y="1872"/>
                </a:cubicBezTo>
                <a:cubicBezTo>
                  <a:pt x="2604" y="1871"/>
                  <a:pt x="2604" y="1871"/>
                  <a:pt x="2605" y="1871"/>
                </a:cubicBezTo>
                <a:cubicBezTo>
                  <a:pt x="2605" y="1871"/>
                  <a:pt x="2606" y="1871"/>
                  <a:pt x="2606" y="1872"/>
                </a:cubicBezTo>
                <a:cubicBezTo>
                  <a:pt x="2607" y="1872"/>
                  <a:pt x="2607" y="1872"/>
                  <a:pt x="2607" y="1871"/>
                </a:cubicBezTo>
                <a:cubicBezTo>
                  <a:pt x="2608" y="1871"/>
                  <a:pt x="2608" y="1872"/>
                  <a:pt x="2608" y="1872"/>
                </a:cubicBezTo>
                <a:cubicBezTo>
                  <a:pt x="2608" y="1872"/>
                  <a:pt x="2608" y="1871"/>
                  <a:pt x="2609" y="1871"/>
                </a:cubicBezTo>
                <a:cubicBezTo>
                  <a:pt x="2609" y="1871"/>
                  <a:pt x="2609" y="1871"/>
                  <a:pt x="2609" y="1871"/>
                </a:cubicBezTo>
                <a:cubicBezTo>
                  <a:pt x="2610" y="1872"/>
                  <a:pt x="2610" y="1871"/>
                  <a:pt x="2611" y="1871"/>
                </a:cubicBezTo>
                <a:cubicBezTo>
                  <a:pt x="2611" y="1871"/>
                  <a:pt x="2611" y="1871"/>
                  <a:pt x="2611" y="1871"/>
                </a:cubicBezTo>
                <a:cubicBezTo>
                  <a:pt x="2611" y="1872"/>
                  <a:pt x="2611" y="1872"/>
                  <a:pt x="2611" y="1872"/>
                </a:cubicBezTo>
                <a:cubicBezTo>
                  <a:pt x="2611" y="1873"/>
                  <a:pt x="2612" y="1873"/>
                  <a:pt x="2612" y="1873"/>
                </a:cubicBezTo>
                <a:cubicBezTo>
                  <a:pt x="2612" y="1873"/>
                  <a:pt x="2613" y="1873"/>
                  <a:pt x="2614" y="1874"/>
                </a:cubicBezTo>
                <a:cubicBezTo>
                  <a:pt x="2614" y="1874"/>
                  <a:pt x="2614" y="1874"/>
                  <a:pt x="2615" y="1875"/>
                </a:cubicBezTo>
                <a:cubicBezTo>
                  <a:pt x="2615" y="1874"/>
                  <a:pt x="2614" y="1873"/>
                  <a:pt x="2613" y="1873"/>
                </a:cubicBezTo>
                <a:cubicBezTo>
                  <a:pt x="2612" y="1872"/>
                  <a:pt x="2612" y="1871"/>
                  <a:pt x="2611" y="1870"/>
                </a:cubicBezTo>
                <a:cubicBezTo>
                  <a:pt x="2611" y="1869"/>
                  <a:pt x="2611" y="1869"/>
                  <a:pt x="2610" y="1870"/>
                </a:cubicBezTo>
                <a:cubicBezTo>
                  <a:pt x="2609" y="1870"/>
                  <a:pt x="2608" y="1870"/>
                  <a:pt x="2609" y="1869"/>
                </a:cubicBezTo>
                <a:cubicBezTo>
                  <a:pt x="2609" y="1868"/>
                  <a:pt x="2611" y="1867"/>
                  <a:pt x="2610" y="1866"/>
                </a:cubicBezTo>
                <a:cubicBezTo>
                  <a:pt x="2610" y="1866"/>
                  <a:pt x="2610" y="1866"/>
                  <a:pt x="2609" y="1866"/>
                </a:cubicBezTo>
                <a:cubicBezTo>
                  <a:pt x="2609" y="1865"/>
                  <a:pt x="2609" y="1865"/>
                  <a:pt x="2609" y="1865"/>
                </a:cubicBezTo>
                <a:cubicBezTo>
                  <a:pt x="2608" y="1865"/>
                  <a:pt x="2607" y="1863"/>
                  <a:pt x="2607" y="1862"/>
                </a:cubicBezTo>
                <a:cubicBezTo>
                  <a:pt x="2607" y="1861"/>
                  <a:pt x="2607" y="1861"/>
                  <a:pt x="2607" y="1860"/>
                </a:cubicBezTo>
                <a:cubicBezTo>
                  <a:pt x="2607" y="1859"/>
                  <a:pt x="2607" y="1859"/>
                  <a:pt x="2607" y="1858"/>
                </a:cubicBezTo>
                <a:cubicBezTo>
                  <a:pt x="2607" y="1856"/>
                  <a:pt x="2606" y="1855"/>
                  <a:pt x="2607" y="1854"/>
                </a:cubicBezTo>
                <a:cubicBezTo>
                  <a:pt x="2607" y="1853"/>
                  <a:pt x="2608" y="1853"/>
                  <a:pt x="2608" y="1853"/>
                </a:cubicBezTo>
                <a:cubicBezTo>
                  <a:pt x="2608" y="1853"/>
                  <a:pt x="2608" y="1852"/>
                  <a:pt x="2608" y="1852"/>
                </a:cubicBezTo>
                <a:cubicBezTo>
                  <a:pt x="2607" y="1852"/>
                  <a:pt x="2607" y="1852"/>
                  <a:pt x="2607" y="1851"/>
                </a:cubicBezTo>
                <a:cubicBezTo>
                  <a:pt x="2607" y="1851"/>
                  <a:pt x="2607" y="1851"/>
                  <a:pt x="2608" y="1850"/>
                </a:cubicBezTo>
                <a:cubicBezTo>
                  <a:pt x="2609" y="1851"/>
                  <a:pt x="2607" y="1849"/>
                  <a:pt x="2607" y="1849"/>
                </a:cubicBezTo>
                <a:cubicBezTo>
                  <a:pt x="2607" y="1848"/>
                  <a:pt x="2605" y="1848"/>
                  <a:pt x="2605" y="1848"/>
                </a:cubicBezTo>
                <a:cubicBezTo>
                  <a:pt x="2605" y="1848"/>
                  <a:pt x="2604" y="1849"/>
                  <a:pt x="2605" y="1848"/>
                </a:cubicBezTo>
                <a:cubicBezTo>
                  <a:pt x="2605" y="1847"/>
                  <a:pt x="2604" y="1848"/>
                  <a:pt x="2604" y="1848"/>
                </a:cubicBezTo>
                <a:cubicBezTo>
                  <a:pt x="2603" y="1847"/>
                  <a:pt x="2604" y="1846"/>
                  <a:pt x="2604" y="1846"/>
                </a:cubicBezTo>
                <a:cubicBezTo>
                  <a:pt x="2604" y="1846"/>
                  <a:pt x="2605" y="1846"/>
                  <a:pt x="2604" y="1845"/>
                </a:cubicBezTo>
                <a:cubicBezTo>
                  <a:pt x="2603" y="1845"/>
                  <a:pt x="2603" y="1844"/>
                  <a:pt x="2602" y="1843"/>
                </a:cubicBezTo>
                <a:cubicBezTo>
                  <a:pt x="2602" y="1843"/>
                  <a:pt x="2601" y="1842"/>
                  <a:pt x="2600" y="1842"/>
                </a:cubicBezTo>
                <a:cubicBezTo>
                  <a:pt x="2599" y="1842"/>
                  <a:pt x="2598" y="1843"/>
                  <a:pt x="2598" y="1843"/>
                </a:cubicBezTo>
                <a:cubicBezTo>
                  <a:pt x="2598" y="1843"/>
                  <a:pt x="2598" y="1842"/>
                  <a:pt x="2597" y="1842"/>
                </a:cubicBezTo>
                <a:cubicBezTo>
                  <a:pt x="2597" y="1842"/>
                  <a:pt x="2596" y="1842"/>
                  <a:pt x="2595" y="1843"/>
                </a:cubicBezTo>
                <a:cubicBezTo>
                  <a:pt x="2595" y="1843"/>
                  <a:pt x="2595" y="1843"/>
                  <a:pt x="2595" y="1844"/>
                </a:cubicBezTo>
                <a:cubicBezTo>
                  <a:pt x="2594" y="1844"/>
                  <a:pt x="2593" y="1844"/>
                  <a:pt x="2592" y="1844"/>
                </a:cubicBezTo>
                <a:cubicBezTo>
                  <a:pt x="2591" y="1844"/>
                  <a:pt x="2589" y="1843"/>
                  <a:pt x="2588" y="1843"/>
                </a:cubicBezTo>
                <a:close/>
                <a:moveTo>
                  <a:pt x="2591" y="1306"/>
                </a:moveTo>
                <a:cubicBezTo>
                  <a:pt x="2591" y="1306"/>
                  <a:pt x="2591" y="1307"/>
                  <a:pt x="2591" y="1307"/>
                </a:cubicBezTo>
                <a:cubicBezTo>
                  <a:pt x="2593" y="1306"/>
                  <a:pt x="2590" y="1305"/>
                  <a:pt x="2591" y="1306"/>
                </a:cubicBezTo>
                <a:close/>
                <a:moveTo>
                  <a:pt x="2610" y="1896"/>
                </a:moveTo>
                <a:cubicBezTo>
                  <a:pt x="2610" y="1896"/>
                  <a:pt x="2610" y="1897"/>
                  <a:pt x="2611" y="1897"/>
                </a:cubicBezTo>
                <a:cubicBezTo>
                  <a:pt x="2611" y="1897"/>
                  <a:pt x="2612" y="1897"/>
                  <a:pt x="2612" y="1896"/>
                </a:cubicBezTo>
                <a:cubicBezTo>
                  <a:pt x="2613" y="1896"/>
                  <a:pt x="2612" y="1895"/>
                  <a:pt x="2612" y="1895"/>
                </a:cubicBezTo>
                <a:cubicBezTo>
                  <a:pt x="2611" y="1894"/>
                  <a:pt x="2612" y="1893"/>
                  <a:pt x="2612" y="1892"/>
                </a:cubicBezTo>
                <a:cubicBezTo>
                  <a:pt x="2612" y="1892"/>
                  <a:pt x="2611" y="1891"/>
                  <a:pt x="2611" y="1890"/>
                </a:cubicBezTo>
                <a:cubicBezTo>
                  <a:pt x="2611" y="1890"/>
                  <a:pt x="2612" y="1889"/>
                  <a:pt x="2611" y="1889"/>
                </a:cubicBezTo>
                <a:cubicBezTo>
                  <a:pt x="2611" y="1889"/>
                  <a:pt x="2611" y="1889"/>
                  <a:pt x="2611" y="1888"/>
                </a:cubicBezTo>
                <a:cubicBezTo>
                  <a:pt x="2611" y="1888"/>
                  <a:pt x="2611" y="1888"/>
                  <a:pt x="2611" y="1887"/>
                </a:cubicBezTo>
                <a:cubicBezTo>
                  <a:pt x="2611" y="1886"/>
                  <a:pt x="2612" y="1885"/>
                  <a:pt x="2611" y="1884"/>
                </a:cubicBezTo>
                <a:cubicBezTo>
                  <a:pt x="2611" y="1884"/>
                  <a:pt x="2611" y="1885"/>
                  <a:pt x="2611" y="1885"/>
                </a:cubicBezTo>
                <a:cubicBezTo>
                  <a:pt x="2610" y="1885"/>
                  <a:pt x="2610" y="1887"/>
                  <a:pt x="2609" y="1886"/>
                </a:cubicBezTo>
                <a:cubicBezTo>
                  <a:pt x="2609" y="1886"/>
                  <a:pt x="2610" y="1887"/>
                  <a:pt x="2609" y="1887"/>
                </a:cubicBezTo>
                <a:cubicBezTo>
                  <a:pt x="2608" y="1887"/>
                  <a:pt x="2609" y="1888"/>
                  <a:pt x="2609" y="1888"/>
                </a:cubicBezTo>
                <a:cubicBezTo>
                  <a:pt x="2609" y="1888"/>
                  <a:pt x="2609" y="1888"/>
                  <a:pt x="2609" y="1889"/>
                </a:cubicBezTo>
                <a:cubicBezTo>
                  <a:pt x="2609" y="1889"/>
                  <a:pt x="2609" y="1890"/>
                  <a:pt x="2609" y="1890"/>
                </a:cubicBezTo>
                <a:cubicBezTo>
                  <a:pt x="2609" y="1890"/>
                  <a:pt x="2608" y="1891"/>
                  <a:pt x="2608" y="1891"/>
                </a:cubicBezTo>
                <a:cubicBezTo>
                  <a:pt x="2608" y="1892"/>
                  <a:pt x="2609" y="1892"/>
                  <a:pt x="2609" y="1892"/>
                </a:cubicBezTo>
                <a:cubicBezTo>
                  <a:pt x="2610" y="1892"/>
                  <a:pt x="2610" y="1893"/>
                  <a:pt x="2610" y="1893"/>
                </a:cubicBezTo>
                <a:cubicBezTo>
                  <a:pt x="2610" y="1894"/>
                  <a:pt x="2611" y="1894"/>
                  <a:pt x="2611" y="1895"/>
                </a:cubicBezTo>
                <a:cubicBezTo>
                  <a:pt x="2611" y="1895"/>
                  <a:pt x="2611" y="1896"/>
                  <a:pt x="2610" y="1896"/>
                </a:cubicBezTo>
                <a:close/>
                <a:moveTo>
                  <a:pt x="2599" y="1840"/>
                </a:moveTo>
                <a:cubicBezTo>
                  <a:pt x="2598" y="1840"/>
                  <a:pt x="2599" y="1841"/>
                  <a:pt x="2599" y="1842"/>
                </a:cubicBezTo>
                <a:cubicBezTo>
                  <a:pt x="2599" y="1842"/>
                  <a:pt x="2600" y="1842"/>
                  <a:pt x="2600" y="1841"/>
                </a:cubicBezTo>
                <a:cubicBezTo>
                  <a:pt x="2599" y="1841"/>
                  <a:pt x="2599" y="1841"/>
                  <a:pt x="2599" y="1841"/>
                </a:cubicBezTo>
                <a:cubicBezTo>
                  <a:pt x="2599" y="1841"/>
                  <a:pt x="2599" y="1841"/>
                  <a:pt x="2599" y="1840"/>
                </a:cubicBezTo>
                <a:cubicBezTo>
                  <a:pt x="2600" y="1840"/>
                  <a:pt x="2599" y="1840"/>
                  <a:pt x="2599" y="1840"/>
                </a:cubicBezTo>
                <a:close/>
                <a:moveTo>
                  <a:pt x="2577" y="1888"/>
                </a:moveTo>
                <a:cubicBezTo>
                  <a:pt x="2578" y="1886"/>
                  <a:pt x="2578" y="1885"/>
                  <a:pt x="2579" y="1884"/>
                </a:cubicBezTo>
                <a:cubicBezTo>
                  <a:pt x="2579" y="1883"/>
                  <a:pt x="2579" y="1883"/>
                  <a:pt x="2579" y="1882"/>
                </a:cubicBezTo>
                <a:cubicBezTo>
                  <a:pt x="2579" y="1882"/>
                  <a:pt x="2580" y="1881"/>
                  <a:pt x="2579" y="1880"/>
                </a:cubicBezTo>
                <a:cubicBezTo>
                  <a:pt x="2579" y="1879"/>
                  <a:pt x="2579" y="1878"/>
                  <a:pt x="2580" y="1876"/>
                </a:cubicBezTo>
                <a:cubicBezTo>
                  <a:pt x="2580" y="1876"/>
                  <a:pt x="2579" y="1876"/>
                  <a:pt x="2579" y="1875"/>
                </a:cubicBezTo>
                <a:cubicBezTo>
                  <a:pt x="2579" y="1874"/>
                  <a:pt x="2580" y="1874"/>
                  <a:pt x="2579" y="1873"/>
                </a:cubicBezTo>
                <a:cubicBezTo>
                  <a:pt x="2579" y="1873"/>
                  <a:pt x="2579" y="1872"/>
                  <a:pt x="2579" y="1872"/>
                </a:cubicBezTo>
                <a:cubicBezTo>
                  <a:pt x="2579" y="1871"/>
                  <a:pt x="2580" y="1871"/>
                  <a:pt x="2580" y="1870"/>
                </a:cubicBezTo>
                <a:cubicBezTo>
                  <a:pt x="2580" y="1870"/>
                  <a:pt x="2580" y="1868"/>
                  <a:pt x="2579" y="1868"/>
                </a:cubicBezTo>
                <a:cubicBezTo>
                  <a:pt x="2579" y="1869"/>
                  <a:pt x="2579" y="1869"/>
                  <a:pt x="2578" y="1870"/>
                </a:cubicBezTo>
                <a:cubicBezTo>
                  <a:pt x="2578" y="1870"/>
                  <a:pt x="2577" y="1870"/>
                  <a:pt x="2578" y="1871"/>
                </a:cubicBezTo>
                <a:cubicBezTo>
                  <a:pt x="2578" y="1872"/>
                  <a:pt x="2577" y="1872"/>
                  <a:pt x="2577" y="1873"/>
                </a:cubicBezTo>
                <a:cubicBezTo>
                  <a:pt x="2577" y="1874"/>
                  <a:pt x="2578" y="1874"/>
                  <a:pt x="2577" y="1875"/>
                </a:cubicBezTo>
                <a:cubicBezTo>
                  <a:pt x="2577" y="1875"/>
                  <a:pt x="2577" y="1876"/>
                  <a:pt x="2577" y="1876"/>
                </a:cubicBezTo>
                <a:cubicBezTo>
                  <a:pt x="2576" y="1877"/>
                  <a:pt x="2576" y="1878"/>
                  <a:pt x="2576" y="1878"/>
                </a:cubicBezTo>
                <a:cubicBezTo>
                  <a:pt x="2576" y="1879"/>
                  <a:pt x="2575" y="1879"/>
                  <a:pt x="2575" y="1880"/>
                </a:cubicBezTo>
                <a:cubicBezTo>
                  <a:pt x="2574" y="1882"/>
                  <a:pt x="2573" y="1883"/>
                  <a:pt x="2572" y="1885"/>
                </a:cubicBezTo>
                <a:cubicBezTo>
                  <a:pt x="2572" y="1886"/>
                  <a:pt x="2572" y="1887"/>
                  <a:pt x="2571" y="1887"/>
                </a:cubicBezTo>
                <a:cubicBezTo>
                  <a:pt x="2571" y="1888"/>
                  <a:pt x="2570" y="1888"/>
                  <a:pt x="2570" y="1889"/>
                </a:cubicBezTo>
                <a:cubicBezTo>
                  <a:pt x="2570" y="1890"/>
                  <a:pt x="2570" y="1890"/>
                  <a:pt x="2569" y="1891"/>
                </a:cubicBezTo>
                <a:cubicBezTo>
                  <a:pt x="2569" y="1891"/>
                  <a:pt x="2569" y="1892"/>
                  <a:pt x="2568" y="1893"/>
                </a:cubicBezTo>
                <a:cubicBezTo>
                  <a:pt x="2568" y="1893"/>
                  <a:pt x="2567" y="1894"/>
                  <a:pt x="2567" y="1894"/>
                </a:cubicBezTo>
                <a:cubicBezTo>
                  <a:pt x="2567" y="1895"/>
                  <a:pt x="2567" y="1896"/>
                  <a:pt x="2567" y="1897"/>
                </a:cubicBezTo>
                <a:cubicBezTo>
                  <a:pt x="2566" y="1898"/>
                  <a:pt x="2566" y="1899"/>
                  <a:pt x="2566" y="1901"/>
                </a:cubicBezTo>
                <a:cubicBezTo>
                  <a:pt x="2566" y="1902"/>
                  <a:pt x="2565" y="1903"/>
                  <a:pt x="2565" y="1904"/>
                </a:cubicBezTo>
                <a:cubicBezTo>
                  <a:pt x="2565" y="1905"/>
                  <a:pt x="2565" y="1906"/>
                  <a:pt x="2566" y="1906"/>
                </a:cubicBezTo>
                <a:cubicBezTo>
                  <a:pt x="2566" y="1906"/>
                  <a:pt x="2567" y="1905"/>
                  <a:pt x="2567" y="1905"/>
                </a:cubicBezTo>
                <a:cubicBezTo>
                  <a:pt x="2567" y="1904"/>
                  <a:pt x="2568" y="1904"/>
                  <a:pt x="2568" y="1903"/>
                </a:cubicBezTo>
                <a:cubicBezTo>
                  <a:pt x="2569" y="1902"/>
                  <a:pt x="2569" y="1901"/>
                  <a:pt x="2569" y="1900"/>
                </a:cubicBezTo>
                <a:cubicBezTo>
                  <a:pt x="2569" y="1898"/>
                  <a:pt x="2571" y="1897"/>
                  <a:pt x="2571" y="1895"/>
                </a:cubicBezTo>
                <a:cubicBezTo>
                  <a:pt x="2572" y="1895"/>
                  <a:pt x="2572" y="1895"/>
                  <a:pt x="2571" y="1894"/>
                </a:cubicBezTo>
                <a:cubicBezTo>
                  <a:pt x="2571" y="1894"/>
                  <a:pt x="2572" y="1893"/>
                  <a:pt x="2572" y="1893"/>
                </a:cubicBezTo>
                <a:cubicBezTo>
                  <a:pt x="2572" y="1892"/>
                  <a:pt x="2572" y="1892"/>
                  <a:pt x="2573" y="1892"/>
                </a:cubicBezTo>
                <a:cubicBezTo>
                  <a:pt x="2573" y="1891"/>
                  <a:pt x="2574" y="1890"/>
                  <a:pt x="2574" y="1890"/>
                </a:cubicBezTo>
                <a:cubicBezTo>
                  <a:pt x="2575" y="1889"/>
                  <a:pt x="2576" y="1889"/>
                  <a:pt x="2577" y="1888"/>
                </a:cubicBezTo>
                <a:close/>
                <a:moveTo>
                  <a:pt x="23" y="846"/>
                </a:moveTo>
                <a:cubicBezTo>
                  <a:pt x="23" y="846"/>
                  <a:pt x="23" y="847"/>
                  <a:pt x="24" y="846"/>
                </a:cubicBezTo>
                <a:cubicBezTo>
                  <a:pt x="24" y="845"/>
                  <a:pt x="24" y="844"/>
                  <a:pt x="24" y="844"/>
                </a:cubicBezTo>
                <a:cubicBezTo>
                  <a:pt x="24" y="843"/>
                  <a:pt x="24" y="843"/>
                  <a:pt x="23" y="842"/>
                </a:cubicBezTo>
                <a:cubicBezTo>
                  <a:pt x="22" y="842"/>
                  <a:pt x="22" y="842"/>
                  <a:pt x="21" y="842"/>
                </a:cubicBezTo>
                <a:cubicBezTo>
                  <a:pt x="20" y="841"/>
                  <a:pt x="20" y="841"/>
                  <a:pt x="19" y="841"/>
                </a:cubicBezTo>
                <a:cubicBezTo>
                  <a:pt x="18" y="841"/>
                  <a:pt x="18" y="839"/>
                  <a:pt x="17" y="838"/>
                </a:cubicBezTo>
                <a:cubicBezTo>
                  <a:pt x="17" y="838"/>
                  <a:pt x="16" y="837"/>
                  <a:pt x="16" y="837"/>
                </a:cubicBezTo>
                <a:cubicBezTo>
                  <a:pt x="15" y="836"/>
                  <a:pt x="13" y="838"/>
                  <a:pt x="12" y="838"/>
                </a:cubicBezTo>
                <a:cubicBezTo>
                  <a:pt x="12" y="838"/>
                  <a:pt x="12" y="838"/>
                  <a:pt x="11" y="838"/>
                </a:cubicBezTo>
                <a:cubicBezTo>
                  <a:pt x="11" y="838"/>
                  <a:pt x="11" y="839"/>
                  <a:pt x="11" y="839"/>
                </a:cubicBezTo>
                <a:cubicBezTo>
                  <a:pt x="11" y="840"/>
                  <a:pt x="12" y="840"/>
                  <a:pt x="13" y="840"/>
                </a:cubicBezTo>
                <a:cubicBezTo>
                  <a:pt x="14" y="841"/>
                  <a:pt x="13" y="842"/>
                  <a:pt x="14" y="842"/>
                </a:cubicBezTo>
                <a:cubicBezTo>
                  <a:pt x="15" y="842"/>
                  <a:pt x="17" y="841"/>
                  <a:pt x="17" y="842"/>
                </a:cubicBezTo>
                <a:cubicBezTo>
                  <a:pt x="18" y="843"/>
                  <a:pt x="15" y="844"/>
                  <a:pt x="18" y="844"/>
                </a:cubicBezTo>
                <a:cubicBezTo>
                  <a:pt x="18" y="845"/>
                  <a:pt x="17" y="845"/>
                  <a:pt x="16" y="845"/>
                </a:cubicBezTo>
                <a:cubicBezTo>
                  <a:pt x="15" y="845"/>
                  <a:pt x="15" y="846"/>
                  <a:pt x="14" y="846"/>
                </a:cubicBezTo>
                <a:cubicBezTo>
                  <a:pt x="14" y="846"/>
                  <a:pt x="13" y="846"/>
                  <a:pt x="13" y="846"/>
                </a:cubicBezTo>
                <a:cubicBezTo>
                  <a:pt x="12" y="846"/>
                  <a:pt x="12" y="846"/>
                  <a:pt x="11" y="846"/>
                </a:cubicBezTo>
                <a:cubicBezTo>
                  <a:pt x="11" y="846"/>
                  <a:pt x="11" y="847"/>
                  <a:pt x="12" y="848"/>
                </a:cubicBezTo>
                <a:cubicBezTo>
                  <a:pt x="13" y="849"/>
                  <a:pt x="14" y="847"/>
                  <a:pt x="15" y="847"/>
                </a:cubicBezTo>
                <a:cubicBezTo>
                  <a:pt x="16" y="847"/>
                  <a:pt x="16" y="847"/>
                  <a:pt x="17" y="847"/>
                </a:cubicBezTo>
                <a:cubicBezTo>
                  <a:pt x="18" y="846"/>
                  <a:pt x="18" y="846"/>
                  <a:pt x="19" y="846"/>
                </a:cubicBezTo>
                <a:cubicBezTo>
                  <a:pt x="20" y="846"/>
                  <a:pt x="20" y="846"/>
                  <a:pt x="21" y="847"/>
                </a:cubicBezTo>
                <a:cubicBezTo>
                  <a:pt x="21" y="847"/>
                  <a:pt x="22" y="847"/>
                  <a:pt x="22" y="847"/>
                </a:cubicBezTo>
                <a:cubicBezTo>
                  <a:pt x="22" y="846"/>
                  <a:pt x="21" y="845"/>
                  <a:pt x="23" y="846"/>
                </a:cubicBezTo>
                <a:close/>
                <a:moveTo>
                  <a:pt x="1184" y="376"/>
                </a:moveTo>
                <a:cubicBezTo>
                  <a:pt x="1183" y="374"/>
                  <a:pt x="1182" y="376"/>
                  <a:pt x="1180" y="376"/>
                </a:cubicBezTo>
                <a:cubicBezTo>
                  <a:pt x="1180" y="375"/>
                  <a:pt x="1180" y="374"/>
                  <a:pt x="1180" y="374"/>
                </a:cubicBezTo>
                <a:cubicBezTo>
                  <a:pt x="1179" y="373"/>
                  <a:pt x="1179" y="373"/>
                  <a:pt x="1178" y="372"/>
                </a:cubicBezTo>
                <a:cubicBezTo>
                  <a:pt x="1178" y="372"/>
                  <a:pt x="1178" y="371"/>
                  <a:pt x="1177" y="371"/>
                </a:cubicBezTo>
                <a:cubicBezTo>
                  <a:pt x="1176" y="370"/>
                  <a:pt x="1177" y="372"/>
                  <a:pt x="1177" y="372"/>
                </a:cubicBezTo>
                <a:cubicBezTo>
                  <a:pt x="1177" y="372"/>
                  <a:pt x="1178" y="372"/>
                  <a:pt x="1177" y="373"/>
                </a:cubicBezTo>
                <a:cubicBezTo>
                  <a:pt x="1177" y="373"/>
                  <a:pt x="1176" y="373"/>
                  <a:pt x="1176" y="373"/>
                </a:cubicBezTo>
                <a:cubicBezTo>
                  <a:pt x="1175" y="373"/>
                  <a:pt x="1176" y="372"/>
                  <a:pt x="1176" y="371"/>
                </a:cubicBezTo>
                <a:cubicBezTo>
                  <a:pt x="1176" y="370"/>
                  <a:pt x="1172" y="370"/>
                  <a:pt x="1171" y="370"/>
                </a:cubicBezTo>
                <a:cubicBezTo>
                  <a:pt x="1170" y="370"/>
                  <a:pt x="1169" y="370"/>
                  <a:pt x="1168" y="371"/>
                </a:cubicBezTo>
                <a:cubicBezTo>
                  <a:pt x="1168" y="371"/>
                  <a:pt x="1168" y="372"/>
                  <a:pt x="1167" y="372"/>
                </a:cubicBezTo>
                <a:cubicBezTo>
                  <a:pt x="1166" y="372"/>
                  <a:pt x="1164" y="371"/>
                  <a:pt x="1165" y="372"/>
                </a:cubicBezTo>
                <a:cubicBezTo>
                  <a:pt x="1165" y="373"/>
                  <a:pt x="1166" y="374"/>
                  <a:pt x="1167" y="374"/>
                </a:cubicBezTo>
                <a:cubicBezTo>
                  <a:pt x="1168" y="375"/>
                  <a:pt x="1169" y="376"/>
                  <a:pt x="1170" y="377"/>
                </a:cubicBezTo>
                <a:cubicBezTo>
                  <a:pt x="1171" y="379"/>
                  <a:pt x="1173" y="379"/>
                  <a:pt x="1174" y="380"/>
                </a:cubicBezTo>
                <a:cubicBezTo>
                  <a:pt x="1175" y="381"/>
                  <a:pt x="1175" y="383"/>
                  <a:pt x="1177" y="383"/>
                </a:cubicBezTo>
                <a:cubicBezTo>
                  <a:pt x="1178" y="383"/>
                  <a:pt x="1179" y="383"/>
                  <a:pt x="1179" y="384"/>
                </a:cubicBezTo>
                <a:cubicBezTo>
                  <a:pt x="1180" y="385"/>
                  <a:pt x="1180" y="386"/>
                  <a:pt x="1181" y="386"/>
                </a:cubicBezTo>
                <a:cubicBezTo>
                  <a:pt x="1183" y="387"/>
                  <a:pt x="1181" y="384"/>
                  <a:pt x="1181" y="383"/>
                </a:cubicBezTo>
                <a:cubicBezTo>
                  <a:pt x="1181" y="382"/>
                  <a:pt x="1181" y="382"/>
                  <a:pt x="1182" y="381"/>
                </a:cubicBezTo>
                <a:cubicBezTo>
                  <a:pt x="1183" y="381"/>
                  <a:pt x="1183" y="381"/>
                  <a:pt x="1184" y="380"/>
                </a:cubicBezTo>
                <a:cubicBezTo>
                  <a:pt x="1184" y="380"/>
                  <a:pt x="1183" y="379"/>
                  <a:pt x="1184" y="378"/>
                </a:cubicBezTo>
                <a:cubicBezTo>
                  <a:pt x="1184" y="378"/>
                  <a:pt x="1184" y="377"/>
                  <a:pt x="1184" y="376"/>
                </a:cubicBezTo>
                <a:close/>
                <a:moveTo>
                  <a:pt x="616" y="126"/>
                </a:moveTo>
                <a:cubicBezTo>
                  <a:pt x="617" y="125"/>
                  <a:pt x="618" y="125"/>
                  <a:pt x="619" y="124"/>
                </a:cubicBezTo>
                <a:cubicBezTo>
                  <a:pt x="620" y="123"/>
                  <a:pt x="622" y="122"/>
                  <a:pt x="623" y="122"/>
                </a:cubicBezTo>
                <a:cubicBezTo>
                  <a:pt x="624" y="122"/>
                  <a:pt x="627" y="122"/>
                  <a:pt x="626" y="121"/>
                </a:cubicBezTo>
                <a:cubicBezTo>
                  <a:pt x="625" y="120"/>
                  <a:pt x="624" y="120"/>
                  <a:pt x="624" y="120"/>
                </a:cubicBezTo>
                <a:cubicBezTo>
                  <a:pt x="623" y="120"/>
                  <a:pt x="623" y="119"/>
                  <a:pt x="622" y="119"/>
                </a:cubicBezTo>
                <a:cubicBezTo>
                  <a:pt x="621" y="119"/>
                  <a:pt x="619" y="118"/>
                  <a:pt x="618" y="118"/>
                </a:cubicBezTo>
                <a:cubicBezTo>
                  <a:pt x="617" y="117"/>
                  <a:pt x="616" y="116"/>
                  <a:pt x="615" y="116"/>
                </a:cubicBezTo>
                <a:cubicBezTo>
                  <a:pt x="614" y="115"/>
                  <a:pt x="612" y="116"/>
                  <a:pt x="611" y="116"/>
                </a:cubicBezTo>
                <a:cubicBezTo>
                  <a:pt x="609" y="116"/>
                  <a:pt x="608" y="117"/>
                  <a:pt x="607" y="117"/>
                </a:cubicBezTo>
                <a:cubicBezTo>
                  <a:pt x="605" y="117"/>
                  <a:pt x="604" y="117"/>
                  <a:pt x="602" y="117"/>
                </a:cubicBezTo>
                <a:cubicBezTo>
                  <a:pt x="601" y="117"/>
                  <a:pt x="600" y="115"/>
                  <a:pt x="599" y="115"/>
                </a:cubicBezTo>
                <a:cubicBezTo>
                  <a:pt x="598" y="114"/>
                  <a:pt x="597" y="114"/>
                  <a:pt x="596" y="113"/>
                </a:cubicBezTo>
                <a:cubicBezTo>
                  <a:pt x="595" y="113"/>
                  <a:pt x="593" y="113"/>
                  <a:pt x="593" y="112"/>
                </a:cubicBezTo>
                <a:cubicBezTo>
                  <a:pt x="593" y="112"/>
                  <a:pt x="594" y="111"/>
                  <a:pt x="594" y="110"/>
                </a:cubicBezTo>
                <a:cubicBezTo>
                  <a:pt x="594" y="110"/>
                  <a:pt x="594" y="110"/>
                  <a:pt x="594" y="109"/>
                </a:cubicBezTo>
                <a:cubicBezTo>
                  <a:pt x="595" y="107"/>
                  <a:pt x="598" y="107"/>
                  <a:pt x="597" y="104"/>
                </a:cubicBezTo>
                <a:cubicBezTo>
                  <a:pt x="597" y="103"/>
                  <a:pt x="595" y="102"/>
                  <a:pt x="594" y="102"/>
                </a:cubicBezTo>
                <a:cubicBezTo>
                  <a:pt x="592" y="102"/>
                  <a:pt x="591" y="101"/>
                  <a:pt x="589" y="101"/>
                </a:cubicBezTo>
                <a:cubicBezTo>
                  <a:pt x="588" y="101"/>
                  <a:pt x="586" y="101"/>
                  <a:pt x="585" y="101"/>
                </a:cubicBezTo>
                <a:cubicBezTo>
                  <a:pt x="583" y="100"/>
                  <a:pt x="580" y="101"/>
                  <a:pt x="578" y="102"/>
                </a:cubicBezTo>
                <a:cubicBezTo>
                  <a:pt x="578" y="102"/>
                  <a:pt x="577" y="103"/>
                  <a:pt x="577" y="103"/>
                </a:cubicBezTo>
                <a:cubicBezTo>
                  <a:pt x="576" y="104"/>
                  <a:pt x="575" y="103"/>
                  <a:pt x="574" y="102"/>
                </a:cubicBezTo>
                <a:cubicBezTo>
                  <a:pt x="573" y="102"/>
                  <a:pt x="572" y="102"/>
                  <a:pt x="572" y="102"/>
                </a:cubicBezTo>
                <a:cubicBezTo>
                  <a:pt x="570" y="102"/>
                  <a:pt x="569" y="102"/>
                  <a:pt x="567" y="102"/>
                </a:cubicBezTo>
                <a:cubicBezTo>
                  <a:pt x="566" y="102"/>
                  <a:pt x="566" y="103"/>
                  <a:pt x="565" y="103"/>
                </a:cubicBezTo>
                <a:cubicBezTo>
                  <a:pt x="564" y="103"/>
                  <a:pt x="563" y="103"/>
                  <a:pt x="563" y="103"/>
                </a:cubicBezTo>
                <a:cubicBezTo>
                  <a:pt x="561" y="102"/>
                  <a:pt x="560" y="103"/>
                  <a:pt x="558" y="103"/>
                </a:cubicBezTo>
                <a:cubicBezTo>
                  <a:pt x="557" y="104"/>
                  <a:pt x="556" y="104"/>
                  <a:pt x="554" y="104"/>
                </a:cubicBezTo>
                <a:cubicBezTo>
                  <a:pt x="553" y="104"/>
                  <a:pt x="551" y="105"/>
                  <a:pt x="550" y="105"/>
                </a:cubicBezTo>
                <a:cubicBezTo>
                  <a:pt x="549" y="105"/>
                  <a:pt x="546" y="105"/>
                  <a:pt x="547" y="107"/>
                </a:cubicBezTo>
                <a:cubicBezTo>
                  <a:pt x="547" y="109"/>
                  <a:pt x="549" y="109"/>
                  <a:pt x="550" y="109"/>
                </a:cubicBezTo>
                <a:cubicBezTo>
                  <a:pt x="551" y="109"/>
                  <a:pt x="551" y="110"/>
                  <a:pt x="552" y="110"/>
                </a:cubicBezTo>
                <a:cubicBezTo>
                  <a:pt x="553" y="111"/>
                  <a:pt x="555" y="111"/>
                  <a:pt x="556" y="113"/>
                </a:cubicBezTo>
                <a:cubicBezTo>
                  <a:pt x="557" y="113"/>
                  <a:pt x="557" y="113"/>
                  <a:pt x="559" y="113"/>
                </a:cubicBezTo>
                <a:cubicBezTo>
                  <a:pt x="559" y="113"/>
                  <a:pt x="560" y="113"/>
                  <a:pt x="561" y="114"/>
                </a:cubicBezTo>
                <a:cubicBezTo>
                  <a:pt x="561" y="114"/>
                  <a:pt x="560" y="115"/>
                  <a:pt x="560" y="115"/>
                </a:cubicBezTo>
                <a:cubicBezTo>
                  <a:pt x="560" y="116"/>
                  <a:pt x="560" y="116"/>
                  <a:pt x="559" y="117"/>
                </a:cubicBezTo>
                <a:cubicBezTo>
                  <a:pt x="559" y="118"/>
                  <a:pt x="558" y="118"/>
                  <a:pt x="558" y="118"/>
                </a:cubicBezTo>
                <a:cubicBezTo>
                  <a:pt x="557" y="119"/>
                  <a:pt x="556" y="120"/>
                  <a:pt x="555" y="122"/>
                </a:cubicBezTo>
                <a:cubicBezTo>
                  <a:pt x="554" y="123"/>
                  <a:pt x="554" y="124"/>
                  <a:pt x="554" y="125"/>
                </a:cubicBezTo>
                <a:cubicBezTo>
                  <a:pt x="554" y="126"/>
                  <a:pt x="554" y="127"/>
                  <a:pt x="552" y="128"/>
                </a:cubicBezTo>
                <a:cubicBezTo>
                  <a:pt x="552" y="128"/>
                  <a:pt x="551" y="128"/>
                  <a:pt x="550" y="128"/>
                </a:cubicBezTo>
                <a:cubicBezTo>
                  <a:pt x="549" y="129"/>
                  <a:pt x="547" y="128"/>
                  <a:pt x="547" y="130"/>
                </a:cubicBezTo>
                <a:cubicBezTo>
                  <a:pt x="546" y="131"/>
                  <a:pt x="547" y="131"/>
                  <a:pt x="546" y="132"/>
                </a:cubicBezTo>
                <a:cubicBezTo>
                  <a:pt x="546" y="132"/>
                  <a:pt x="545" y="133"/>
                  <a:pt x="546" y="133"/>
                </a:cubicBezTo>
                <a:cubicBezTo>
                  <a:pt x="546" y="134"/>
                  <a:pt x="549" y="133"/>
                  <a:pt x="549" y="133"/>
                </a:cubicBezTo>
                <a:cubicBezTo>
                  <a:pt x="551" y="133"/>
                  <a:pt x="552" y="133"/>
                  <a:pt x="554" y="133"/>
                </a:cubicBezTo>
                <a:cubicBezTo>
                  <a:pt x="555" y="132"/>
                  <a:pt x="557" y="132"/>
                  <a:pt x="558" y="132"/>
                </a:cubicBezTo>
                <a:cubicBezTo>
                  <a:pt x="560" y="132"/>
                  <a:pt x="561" y="132"/>
                  <a:pt x="563" y="132"/>
                </a:cubicBezTo>
                <a:cubicBezTo>
                  <a:pt x="564" y="132"/>
                  <a:pt x="566" y="132"/>
                  <a:pt x="567" y="132"/>
                </a:cubicBezTo>
                <a:cubicBezTo>
                  <a:pt x="569" y="132"/>
                  <a:pt x="570" y="132"/>
                  <a:pt x="571" y="131"/>
                </a:cubicBezTo>
                <a:cubicBezTo>
                  <a:pt x="573" y="131"/>
                  <a:pt x="574" y="130"/>
                  <a:pt x="576" y="131"/>
                </a:cubicBezTo>
                <a:cubicBezTo>
                  <a:pt x="577" y="131"/>
                  <a:pt x="579" y="131"/>
                  <a:pt x="580" y="131"/>
                </a:cubicBezTo>
                <a:cubicBezTo>
                  <a:pt x="581" y="131"/>
                  <a:pt x="584" y="130"/>
                  <a:pt x="582" y="132"/>
                </a:cubicBezTo>
                <a:cubicBezTo>
                  <a:pt x="582" y="132"/>
                  <a:pt x="582" y="132"/>
                  <a:pt x="582" y="132"/>
                </a:cubicBezTo>
                <a:cubicBezTo>
                  <a:pt x="581" y="132"/>
                  <a:pt x="581" y="133"/>
                  <a:pt x="581" y="133"/>
                </a:cubicBezTo>
                <a:cubicBezTo>
                  <a:pt x="581" y="134"/>
                  <a:pt x="580" y="134"/>
                  <a:pt x="579" y="134"/>
                </a:cubicBezTo>
                <a:cubicBezTo>
                  <a:pt x="579" y="134"/>
                  <a:pt x="578" y="134"/>
                  <a:pt x="577" y="135"/>
                </a:cubicBezTo>
                <a:cubicBezTo>
                  <a:pt x="577" y="136"/>
                  <a:pt x="577" y="136"/>
                  <a:pt x="578" y="137"/>
                </a:cubicBezTo>
                <a:cubicBezTo>
                  <a:pt x="578" y="137"/>
                  <a:pt x="579" y="137"/>
                  <a:pt x="579" y="138"/>
                </a:cubicBezTo>
                <a:cubicBezTo>
                  <a:pt x="580" y="138"/>
                  <a:pt x="580" y="139"/>
                  <a:pt x="580" y="139"/>
                </a:cubicBezTo>
                <a:cubicBezTo>
                  <a:pt x="581" y="140"/>
                  <a:pt x="581" y="140"/>
                  <a:pt x="582" y="141"/>
                </a:cubicBezTo>
                <a:cubicBezTo>
                  <a:pt x="583" y="141"/>
                  <a:pt x="583" y="141"/>
                  <a:pt x="583" y="142"/>
                </a:cubicBezTo>
                <a:cubicBezTo>
                  <a:pt x="585" y="144"/>
                  <a:pt x="586" y="141"/>
                  <a:pt x="586" y="140"/>
                </a:cubicBezTo>
                <a:cubicBezTo>
                  <a:pt x="586" y="140"/>
                  <a:pt x="587" y="140"/>
                  <a:pt x="587" y="139"/>
                </a:cubicBezTo>
                <a:cubicBezTo>
                  <a:pt x="588" y="139"/>
                  <a:pt x="588" y="139"/>
                  <a:pt x="589" y="138"/>
                </a:cubicBezTo>
                <a:cubicBezTo>
                  <a:pt x="592" y="137"/>
                  <a:pt x="595" y="139"/>
                  <a:pt x="598" y="137"/>
                </a:cubicBezTo>
                <a:cubicBezTo>
                  <a:pt x="599" y="136"/>
                  <a:pt x="600" y="135"/>
                  <a:pt x="601" y="135"/>
                </a:cubicBezTo>
                <a:cubicBezTo>
                  <a:pt x="603" y="134"/>
                  <a:pt x="604" y="135"/>
                  <a:pt x="606" y="134"/>
                </a:cubicBezTo>
                <a:cubicBezTo>
                  <a:pt x="607" y="133"/>
                  <a:pt x="607" y="131"/>
                  <a:pt x="608" y="130"/>
                </a:cubicBezTo>
                <a:cubicBezTo>
                  <a:pt x="609" y="129"/>
                  <a:pt x="610" y="128"/>
                  <a:pt x="612" y="128"/>
                </a:cubicBezTo>
                <a:cubicBezTo>
                  <a:pt x="613" y="127"/>
                  <a:pt x="614" y="127"/>
                  <a:pt x="616" y="126"/>
                </a:cubicBezTo>
                <a:close/>
                <a:moveTo>
                  <a:pt x="488" y="19"/>
                </a:moveTo>
                <a:cubicBezTo>
                  <a:pt x="489" y="19"/>
                  <a:pt x="491" y="19"/>
                  <a:pt x="492" y="19"/>
                </a:cubicBezTo>
                <a:cubicBezTo>
                  <a:pt x="493" y="20"/>
                  <a:pt x="495" y="20"/>
                  <a:pt x="496" y="20"/>
                </a:cubicBezTo>
                <a:cubicBezTo>
                  <a:pt x="498" y="20"/>
                  <a:pt x="500" y="20"/>
                  <a:pt x="501" y="21"/>
                </a:cubicBezTo>
                <a:cubicBezTo>
                  <a:pt x="502" y="21"/>
                  <a:pt x="503" y="21"/>
                  <a:pt x="504" y="21"/>
                </a:cubicBezTo>
                <a:cubicBezTo>
                  <a:pt x="504" y="21"/>
                  <a:pt x="505" y="21"/>
                  <a:pt x="506" y="22"/>
                </a:cubicBezTo>
                <a:cubicBezTo>
                  <a:pt x="506" y="22"/>
                  <a:pt x="507" y="21"/>
                  <a:pt x="507" y="22"/>
                </a:cubicBezTo>
                <a:cubicBezTo>
                  <a:pt x="507" y="23"/>
                  <a:pt x="506" y="22"/>
                  <a:pt x="506" y="23"/>
                </a:cubicBezTo>
                <a:cubicBezTo>
                  <a:pt x="505" y="23"/>
                  <a:pt x="506" y="24"/>
                  <a:pt x="505" y="25"/>
                </a:cubicBezTo>
                <a:cubicBezTo>
                  <a:pt x="504" y="25"/>
                  <a:pt x="504" y="24"/>
                  <a:pt x="503" y="23"/>
                </a:cubicBezTo>
                <a:cubicBezTo>
                  <a:pt x="501" y="23"/>
                  <a:pt x="503" y="24"/>
                  <a:pt x="503" y="25"/>
                </a:cubicBezTo>
                <a:cubicBezTo>
                  <a:pt x="503" y="26"/>
                  <a:pt x="502" y="26"/>
                  <a:pt x="502" y="26"/>
                </a:cubicBezTo>
                <a:cubicBezTo>
                  <a:pt x="501" y="25"/>
                  <a:pt x="500" y="25"/>
                  <a:pt x="500" y="26"/>
                </a:cubicBezTo>
                <a:cubicBezTo>
                  <a:pt x="500" y="27"/>
                  <a:pt x="500" y="27"/>
                  <a:pt x="501" y="28"/>
                </a:cubicBezTo>
                <a:cubicBezTo>
                  <a:pt x="501" y="29"/>
                  <a:pt x="501" y="30"/>
                  <a:pt x="501" y="30"/>
                </a:cubicBezTo>
                <a:cubicBezTo>
                  <a:pt x="501" y="31"/>
                  <a:pt x="502" y="31"/>
                  <a:pt x="502" y="32"/>
                </a:cubicBezTo>
                <a:cubicBezTo>
                  <a:pt x="504" y="33"/>
                  <a:pt x="503" y="35"/>
                  <a:pt x="505" y="36"/>
                </a:cubicBezTo>
                <a:cubicBezTo>
                  <a:pt x="506" y="36"/>
                  <a:pt x="506" y="36"/>
                  <a:pt x="507" y="36"/>
                </a:cubicBezTo>
                <a:cubicBezTo>
                  <a:pt x="508" y="37"/>
                  <a:pt x="510" y="37"/>
                  <a:pt x="511" y="37"/>
                </a:cubicBezTo>
                <a:cubicBezTo>
                  <a:pt x="513" y="37"/>
                  <a:pt x="515" y="36"/>
                  <a:pt x="517" y="36"/>
                </a:cubicBezTo>
                <a:cubicBezTo>
                  <a:pt x="519" y="36"/>
                  <a:pt x="520" y="36"/>
                  <a:pt x="522" y="36"/>
                </a:cubicBezTo>
                <a:cubicBezTo>
                  <a:pt x="524" y="36"/>
                  <a:pt x="525" y="35"/>
                  <a:pt x="527" y="35"/>
                </a:cubicBezTo>
                <a:cubicBezTo>
                  <a:pt x="528" y="35"/>
                  <a:pt x="530" y="35"/>
                  <a:pt x="531" y="35"/>
                </a:cubicBezTo>
                <a:cubicBezTo>
                  <a:pt x="532" y="35"/>
                  <a:pt x="533" y="34"/>
                  <a:pt x="534" y="34"/>
                </a:cubicBezTo>
                <a:cubicBezTo>
                  <a:pt x="534" y="34"/>
                  <a:pt x="534" y="33"/>
                  <a:pt x="535" y="33"/>
                </a:cubicBezTo>
                <a:cubicBezTo>
                  <a:pt x="536" y="33"/>
                  <a:pt x="538" y="33"/>
                  <a:pt x="539" y="33"/>
                </a:cubicBezTo>
                <a:cubicBezTo>
                  <a:pt x="542" y="32"/>
                  <a:pt x="545" y="32"/>
                  <a:pt x="549" y="32"/>
                </a:cubicBezTo>
                <a:cubicBezTo>
                  <a:pt x="550" y="32"/>
                  <a:pt x="552" y="32"/>
                  <a:pt x="554" y="33"/>
                </a:cubicBezTo>
                <a:cubicBezTo>
                  <a:pt x="555" y="33"/>
                  <a:pt x="555" y="33"/>
                  <a:pt x="556" y="33"/>
                </a:cubicBezTo>
                <a:cubicBezTo>
                  <a:pt x="557" y="33"/>
                  <a:pt x="558" y="32"/>
                  <a:pt x="559" y="32"/>
                </a:cubicBezTo>
                <a:cubicBezTo>
                  <a:pt x="561" y="32"/>
                  <a:pt x="563" y="32"/>
                  <a:pt x="565" y="32"/>
                </a:cubicBezTo>
                <a:cubicBezTo>
                  <a:pt x="566" y="33"/>
                  <a:pt x="567" y="33"/>
                  <a:pt x="569" y="33"/>
                </a:cubicBezTo>
                <a:cubicBezTo>
                  <a:pt x="569" y="34"/>
                  <a:pt x="573" y="33"/>
                  <a:pt x="573" y="34"/>
                </a:cubicBezTo>
                <a:cubicBezTo>
                  <a:pt x="572" y="35"/>
                  <a:pt x="569" y="34"/>
                  <a:pt x="568" y="34"/>
                </a:cubicBezTo>
                <a:cubicBezTo>
                  <a:pt x="568" y="35"/>
                  <a:pt x="567" y="35"/>
                  <a:pt x="566" y="36"/>
                </a:cubicBezTo>
                <a:cubicBezTo>
                  <a:pt x="565" y="36"/>
                  <a:pt x="565" y="36"/>
                  <a:pt x="565" y="37"/>
                </a:cubicBezTo>
                <a:cubicBezTo>
                  <a:pt x="563" y="38"/>
                  <a:pt x="562" y="37"/>
                  <a:pt x="561" y="37"/>
                </a:cubicBezTo>
                <a:cubicBezTo>
                  <a:pt x="560" y="37"/>
                  <a:pt x="559" y="37"/>
                  <a:pt x="558" y="37"/>
                </a:cubicBezTo>
                <a:cubicBezTo>
                  <a:pt x="557" y="37"/>
                  <a:pt x="557" y="37"/>
                  <a:pt x="556" y="37"/>
                </a:cubicBezTo>
                <a:cubicBezTo>
                  <a:pt x="554" y="37"/>
                  <a:pt x="553" y="37"/>
                  <a:pt x="551" y="37"/>
                </a:cubicBezTo>
                <a:cubicBezTo>
                  <a:pt x="550" y="37"/>
                  <a:pt x="548" y="37"/>
                  <a:pt x="547" y="37"/>
                </a:cubicBezTo>
                <a:cubicBezTo>
                  <a:pt x="546" y="37"/>
                  <a:pt x="546" y="37"/>
                  <a:pt x="545" y="37"/>
                </a:cubicBezTo>
                <a:cubicBezTo>
                  <a:pt x="544" y="38"/>
                  <a:pt x="545" y="38"/>
                  <a:pt x="545" y="39"/>
                </a:cubicBezTo>
                <a:cubicBezTo>
                  <a:pt x="546" y="39"/>
                  <a:pt x="548" y="40"/>
                  <a:pt x="548" y="41"/>
                </a:cubicBezTo>
                <a:cubicBezTo>
                  <a:pt x="549" y="41"/>
                  <a:pt x="548" y="41"/>
                  <a:pt x="549" y="42"/>
                </a:cubicBezTo>
                <a:cubicBezTo>
                  <a:pt x="549" y="42"/>
                  <a:pt x="549" y="42"/>
                  <a:pt x="549" y="42"/>
                </a:cubicBezTo>
                <a:cubicBezTo>
                  <a:pt x="550" y="42"/>
                  <a:pt x="551" y="42"/>
                  <a:pt x="551" y="43"/>
                </a:cubicBezTo>
                <a:cubicBezTo>
                  <a:pt x="551" y="45"/>
                  <a:pt x="549" y="43"/>
                  <a:pt x="548" y="43"/>
                </a:cubicBezTo>
                <a:cubicBezTo>
                  <a:pt x="546" y="43"/>
                  <a:pt x="545" y="43"/>
                  <a:pt x="543" y="43"/>
                </a:cubicBezTo>
                <a:cubicBezTo>
                  <a:pt x="542" y="43"/>
                  <a:pt x="541" y="42"/>
                  <a:pt x="540" y="42"/>
                </a:cubicBezTo>
                <a:cubicBezTo>
                  <a:pt x="538" y="41"/>
                  <a:pt x="536" y="41"/>
                  <a:pt x="535" y="41"/>
                </a:cubicBezTo>
                <a:cubicBezTo>
                  <a:pt x="534" y="40"/>
                  <a:pt x="534" y="40"/>
                  <a:pt x="533" y="40"/>
                </a:cubicBezTo>
                <a:cubicBezTo>
                  <a:pt x="532" y="40"/>
                  <a:pt x="531" y="40"/>
                  <a:pt x="531" y="40"/>
                </a:cubicBezTo>
                <a:cubicBezTo>
                  <a:pt x="530" y="40"/>
                  <a:pt x="529" y="39"/>
                  <a:pt x="529" y="39"/>
                </a:cubicBezTo>
                <a:cubicBezTo>
                  <a:pt x="529" y="40"/>
                  <a:pt x="530" y="41"/>
                  <a:pt x="530" y="41"/>
                </a:cubicBezTo>
                <a:cubicBezTo>
                  <a:pt x="531" y="44"/>
                  <a:pt x="533" y="46"/>
                  <a:pt x="535" y="47"/>
                </a:cubicBezTo>
                <a:cubicBezTo>
                  <a:pt x="536" y="48"/>
                  <a:pt x="538" y="48"/>
                  <a:pt x="539" y="49"/>
                </a:cubicBezTo>
                <a:cubicBezTo>
                  <a:pt x="540" y="49"/>
                  <a:pt x="540" y="50"/>
                  <a:pt x="541" y="50"/>
                </a:cubicBezTo>
                <a:cubicBezTo>
                  <a:pt x="541" y="51"/>
                  <a:pt x="542" y="51"/>
                  <a:pt x="543" y="51"/>
                </a:cubicBezTo>
                <a:cubicBezTo>
                  <a:pt x="544" y="51"/>
                  <a:pt x="546" y="52"/>
                  <a:pt x="547" y="52"/>
                </a:cubicBezTo>
                <a:cubicBezTo>
                  <a:pt x="549" y="52"/>
                  <a:pt x="550" y="51"/>
                  <a:pt x="552" y="51"/>
                </a:cubicBezTo>
                <a:cubicBezTo>
                  <a:pt x="553" y="51"/>
                  <a:pt x="555" y="50"/>
                  <a:pt x="556" y="50"/>
                </a:cubicBezTo>
                <a:cubicBezTo>
                  <a:pt x="557" y="50"/>
                  <a:pt x="558" y="51"/>
                  <a:pt x="558" y="51"/>
                </a:cubicBezTo>
                <a:cubicBezTo>
                  <a:pt x="559" y="51"/>
                  <a:pt x="559" y="51"/>
                  <a:pt x="560" y="51"/>
                </a:cubicBezTo>
                <a:cubicBezTo>
                  <a:pt x="561" y="51"/>
                  <a:pt x="561" y="52"/>
                  <a:pt x="562" y="52"/>
                </a:cubicBezTo>
                <a:cubicBezTo>
                  <a:pt x="562" y="53"/>
                  <a:pt x="563" y="52"/>
                  <a:pt x="564" y="52"/>
                </a:cubicBezTo>
                <a:cubicBezTo>
                  <a:pt x="564" y="52"/>
                  <a:pt x="565" y="52"/>
                  <a:pt x="566" y="51"/>
                </a:cubicBezTo>
                <a:cubicBezTo>
                  <a:pt x="569" y="50"/>
                  <a:pt x="574" y="50"/>
                  <a:pt x="578" y="51"/>
                </a:cubicBezTo>
                <a:cubicBezTo>
                  <a:pt x="580" y="51"/>
                  <a:pt x="581" y="51"/>
                  <a:pt x="583" y="51"/>
                </a:cubicBezTo>
                <a:cubicBezTo>
                  <a:pt x="584" y="51"/>
                  <a:pt x="585" y="52"/>
                  <a:pt x="586" y="52"/>
                </a:cubicBezTo>
                <a:cubicBezTo>
                  <a:pt x="588" y="52"/>
                  <a:pt x="589" y="53"/>
                  <a:pt x="591" y="53"/>
                </a:cubicBezTo>
                <a:cubicBezTo>
                  <a:pt x="592" y="54"/>
                  <a:pt x="593" y="55"/>
                  <a:pt x="594" y="56"/>
                </a:cubicBezTo>
                <a:cubicBezTo>
                  <a:pt x="596" y="57"/>
                  <a:pt x="599" y="58"/>
                  <a:pt x="601" y="59"/>
                </a:cubicBezTo>
                <a:cubicBezTo>
                  <a:pt x="604" y="60"/>
                  <a:pt x="607" y="61"/>
                  <a:pt x="610" y="60"/>
                </a:cubicBezTo>
                <a:cubicBezTo>
                  <a:pt x="611" y="59"/>
                  <a:pt x="612" y="58"/>
                  <a:pt x="613" y="56"/>
                </a:cubicBezTo>
                <a:cubicBezTo>
                  <a:pt x="614" y="56"/>
                  <a:pt x="614" y="55"/>
                  <a:pt x="615" y="55"/>
                </a:cubicBezTo>
                <a:cubicBezTo>
                  <a:pt x="616" y="54"/>
                  <a:pt x="616" y="54"/>
                  <a:pt x="617" y="54"/>
                </a:cubicBezTo>
                <a:cubicBezTo>
                  <a:pt x="618" y="54"/>
                  <a:pt x="619" y="53"/>
                  <a:pt x="621" y="54"/>
                </a:cubicBezTo>
                <a:cubicBezTo>
                  <a:pt x="622" y="54"/>
                  <a:pt x="624" y="54"/>
                  <a:pt x="625" y="54"/>
                </a:cubicBezTo>
                <a:cubicBezTo>
                  <a:pt x="628" y="54"/>
                  <a:pt x="631" y="54"/>
                  <a:pt x="634" y="53"/>
                </a:cubicBezTo>
                <a:cubicBezTo>
                  <a:pt x="635" y="52"/>
                  <a:pt x="637" y="51"/>
                  <a:pt x="639" y="51"/>
                </a:cubicBezTo>
                <a:cubicBezTo>
                  <a:pt x="639" y="51"/>
                  <a:pt x="640" y="51"/>
                  <a:pt x="641" y="51"/>
                </a:cubicBezTo>
                <a:cubicBezTo>
                  <a:pt x="642" y="50"/>
                  <a:pt x="643" y="50"/>
                  <a:pt x="644" y="49"/>
                </a:cubicBezTo>
                <a:cubicBezTo>
                  <a:pt x="644" y="49"/>
                  <a:pt x="644" y="48"/>
                  <a:pt x="644" y="47"/>
                </a:cubicBezTo>
                <a:cubicBezTo>
                  <a:pt x="645" y="46"/>
                  <a:pt x="646" y="47"/>
                  <a:pt x="646" y="46"/>
                </a:cubicBezTo>
                <a:cubicBezTo>
                  <a:pt x="649" y="46"/>
                  <a:pt x="646" y="45"/>
                  <a:pt x="646" y="44"/>
                </a:cubicBezTo>
                <a:cubicBezTo>
                  <a:pt x="645" y="43"/>
                  <a:pt x="644" y="41"/>
                  <a:pt x="645" y="40"/>
                </a:cubicBezTo>
                <a:cubicBezTo>
                  <a:pt x="646" y="39"/>
                  <a:pt x="648" y="39"/>
                  <a:pt x="649" y="39"/>
                </a:cubicBezTo>
                <a:cubicBezTo>
                  <a:pt x="651" y="39"/>
                  <a:pt x="652" y="39"/>
                  <a:pt x="654" y="38"/>
                </a:cubicBezTo>
                <a:cubicBezTo>
                  <a:pt x="655" y="37"/>
                  <a:pt x="656" y="36"/>
                  <a:pt x="658" y="35"/>
                </a:cubicBezTo>
                <a:cubicBezTo>
                  <a:pt x="659" y="35"/>
                  <a:pt x="659" y="35"/>
                  <a:pt x="660" y="34"/>
                </a:cubicBezTo>
                <a:cubicBezTo>
                  <a:pt x="661" y="34"/>
                  <a:pt x="662" y="33"/>
                  <a:pt x="662" y="33"/>
                </a:cubicBezTo>
                <a:cubicBezTo>
                  <a:pt x="663" y="32"/>
                  <a:pt x="664" y="32"/>
                  <a:pt x="665" y="32"/>
                </a:cubicBezTo>
                <a:cubicBezTo>
                  <a:pt x="665" y="31"/>
                  <a:pt x="666" y="31"/>
                  <a:pt x="667" y="31"/>
                </a:cubicBezTo>
                <a:cubicBezTo>
                  <a:pt x="667" y="31"/>
                  <a:pt x="668" y="32"/>
                  <a:pt x="669" y="31"/>
                </a:cubicBezTo>
                <a:cubicBezTo>
                  <a:pt x="670" y="31"/>
                  <a:pt x="669" y="31"/>
                  <a:pt x="670" y="30"/>
                </a:cubicBezTo>
                <a:cubicBezTo>
                  <a:pt x="670" y="29"/>
                  <a:pt x="672" y="29"/>
                  <a:pt x="672" y="28"/>
                </a:cubicBezTo>
                <a:cubicBezTo>
                  <a:pt x="672" y="27"/>
                  <a:pt x="671" y="27"/>
                  <a:pt x="671" y="27"/>
                </a:cubicBezTo>
                <a:cubicBezTo>
                  <a:pt x="671" y="26"/>
                  <a:pt x="671" y="26"/>
                  <a:pt x="671" y="26"/>
                </a:cubicBezTo>
                <a:cubicBezTo>
                  <a:pt x="670" y="25"/>
                  <a:pt x="670" y="25"/>
                  <a:pt x="670" y="25"/>
                </a:cubicBezTo>
                <a:cubicBezTo>
                  <a:pt x="668" y="24"/>
                  <a:pt x="670" y="24"/>
                  <a:pt x="670" y="23"/>
                </a:cubicBezTo>
                <a:cubicBezTo>
                  <a:pt x="671" y="22"/>
                  <a:pt x="670" y="21"/>
                  <a:pt x="671" y="20"/>
                </a:cubicBezTo>
                <a:cubicBezTo>
                  <a:pt x="672" y="20"/>
                  <a:pt x="673" y="20"/>
                  <a:pt x="672" y="19"/>
                </a:cubicBezTo>
                <a:cubicBezTo>
                  <a:pt x="672" y="19"/>
                  <a:pt x="671" y="19"/>
                  <a:pt x="670" y="19"/>
                </a:cubicBezTo>
                <a:cubicBezTo>
                  <a:pt x="670" y="19"/>
                  <a:pt x="670" y="19"/>
                  <a:pt x="670" y="19"/>
                </a:cubicBezTo>
                <a:cubicBezTo>
                  <a:pt x="669" y="18"/>
                  <a:pt x="669" y="18"/>
                  <a:pt x="668" y="18"/>
                </a:cubicBezTo>
                <a:cubicBezTo>
                  <a:pt x="667" y="18"/>
                  <a:pt x="666" y="18"/>
                  <a:pt x="664" y="18"/>
                </a:cubicBezTo>
                <a:cubicBezTo>
                  <a:pt x="662" y="17"/>
                  <a:pt x="661" y="16"/>
                  <a:pt x="658" y="16"/>
                </a:cubicBezTo>
                <a:cubicBezTo>
                  <a:pt x="657" y="16"/>
                  <a:pt x="655" y="16"/>
                  <a:pt x="654" y="16"/>
                </a:cubicBezTo>
                <a:cubicBezTo>
                  <a:pt x="653" y="15"/>
                  <a:pt x="652" y="15"/>
                  <a:pt x="651" y="15"/>
                </a:cubicBezTo>
                <a:cubicBezTo>
                  <a:pt x="649" y="14"/>
                  <a:pt x="646" y="15"/>
                  <a:pt x="643" y="14"/>
                </a:cubicBezTo>
                <a:cubicBezTo>
                  <a:pt x="642" y="14"/>
                  <a:pt x="642" y="13"/>
                  <a:pt x="641" y="13"/>
                </a:cubicBezTo>
                <a:cubicBezTo>
                  <a:pt x="640" y="12"/>
                  <a:pt x="639" y="12"/>
                  <a:pt x="637" y="12"/>
                </a:cubicBezTo>
                <a:cubicBezTo>
                  <a:pt x="636" y="12"/>
                  <a:pt x="635" y="12"/>
                  <a:pt x="634" y="12"/>
                </a:cubicBezTo>
                <a:cubicBezTo>
                  <a:pt x="633" y="12"/>
                  <a:pt x="632" y="11"/>
                  <a:pt x="631" y="11"/>
                </a:cubicBezTo>
                <a:cubicBezTo>
                  <a:pt x="629" y="10"/>
                  <a:pt x="626" y="10"/>
                  <a:pt x="624" y="9"/>
                </a:cubicBezTo>
                <a:cubicBezTo>
                  <a:pt x="622" y="9"/>
                  <a:pt x="620" y="9"/>
                  <a:pt x="619" y="8"/>
                </a:cubicBezTo>
                <a:cubicBezTo>
                  <a:pt x="618" y="8"/>
                  <a:pt x="616" y="8"/>
                  <a:pt x="615" y="7"/>
                </a:cubicBezTo>
                <a:cubicBezTo>
                  <a:pt x="614" y="7"/>
                  <a:pt x="614" y="7"/>
                  <a:pt x="613" y="7"/>
                </a:cubicBezTo>
                <a:cubicBezTo>
                  <a:pt x="612" y="7"/>
                  <a:pt x="612" y="7"/>
                  <a:pt x="613" y="8"/>
                </a:cubicBezTo>
                <a:cubicBezTo>
                  <a:pt x="613" y="9"/>
                  <a:pt x="613" y="9"/>
                  <a:pt x="612" y="10"/>
                </a:cubicBezTo>
                <a:cubicBezTo>
                  <a:pt x="612" y="10"/>
                  <a:pt x="611" y="10"/>
                  <a:pt x="611" y="10"/>
                </a:cubicBezTo>
                <a:cubicBezTo>
                  <a:pt x="610" y="10"/>
                  <a:pt x="609" y="9"/>
                  <a:pt x="608" y="10"/>
                </a:cubicBezTo>
                <a:cubicBezTo>
                  <a:pt x="608" y="10"/>
                  <a:pt x="607" y="10"/>
                  <a:pt x="606" y="10"/>
                </a:cubicBezTo>
                <a:cubicBezTo>
                  <a:pt x="606" y="10"/>
                  <a:pt x="605" y="10"/>
                  <a:pt x="604" y="10"/>
                </a:cubicBezTo>
                <a:cubicBezTo>
                  <a:pt x="603" y="10"/>
                  <a:pt x="603" y="11"/>
                  <a:pt x="603" y="12"/>
                </a:cubicBezTo>
                <a:cubicBezTo>
                  <a:pt x="603" y="13"/>
                  <a:pt x="604" y="13"/>
                  <a:pt x="602" y="14"/>
                </a:cubicBezTo>
                <a:cubicBezTo>
                  <a:pt x="601" y="15"/>
                  <a:pt x="600" y="15"/>
                  <a:pt x="599" y="15"/>
                </a:cubicBezTo>
                <a:cubicBezTo>
                  <a:pt x="598" y="16"/>
                  <a:pt x="597" y="17"/>
                  <a:pt x="596" y="17"/>
                </a:cubicBezTo>
                <a:cubicBezTo>
                  <a:pt x="595" y="18"/>
                  <a:pt x="592" y="19"/>
                  <a:pt x="590" y="18"/>
                </a:cubicBezTo>
                <a:cubicBezTo>
                  <a:pt x="589" y="18"/>
                  <a:pt x="590" y="17"/>
                  <a:pt x="590" y="16"/>
                </a:cubicBezTo>
                <a:cubicBezTo>
                  <a:pt x="590" y="15"/>
                  <a:pt x="589" y="15"/>
                  <a:pt x="589" y="14"/>
                </a:cubicBezTo>
                <a:cubicBezTo>
                  <a:pt x="589" y="13"/>
                  <a:pt x="589" y="13"/>
                  <a:pt x="589" y="13"/>
                </a:cubicBezTo>
                <a:cubicBezTo>
                  <a:pt x="590" y="12"/>
                  <a:pt x="591" y="13"/>
                  <a:pt x="591" y="13"/>
                </a:cubicBezTo>
                <a:cubicBezTo>
                  <a:pt x="592" y="12"/>
                  <a:pt x="592" y="11"/>
                  <a:pt x="593" y="11"/>
                </a:cubicBezTo>
                <a:cubicBezTo>
                  <a:pt x="593" y="11"/>
                  <a:pt x="594" y="11"/>
                  <a:pt x="595" y="10"/>
                </a:cubicBezTo>
                <a:cubicBezTo>
                  <a:pt x="595" y="9"/>
                  <a:pt x="594" y="8"/>
                  <a:pt x="593" y="7"/>
                </a:cubicBezTo>
                <a:cubicBezTo>
                  <a:pt x="592" y="7"/>
                  <a:pt x="591" y="6"/>
                  <a:pt x="591" y="5"/>
                </a:cubicBezTo>
                <a:cubicBezTo>
                  <a:pt x="590" y="5"/>
                  <a:pt x="590" y="4"/>
                  <a:pt x="590" y="4"/>
                </a:cubicBezTo>
                <a:cubicBezTo>
                  <a:pt x="589" y="3"/>
                  <a:pt x="587" y="4"/>
                  <a:pt x="586" y="3"/>
                </a:cubicBezTo>
                <a:cubicBezTo>
                  <a:pt x="584" y="3"/>
                  <a:pt x="584" y="3"/>
                  <a:pt x="584" y="3"/>
                </a:cubicBezTo>
                <a:cubicBezTo>
                  <a:pt x="583" y="4"/>
                  <a:pt x="582" y="3"/>
                  <a:pt x="581" y="4"/>
                </a:cubicBezTo>
                <a:cubicBezTo>
                  <a:pt x="580" y="4"/>
                  <a:pt x="580" y="4"/>
                  <a:pt x="579" y="4"/>
                </a:cubicBezTo>
                <a:cubicBezTo>
                  <a:pt x="578" y="4"/>
                  <a:pt x="578" y="4"/>
                  <a:pt x="577" y="4"/>
                </a:cubicBezTo>
                <a:cubicBezTo>
                  <a:pt x="575" y="4"/>
                  <a:pt x="575" y="7"/>
                  <a:pt x="576" y="8"/>
                </a:cubicBezTo>
                <a:cubicBezTo>
                  <a:pt x="576" y="8"/>
                  <a:pt x="576" y="8"/>
                  <a:pt x="577" y="8"/>
                </a:cubicBezTo>
                <a:cubicBezTo>
                  <a:pt x="577" y="8"/>
                  <a:pt x="578" y="8"/>
                  <a:pt x="578" y="8"/>
                </a:cubicBezTo>
                <a:cubicBezTo>
                  <a:pt x="578" y="9"/>
                  <a:pt x="578" y="9"/>
                  <a:pt x="579" y="10"/>
                </a:cubicBezTo>
                <a:cubicBezTo>
                  <a:pt x="579" y="10"/>
                  <a:pt x="581" y="10"/>
                  <a:pt x="580" y="11"/>
                </a:cubicBezTo>
                <a:cubicBezTo>
                  <a:pt x="580" y="12"/>
                  <a:pt x="579" y="11"/>
                  <a:pt x="578" y="11"/>
                </a:cubicBezTo>
                <a:cubicBezTo>
                  <a:pt x="577" y="12"/>
                  <a:pt x="578" y="15"/>
                  <a:pt x="578" y="16"/>
                </a:cubicBezTo>
                <a:cubicBezTo>
                  <a:pt x="577" y="18"/>
                  <a:pt x="576" y="19"/>
                  <a:pt x="576" y="21"/>
                </a:cubicBezTo>
                <a:cubicBezTo>
                  <a:pt x="575" y="21"/>
                  <a:pt x="574" y="26"/>
                  <a:pt x="573" y="24"/>
                </a:cubicBezTo>
                <a:cubicBezTo>
                  <a:pt x="573" y="23"/>
                  <a:pt x="573" y="22"/>
                  <a:pt x="572" y="22"/>
                </a:cubicBezTo>
                <a:cubicBezTo>
                  <a:pt x="572" y="21"/>
                  <a:pt x="571" y="21"/>
                  <a:pt x="571" y="21"/>
                </a:cubicBezTo>
                <a:cubicBezTo>
                  <a:pt x="570" y="20"/>
                  <a:pt x="570" y="20"/>
                  <a:pt x="569" y="19"/>
                </a:cubicBezTo>
                <a:cubicBezTo>
                  <a:pt x="568" y="19"/>
                  <a:pt x="568" y="19"/>
                  <a:pt x="567" y="19"/>
                </a:cubicBezTo>
                <a:cubicBezTo>
                  <a:pt x="566" y="19"/>
                  <a:pt x="565" y="19"/>
                  <a:pt x="563" y="19"/>
                </a:cubicBezTo>
                <a:cubicBezTo>
                  <a:pt x="563" y="19"/>
                  <a:pt x="561" y="18"/>
                  <a:pt x="561" y="18"/>
                </a:cubicBezTo>
                <a:cubicBezTo>
                  <a:pt x="561" y="17"/>
                  <a:pt x="562" y="18"/>
                  <a:pt x="563" y="17"/>
                </a:cubicBezTo>
                <a:cubicBezTo>
                  <a:pt x="563" y="16"/>
                  <a:pt x="561" y="16"/>
                  <a:pt x="561" y="16"/>
                </a:cubicBezTo>
                <a:cubicBezTo>
                  <a:pt x="559" y="15"/>
                  <a:pt x="558" y="15"/>
                  <a:pt x="556" y="15"/>
                </a:cubicBezTo>
                <a:cubicBezTo>
                  <a:pt x="554" y="15"/>
                  <a:pt x="553" y="15"/>
                  <a:pt x="551" y="15"/>
                </a:cubicBezTo>
                <a:cubicBezTo>
                  <a:pt x="549" y="15"/>
                  <a:pt x="548" y="15"/>
                  <a:pt x="546" y="14"/>
                </a:cubicBezTo>
                <a:cubicBezTo>
                  <a:pt x="544" y="14"/>
                  <a:pt x="544" y="12"/>
                  <a:pt x="542" y="11"/>
                </a:cubicBezTo>
                <a:cubicBezTo>
                  <a:pt x="541" y="10"/>
                  <a:pt x="539" y="9"/>
                  <a:pt x="538" y="8"/>
                </a:cubicBezTo>
                <a:cubicBezTo>
                  <a:pt x="536" y="8"/>
                  <a:pt x="535" y="7"/>
                  <a:pt x="533" y="6"/>
                </a:cubicBezTo>
                <a:cubicBezTo>
                  <a:pt x="532" y="6"/>
                  <a:pt x="531" y="4"/>
                  <a:pt x="529" y="4"/>
                </a:cubicBezTo>
                <a:cubicBezTo>
                  <a:pt x="528" y="4"/>
                  <a:pt x="527" y="4"/>
                  <a:pt x="526" y="4"/>
                </a:cubicBezTo>
                <a:cubicBezTo>
                  <a:pt x="525" y="3"/>
                  <a:pt x="525" y="2"/>
                  <a:pt x="524" y="2"/>
                </a:cubicBezTo>
                <a:cubicBezTo>
                  <a:pt x="523" y="0"/>
                  <a:pt x="522" y="2"/>
                  <a:pt x="520" y="3"/>
                </a:cubicBezTo>
                <a:cubicBezTo>
                  <a:pt x="519" y="3"/>
                  <a:pt x="519" y="3"/>
                  <a:pt x="518" y="4"/>
                </a:cubicBezTo>
                <a:cubicBezTo>
                  <a:pt x="517" y="4"/>
                  <a:pt x="517" y="5"/>
                  <a:pt x="518" y="5"/>
                </a:cubicBezTo>
                <a:cubicBezTo>
                  <a:pt x="519" y="6"/>
                  <a:pt x="520" y="5"/>
                  <a:pt x="521" y="5"/>
                </a:cubicBezTo>
                <a:cubicBezTo>
                  <a:pt x="522" y="5"/>
                  <a:pt x="522" y="6"/>
                  <a:pt x="523" y="6"/>
                </a:cubicBezTo>
                <a:cubicBezTo>
                  <a:pt x="524" y="6"/>
                  <a:pt x="527" y="6"/>
                  <a:pt x="526" y="8"/>
                </a:cubicBezTo>
                <a:cubicBezTo>
                  <a:pt x="526" y="8"/>
                  <a:pt x="525" y="9"/>
                  <a:pt x="525" y="9"/>
                </a:cubicBezTo>
                <a:cubicBezTo>
                  <a:pt x="524" y="10"/>
                  <a:pt x="524" y="10"/>
                  <a:pt x="524" y="11"/>
                </a:cubicBezTo>
                <a:cubicBezTo>
                  <a:pt x="523" y="13"/>
                  <a:pt x="522" y="14"/>
                  <a:pt x="520" y="13"/>
                </a:cubicBezTo>
                <a:cubicBezTo>
                  <a:pt x="519" y="13"/>
                  <a:pt x="518" y="12"/>
                  <a:pt x="517" y="11"/>
                </a:cubicBezTo>
                <a:cubicBezTo>
                  <a:pt x="516" y="10"/>
                  <a:pt x="516" y="10"/>
                  <a:pt x="515" y="10"/>
                </a:cubicBezTo>
                <a:cubicBezTo>
                  <a:pt x="514" y="9"/>
                  <a:pt x="514" y="9"/>
                  <a:pt x="513" y="9"/>
                </a:cubicBezTo>
                <a:cubicBezTo>
                  <a:pt x="511" y="9"/>
                  <a:pt x="511" y="7"/>
                  <a:pt x="509" y="8"/>
                </a:cubicBezTo>
                <a:cubicBezTo>
                  <a:pt x="509" y="9"/>
                  <a:pt x="510" y="9"/>
                  <a:pt x="510" y="10"/>
                </a:cubicBezTo>
                <a:cubicBezTo>
                  <a:pt x="511" y="11"/>
                  <a:pt x="510" y="12"/>
                  <a:pt x="511" y="13"/>
                </a:cubicBezTo>
                <a:cubicBezTo>
                  <a:pt x="511" y="13"/>
                  <a:pt x="512" y="13"/>
                  <a:pt x="512" y="13"/>
                </a:cubicBezTo>
                <a:cubicBezTo>
                  <a:pt x="512" y="14"/>
                  <a:pt x="511" y="14"/>
                  <a:pt x="511" y="14"/>
                </a:cubicBezTo>
                <a:cubicBezTo>
                  <a:pt x="510" y="14"/>
                  <a:pt x="509" y="14"/>
                  <a:pt x="508" y="14"/>
                </a:cubicBezTo>
                <a:cubicBezTo>
                  <a:pt x="506" y="14"/>
                  <a:pt x="505" y="15"/>
                  <a:pt x="503" y="15"/>
                </a:cubicBezTo>
                <a:cubicBezTo>
                  <a:pt x="502" y="16"/>
                  <a:pt x="500" y="15"/>
                  <a:pt x="498" y="16"/>
                </a:cubicBezTo>
                <a:cubicBezTo>
                  <a:pt x="496" y="16"/>
                  <a:pt x="493" y="17"/>
                  <a:pt x="490" y="17"/>
                </a:cubicBezTo>
                <a:cubicBezTo>
                  <a:pt x="489" y="17"/>
                  <a:pt x="489" y="18"/>
                  <a:pt x="488" y="18"/>
                </a:cubicBezTo>
                <a:cubicBezTo>
                  <a:pt x="487" y="17"/>
                  <a:pt x="485" y="17"/>
                  <a:pt x="485" y="17"/>
                </a:cubicBezTo>
                <a:cubicBezTo>
                  <a:pt x="485" y="18"/>
                  <a:pt x="487" y="19"/>
                  <a:pt x="488" y="19"/>
                </a:cubicBezTo>
                <a:close/>
                <a:moveTo>
                  <a:pt x="591" y="400"/>
                </a:moveTo>
                <a:cubicBezTo>
                  <a:pt x="591" y="400"/>
                  <a:pt x="591" y="399"/>
                  <a:pt x="591" y="398"/>
                </a:cubicBezTo>
                <a:cubicBezTo>
                  <a:pt x="592" y="396"/>
                  <a:pt x="594" y="397"/>
                  <a:pt x="595" y="396"/>
                </a:cubicBezTo>
                <a:cubicBezTo>
                  <a:pt x="596" y="395"/>
                  <a:pt x="595" y="395"/>
                  <a:pt x="596" y="394"/>
                </a:cubicBezTo>
                <a:cubicBezTo>
                  <a:pt x="596" y="393"/>
                  <a:pt x="597" y="393"/>
                  <a:pt x="597" y="393"/>
                </a:cubicBezTo>
                <a:cubicBezTo>
                  <a:pt x="599" y="393"/>
                  <a:pt x="599" y="391"/>
                  <a:pt x="598" y="390"/>
                </a:cubicBezTo>
                <a:cubicBezTo>
                  <a:pt x="596" y="389"/>
                  <a:pt x="596" y="391"/>
                  <a:pt x="595" y="392"/>
                </a:cubicBezTo>
                <a:cubicBezTo>
                  <a:pt x="594" y="393"/>
                  <a:pt x="592" y="393"/>
                  <a:pt x="591" y="394"/>
                </a:cubicBezTo>
                <a:cubicBezTo>
                  <a:pt x="591" y="394"/>
                  <a:pt x="590" y="395"/>
                  <a:pt x="589" y="395"/>
                </a:cubicBezTo>
                <a:cubicBezTo>
                  <a:pt x="589" y="396"/>
                  <a:pt x="588" y="396"/>
                  <a:pt x="587" y="396"/>
                </a:cubicBezTo>
                <a:cubicBezTo>
                  <a:pt x="586" y="396"/>
                  <a:pt x="584" y="395"/>
                  <a:pt x="583" y="396"/>
                </a:cubicBezTo>
                <a:cubicBezTo>
                  <a:pt x="582" y="396"/>
                  <a:pt x="581" y="396"/>
                  <a:pt x="580" y="396"/>
                </a:cubicBezTo>
                <a:cubicBezTo>
                  <a:pt x="579" y="396"/>
                  <a:pt x="579" y="395"/>
                  <a:pt x="578" y="395"/>
                </a:cubicBezTo>
                <a:cubicBezTo>
                  <a:pt x="577" y="394"/>
                  <a:pt x="577" y="395"/>
                  <a:pt x="576" y="395"/>
                </a:cubicBezTo>
                <a:cubicBezTo>
                  <a:pt x="576" y="396"/>
                  <a:pt x="576" y="397"/>
                  <a:pt x="575" y="396"/>
                </a:cubicBezTo>
                <a:cubicBezTo>
                  <a:pt x="575" y="396"/>
                  <a:pt x="575" y="396"/>
                  <a:pt x="574" y="396"/>
                </a:cubicBezTo>
                <a:cubicBezTo>
                  <a:pt x="574" y="396"/>
                  <a:pt x="573" y="396"/>
                  <a:pt x="573" y="396"/>
                </a:cubicBezTo>
                <a:cubicBezTo>
                  <a:pt x="573" y="397"/>
                  <a:pt x="573" y="398"/>
                  <a:pt x="572" y="398"/>
                </a:cubicBezTo>
                <a:cubicBezTo>
                  <a:pt x="571" y="397"/>
                  <a:pt x="571" y="396"/>
                  <a:pt x="570" y="395"/>
                </a:cubicBezTo>
                <a:cubicBezTo>
                  <a:pt x="569" y="395"/>
                  <a:pt x="569" y="397"/>
                  <a:pt x="569" y="398"/>
                </a:cubicBezTo>
                <a:cubicBezTo>
                  <a:pt x="569" y="399"/>
                  <a:pt x="570" y="400"/>
                  <a:pt x="571" y="400"/>
                </a:cubicBezTo>
                <a:cubicBezTo>
                  <a:pt x="572" y="401"/>
                  <a:pt x="571" y="403"/>
                  <a:pt x="572" y="403"/>
                </a:cubicBezTo>
                <a:cubicBezTo>
                  <a:pt x="574" y="404"/>
                  <a:pt x="576" y="402"/>
                  <a:pt x="577" y="402"/>
                </a:cubicBezTo>
                <a:cubicBezTo>
                  <a:pt x="578" y="402"/>
                  <a:pt x="578" y="402"/>
                  <a:pt x="579" y="402"/>
                </a:cubicBezTo>
                <a:cubicBezTo>
                  <a:pt x="580" y="402"/>
                  <a:pt x="580" y="402"/>
                  <a:pt x="581" y="401"/>
                </a:cubicBezTo>
                <a:cubicBezTo>
                  <a:pt x="583" y="400"/>
                  <a:pt x="583" y="402"/>
                  <a:pt x="585" y="402"/>
                </a:cubicBezTo>
                <a:cubicBezTo>
                  <a:pt x="586" y="402"/>
                  <a:pt x="587" y="401"/>
                  <a:pt x="589" y="401"/>
                </a:cubicBezTo>
                <a:cubicBezTo>
                  <a:pt x="589" y="401"/>
                  <a:pt x="590" y="401"/>
                  <a:pt x="591" y="400"/>
                </a:cubicBezTo>
                <a:close/>
                <a:moveTo>
                  <a:pt x="588" y="407"/>
                </a:moveTo>
                <a:cubicBezTo>
                  <a:pt x="589" y="407"/>
                  <a:pt x="589" y="408"/>
                  <a:pt x="589" y="408"/>
                </a:cubicBezTo>
                <a:cubicBezTo>
                  <a:pt x="590" y="409"/>
                  <a:pt x="590" y="409"/>
                  <a:pt x="591" y="409"/>
                </a:cubicBezTo>
                <a:cubicBezTo>
                  <a:pt x="592" y="410"/>
                  <a:pt x="593" y="409"/>
                  <a:pt x="594" y="408"/>
                </a:cubicBezTo>
                <a:cubicBezTo>
                  <a:pt x="596" y="408"/>
                  <a:pt x="597" y="407"/>
                  <a:pt x="598" y="406"/>
                </a:cubicBezTo>
                <a:cubicBezTo>
                  <a:pt x="599" y="404"/>
                  <a:pt x="600" y="404"/>
                  <a:pt x="601" y="403"/>
                </a:cubicBezTo>
                <a:cubicBezTo>
                  <a:pt x="602" y="402"/>
                  <a:pt x="602" y="400"/>
                  <a:pt x="601" y="399"/>
                </a:cubicBezTo>
                <a:cubicBezTo>
                  <a:pt x="600" y="399"/>
                  <a:pt x="600" y="399"/>
                  <a:pt x="599" y="398"/>
                </a:cubicBezTo>
                <a:cubicBezTo>
                  <a:pt x="599" y="398"/>
                  <a:pt x="598" y="397"/>
                  <a:pt x="597" y="398"/>
                </a:cubicBezTo>
                <a:cubicBezTo>
                  <a:pt x="596" y="399"/>
                  <a:pt x="599" y="399"/>
                  <a:pt x="598" y="401"/>
                </a:cubicBezTo>
                <a:cubicBezTo>
                  <a:pt x="598" y="402"/>
                  <a:pt x="596" y="402"/>
                  <a:pt x="595" y="402"/>
                </a:cubicBezTo>
                <a:cubicBezTo>
                  <a:pt x="594" y="403"/>
                  <a:pt x="593" y="403"/>
                  <a:pt x="592" y="403"/>
                </a:cubicBezTo>
                <a:cubicBezTo>
                  <a:pt x="591" y="403"/>
                  <a:pt x="590" y="404"/>
                  <a:pt x="589" y="405"/>
                </a:cubicBezTo>
                <a:cubicBezTo>
                  <a:pt x="588" y="405"/>
                  <a:pt x="587" y="404"/>
                  <a:pt x="586" y="404"/>
                </a:cubicBezTo>
                <a:cubicBezTo>
                  <a:pt x="584" y="405"/>
                  <a:pt x="587" y="407"/>
                  <a:pt x="588" y="407"/>
                </a:cubicBezTo>
                <a:close/>
                <a:moveTo>
                  <a:pt x="1077" y="2"/>
                </a:moveTo>
                <a:cubicBezTo>
                  <a:pt x="1082" y="2"/>
                  <a:pt x="1082" y="2"/>
                  <a:pt x="1082" y="2"/>
                </a:cubicBezTo>
                <a:cubicBezTo>
                  <a:pt x="1081" y="2"/>
                  <a:pt x="1081" y="2"/>
                  <a:pt x="1081" y="2"/>
                </a:cubicBezTo>
                <a:cubicBezTo>
                  <a:pt x="1079" y="2"/>
                  <a:pt x="1078" y="2"/>
                  <a:pt x="1077" y="2"/>
                </a:cubicBezTo>
                <a:close/>
                <a:moveTo>
                  <a:pt x="1111" y="439"/>
                </a:moveTo>
                <a:cubicBezTo>
                  <a:pt x="1110" y="439"/>
                  <a:pt x="1109" y="439"/>
                  <a:pt x="1108" y="438"/>
                </a:cubicBezTo>
                <a:cubicBezTo>
                  <a:pt x="1107" y="438"/>
                  <a:pt x="1106" y="438"/>
                  <a:pt x="1105" y="437"/>
                </a:cubicBezTo>
                <a:cubicBezTo>
                  <a:pt x="1103" y="437"/>
                  <a:pt x="1101" y="437"/>
                  <a:pt x="1100" y="437"/>
                </a:cubicBezTo>
                <a:cubicBezTo>
                  <a:pt x="1098" y="438"/>
                  <a:pt x="1097" y="438"/>
                  <a:pt x="1096" y="439"/>
                </a:cubicBezTo>
                <a:cubicBezTo>
                  <a:pt x="1094" y="440"/>
                  <a:pt x="1092" y="440"/>
                  <a:pt x="1091" y="441"/>
                </a:cubicBezTo>
                <a:cubicBezTo>
                  <a:pt x="1090" y="443"/>
                  <a:pt x="1089" y="444"/>
                  <a:pt x="1088" y="446"/>
                </a:cubicBezTo>
                <a:cubicBezTo>
                  <a:pt x="1088" y="446"/>
                  <a:pt x="1088" y="447"/>
                  <a:pt x="1087" y="448"/>
                </a:cubicBezTo>
                <a:cubicBezTo>
                  <a:pt x="1087" y="449"/>
                  <a:pt x="1087" y="450"/>
                  <a:pt x="1086" y="450"/>
                </a:cubicBezTo>
                <a:cubicBezTo>
                  <a:pt x="1085" y="452"/>
                  <a:pt x="1085" y="453"/>
                  <a:pt x="1085" y="455"/>
                </a:cubicBezTo>
                <a:cubicBezTo>
                  <a:pt x="1086" y="456"/>
                  <a:pt x="1086" y="457"/>
                  <a:pt x="1087" y="458"/>
                </a:cubicBezTo>
                <a:cubicBezTo>
                  <a:pt x="1088" y="459"/>
                  <a:pt x="1088" y="460"/>
                  <a:pt x="1089" y="461"/>
                </a:cubicBezTo>
                <a:cubicBezTo>
                  <a:pt x="1090" y="461"/>
                  <a:pt x="1092" y="462"/>
                  <a:pt x="1093" y="462"/>
                </a:cubicBezTo>
                <a:cubicBezTo>
                  <a:pt x="1094" y="463"/>
                  <a:pt x="1094" y="464"/>
                  <a:pt x="1095" y="464"/>
                </a:cubicBezTo>
                <a:cubicBezTo>
                  <a:pt x="1097" y="465"/>
                  <a:pt x="1098" y="464"/>
                  <a:pt x="1099" y="464"/>
                </a:cubicBezTo>
                <a:cubicBezTo>
                  <a:pt x="1101" y="463"/>
                  <a:pt x="1102" y="463"/>
                  <a:pt x="1104" y="463"/>
                </a:cubicBezTo>
                <a:cubicBezTo>
                  <a:pt x="1106" y="463"/>
                  <a:pt x="1107" y="462"/>
                  <a:pt x="1109" y="461"/>
                </a:cubicBezTo>
                <a:cubicBezTo>
                  <a:pt x="1110" y="460"/>
                  <a:pt x="1112" y="459"/>
                  <a:pt x="1114" y="459"/>
                </a:cubicBezTo>
                <a:cubicBezTo>
                  <a:pt x="1115" y="459"/>
                  <a:pt x="1116" y="458"/>
                  <a:pt x="1117" y="457"/>
                </a:cubicBezTo>
                <a:cubicBezTo>
                  <a:pt x="1118" y="456"/>
                  <a:pt x="1118" y="455"/>
                  <a:pt x="1119" y="454"/>
                </a:cubicBezTo>
                <a:cubicBezTo>
                  <a:pt x="1120" y="453"/>
                  <a:pt x="1121" y="452"/>
                  <a:pt x="1122" y="452"/>
                </a:cubicBezTo>
                <a:cubicBezTo>
                  <a:pt x="1123" y="451"/>
                  <a:pt x="1122" y="451"/>
                  <a:pt x="1123" y="450"/>
                </a:cubicBezTo>
                <a:cubicBezTo>
                  <a:pt x="1123" y="449"/>
                  <a:pt x="1124" y="449"/>
                  <a:pt x="1125" y="449"/>
                </a:cubicBezTo>
                <a:cubicBezTo>
                  <a:pt x="1125" y="450"/>
                  <a:pt x="1125" y="450"/>
                  <a:pt x="1124" y="451"/>
                </a:cubicBezTo>
                <a:cubicBezTo>
                  <a:pt x="1124" y="451"/>
                  <a:pt x="1124" y="452"/>
                  <a:pt x="1123" y="453"/>
                </a:cubicBezTo>
                <a:cubicBezTo>
                  <a:pt x="1123" y="453"/>
                  <a:pt x="1122" y="454"/>
                  <a:pt x="1122" y="454"/>
                </a:cubicBezTo>
                <a:cubicBezTo>
                  <a:pt x="1122" y="455"/>
                  <a:pt x="1122" y="456"/>
                  <a:pt x="1123" y="456"/>
                </a:cubicBezTo>
                <a:cubicBezTo>
                  <a:pt x="1123" y="456"/>
                  <a:pt x="1124" y="455"/>
                  <a:pt x="1124" y="454"/>
                </a:cubicBezTo>
                <a:cubicBezTo>
                  <a:pt x="1125" y="454"/>
                  <a:pt x="1125" y="454"/>
                  <a:pt x="1126" y="453"/>
                </a:cubicBezTo>
                <a:cubicBezTo>
                  <a:pt x="1127" y="452"/>
                  <a:pt x="1127" y="450"/>
                  <a:pt x="1126" y="449"/>
                </a:cubicBezTo>
                <a:cubicBezTo>
                  <a:pt x="1125" y="448"/>
                  <a:pt x="1125" y="447"/>
                  <a:pt x="1123" y="447"/>
                </a:cubicBezTo>
                <a:cubicBezTo>
                  <a:pt x="1122" y="446"/>
                  <a:pt x="1121" y="445"/>
                  <a:pt x="1120" y="444"/>
                </a:cubicBezTo>
                <a:cubicBezTo>
                  <a:pt x="1118" y="443"/>
                  <a:pt x="1117" y="442"/>
                  <a:pt x="1115" y="441"/>
                </a:cubicBezTo>
                <a:cubicBezTo>
                  <a:pt x="1114" y="441"/>
                  <a:pt x="1112" y="440"/>
                  <a:pt x="1111" y="439"/>
                </a:cubicBezTo>
                <a:close/>
                <a:moveTo>
                  <a:pt x="1076" y="2"/>
                </a:moveTo>
                <a:cubicBezTo>
                  <a:pt x="1076" y="2"/>
                  <a:pt x="1076" y="2"/>
                  <a:pt x="1077" y="2"/>
                </a:cubicBezTo>
                <a:cubicBezTo>
                  <a:pt x="1070" y="3"/>
                  <a:pt x="1070" y="3"/>
                  <a:pt x="1070" y="3"/>
                </a:cubicBezTo>
                <a:cubicBezTo>
                  <a:pt x="1070" y="4"/>
                  <a:pt x="1075" y="3"/>
                  <a:pt x="1076" y="2"/>
                </a:cubicBezTo>
                <a:close/>
                <a:moveTo>
                  <a:pt x="509" y="425"/>
                </a:moveTo>
                <a:cubicBezTo>
                  <a:pt x="510" y="425"/>
                  <a:pt x="510" y="425"/>
                  <a:pt x="511" y="426"/>
                </a:cubicBezTo>
                <a:cubicBezTo>
                  <a:pt x="511" y="426"/>
                  <a:pt x="511" y="426"/>
                  <a:pt x="512" y="426"/>
                </a:cubicBezTo>
                <a:cubicBezTo>
                  <a:pt x="513" y="427"/>
                  <a:pt x="513" y="426"/>
                  <a:pt x="514" y="426"/>
                </a:cubicBezTo>
                <a:cubicBezTo>
                  <a:pt x="515" y="426"/>
                  <a:pt x="517" y="427"/>
                  <a:pt x="518" y="426"/>
                </a:cubicBezTo>
                <a:cubicBezTo>
                  <a:pt x="519" y="426"/>
                  <a:pt x="520" y="424"/>
                  <a:pt x="521" y="423"/>
                </a:cubicBezTo>
                <a:cubicBezTo>
                  <a:pt x="522" y="423"/>
                  <a:pt x="523" y="422"/>
                  <a:pt x="523" y="420"/>
                </a:cubicBezTo>
                <a:cubicBezTo>
                  <a:pt x="523" y="419"/>
                  <a:pt x="522" y="418"/>
                  <a:pt x="521" y="418"/>
                </a:cubicBezTo>
                <a:cubicBezTo>
                  <a:pt x="520" y="418"/>
                  <a:pt x="518" y="417"/>
                  <a:pt x="517" y="417"/>
                </a:cubicBezTo>
                <a:cubicBezTo>
                  <a:pt x="515" y="417"/>
                  <a:pt x="514" y="416"/>
                  <a:pt x="513" y="417"/>
                </a:cubicBezTo>
                <a:cubicBezTo>
                  <a:pt x="512" y="417"/>
                  <a:pt x="512" y="418"/>
                  <a:pt x="512" y="418"/>
                </a:cubicBezTo>
                <a:cubicBezTo>
                  <a:pt x="511" y="419"/>
                  <a:pt x="511" y="418"/>
                  <a:pt x="510" y="418"/>
                </a:cubicBezTo>
                <a:cubicBezTo>
                  <a:pt x="509" y="419"/>
                  <a:pt x="509" y="419"/>
                  <a:pt x="508" y="420"/>
                </a:cubicBezTo>
                <a:cubicBezTo>
                  <a:pt x="508" y="420"/>
                  <a:pt x="508" y="419"/>
                  <a:pt x="507" y="419"/>
                </a:cubicBezTo>
                <a:cubicBezTo>
                  <a:pt x="507" y="419"/>
                  <a:pt x="507" y="420"/>
                  <a:pt x="507" y="420"/>
                </a:cubicBezTo>
                <a:cubicBezTo>
                  <a:pt x="506" y="421"/>
                  <a:pt x="507" y="423"/>
                  <a:pt x="505" y="424"/>
                </a:cubicBezTo>
                <a:cubicBezTo>
                  <a:pt x="505" y="424"/>
                  <a:pt x="505" y="424"/>
                  <a:pt x="504" y="424"/>
                </a:cubicBezTo>
                <a:cubicBezTo>
                  <a:pt x="504" y="424"/>
                  <a:pt x="504" y="425"/>
                  <a:pt x="504" y="425"/>
                </a:cubicBezTo>
                <a:cubicBezTo>
                  <a:pt x="504" y="426"/>
                  <a:pt x="504" y="426"/>
                  <a:pt x="503" y="427"/>
                </a:cubicBezTo>
                <a:cubicBezTo>
                  <a:pt x="503" y="427"/>
                  <a:pt x="502" y="427"/>
                  <a:pt x="502" y="427"/>
                </a:cubicBezTo>
                <a:cubicBezTo>
                  <a:pt x="502" y="427"/>
                  <a:pt x="502" y="427"/>
                  <a:pt x="501" y="427"/>
                </a:cubicBezTo>
                <a:cubicBezTo>
                  <a:pt x="501" y="428"/>
                  <a:pt x="500" y="428"/>
                  <a:pt x="500" y="428"/>
                </a:cubicBezTo>
                <a:cubicBezTo>
                  <a:pt x="499" y="427"/>
                  <a:pt x="499" y="427"/>
                  <a:pt x="498" y="427"/>
                </a:cubicBezTo>
                <a:cubicBezTo>
                  <a:pt x="497" y="427"/>
                  <a:pt x="497" y="427"/>
                  <a:pt x="497" y="428"/>
                </a:cubicBezTo>
                <a:cubicBezTo>
                  <a:pt x="497" y="429"/>
                  <a:pt x="497" y="430"/>
                  <a:pt x="496" y="430"/>
                </a:cubicBezTo>
                <a:cubicBezTo>
                  <a:pt x="496" y="430"/>
                  <a:pt x="495" y="429"/>
                  <a:pt x="495" y="430"/>
                </a:cubicBezTo>
                <a:cubicBezTo>
                  <a:pt x="494" y="432"/>
                  <a:pt x="497" y="432"/>
                  <a:pt x="496" y="433"/>
                </a:cubicBezTo>
                <a:cubicBezTo>
                  <a:pt x="496" y="434"/>
                  <a:pt x="495" y="433"/>
                  <a:pt x="494" y="433"/>
                </a:cubicBezTo>
                <a:cubicBezTo>
                  <a:pt x="493" y="432"/>
                  <a:pt x="493" y="432"/>
                  <a:pt x="492" y="433"/>
                </a:cubicBezTo>
                <a:cubicBezTo>
                  <a:pt x="492" y="433"/>
                  <a:pt x="491" y="434"/>
                  <a:pt x="491" y="434"/>
                </a:cubicBezTo>
                <a:cubicBezTo>
                  <a:pt x="491" y="435"/>
                  <a:pt x="493" y="435"/>
                  <a:pt x="494" y="435"/>
                </a:cubicBezTo>
                <a:cubicBezTo>
                  <a:pt x="495" y="435"/>
                  <a:pt x="495" y="435"/>
                  <a:pt x="495" y="435"/>
                </a:cubicBezTo>
                <a:cubicBezTo>
                  <a:pt x="497" y="435"/>
                  <a:pt x="498" y="435"/>
                  <a:pt x="500" y="435"/>
                </a:cubicBezTo>
                <a:cubicBezTo>
                  <a:pt x="502" y="435"/>
                  <a:pt x="503" y="436"/>
                  <a:pt x="505" y="435"/>
                </a:cubicBezTo>
                <a:cubicBezTo>
                  <a:pt x="506" y="435"/>
                  <a:pt x="506" y="435"/>
                  <a:pt x="506" y="434"/>
                </a:cubicBezTo>
                <a:cubicBezTo>
                  <a:pt x="507" y="433"/>
                  <a:pt x="507" y="433"/>
                  <a:pt x="507" y="432"/>
                </a:cubicBezTo>
                <a:cubicBezTo>
                  <a:pt x="507" y="430"/>
                  <a:pt x="509" y="432"/>
                  <a:pt x="510" y="430"/>
                </a:cubicBezTo>
                <a:cubicBezTo>
                  <a:pt x="510" y="430"/>
                  <a:pt x="510" y="429"/>
                  <a:pt x="510" y="429"/>
                </a:cubicBezTo>
                <a:cubicBezTo>
                  <a:pt x="511" y="428"/>
                  <a:pt x="512" y="428"/>
                  <a:pt x="512" y="428"/>
                </a:cubicBezTo>
                <a:cubicBezTo>
                  <a:pt x="512" y="427"/>
                  <a:pt x="510" y="426"/>
                  <a:pt x="510" y="426"/>
                </a:cubicBezTo>
                <a:cubicBezTo>
                  <a:pt x="509" y="425"/>
                  <a:pt x="509" y="425"/>
                  <a:pt x="508" y="425"/>
                </a:cubicBezTo>
                <a:cubicBezTo>
                  <a:pt x="507" y="425"/>
                  <a:pt x="506" y="424"/>
                  <a:pt x="507" y="424"/>
                </a:cubicBezTo>
                <a:cubicBezTo>
                  <a:pt x="508" y="424"/>
                  <a:pt x="509" y="425"/>
                  <a:pt x="509" y="425"/>
                </a:cubicBezTo>
                <a:close/>
                <a:moveTo>
                  <a:pt x="302" y="631"/>
                </a:moveTo>
                <a:cubicBezTo>
                  <a:pt x="303" y="631"/>
                  <a:pt x="305" y="630"/>
                  <a:pt x="306" y="630"/>
                </a:cubicBezTo>
                <a:cubicBezTo>
                  <a:pt x="307" y="629"/>
                  <a:pt x="310" y="630"/>
                  <a:pt x="309" y="628"/>
                </a:cubicBezTo>
                <a:cubicBezTo>
                  <a:pt x="309" y="626"/>
                  <a:pt x="307" y="629"/>
                  <a:pt x="306" y="629"/>
                </a:cubicBezTo>
                <a:cubicBezTo>
                  <a:pt x="305" y="629"/>
                  <a:pt x="304" y="629"/>
                  <a:pt x="304" y="629"/>
                </a:cubicBezTo>
                <a:cubicBezTo>
                  <a:pt x="303" y="629"/>
                  <a:pt x="301" y="629"/>
                  <a:pt x="301" y="630"/>
                </a:cubicBezTo>
                <a:cubicBezTo>
                  <a:pt x="300" y="631"/>
                  <a:pt x="301" y="631"/>
                  <a:pt x="302" y="631"/>
                </a:cubicBezTo>
                <a:close/>
                <a:moveTo>
                  <a:pt x="1057" y="12"/>
                </a:moveTo>
                <a:cubicBezTo>
                  <a:pt x="1058" y="12"/>
                  <a:pt x="1059" y="14"/>
                  <a:pt x="1060" y="15"/>
                </a:cubicBezTo>
                <a:cubicBezTo>
                  <a:pt x="1061" y="16"/>
                  <a:pt x="1062" y="16"/>
                  <a:pt x="1063" y="16"/>
                </a:cubicBezTo>
                <a:cubicBezTo>
                  <a:pt x="1064" y="16"/>
                  <a:pt x="1064" y="15"/>
                  <a:pt x="1065" y="15"/>
                </a:cubicBezTo>
                <a:cubicBezTo>
                  <a:pt x="1066" y="15"/>
                  <a:pt x="1066" y="15"/>
                  <a:pt x="1067" y="15"/>
                </a:cubicBezTo>
                <a:cubicBezTo>
                  <a:pt x="1068" y="15"/>
                  <a:pt x="1069" y="14"/>
                  <a:pt x="1069" y="13"/>
                </a:cubicBezTo>
                <a:cubicBezTo>
                  <a:pt x="1070" y="13"/>
                  <a:pt x="1071" y="13"/>
                  <a:pt x="1071" y="13"/>
                </a:cubicBezTo>
                <a:cubicBezTo>
                  <a:pt x="1073" y="13"/>
                  <a:pt x="1074" y="12"/>
                  <a:pt x="1076" y="13"/>
                </a:cubicBezTo>
                <a:cubicBezTo>
                  <a:pt x="1078" y="13"/>
                  <a:pt x="1079" y="13"/>
                  <a:pt x="1080" y="14"/>
                </a:cubicBezTo>
                <a:cubicBezTo>
                  <a:pt x="1080" y="14"/>
                  <a:pt x="1082" y="14"/>
                  <a:pt x="1082" y="14"/>
                </a:cubicBezTo>
                <a:cubicBezTo>
                  <a:pt x="1082" y="15"/>
                  <a:pt x="1081" y="15"/>
                  <a:pt x="1080" y="15"/>
                </a:cubicBezTo>
                <a:cubicBezTo>
                  <a:pt x="1079" y="15"/>
                  <a:pt x="1079" y="15"/>
                  <a:pt x="1078" y="15"/>
                </a:cubicBezTo>
                <a:cubicBezTo>
                  <a:pt x="1077" y="16"/>
                  <a:pt x="1077" y="16"/>
                  <a:pt x="1077" y="17"/>
                </a:cubicBezTo>
                <a:cubicBezTo>
                  <a:pt x="1076" y="17"/>
                  <a:pt x="1075" y="17"/>
                  <a:pt x="1075" y="18"/>
                </a:cubicBezTo>
                <a:cubicBezTo>
                  <a:pt x="1074" y="18"/>
                  <a:pt x="1074" y="19"/>
                  <a:pt x="1075" y="19"/>
                </a:cubicBezTo>
                <a:cubicBezTo>
                  <a:pt x="1076" y="20"/>
                  <a:pt x="1078" y="18"/>
                  <a:pt x="1079" y="18"/>
                </a:cubicBezTo>
                <a:cubicBezTo>
                  <a:pt x="1080" y="18"/>
                  <a:pt x="1082" y="18"/>
                  <a:pt x="1083" y="18"/>
                </a:cubicBezTo>
                <a:cubicBezTo>
                  <a:pt x="1086" y="18"/>
                  <a:pt x="1090" y="17"/>
                  <a:pt x="1093" y="18"/>
                </a:cubicBezTo>
                <a:cubicBezTo>
                  <a:pt x="1095" y="18"/>
                  <a:pt x="1097" y="17"/>
                  <a:pt x="1098" y="17"/>
                </a:cubicBezTo>
                <a:cubicBezTo>
                  <a:pt x="1100" y="17"/>
                  <a:pt x="1102" y="18"/>
                  <a:pt x="1103" y="17"/>
                </a:cubicBezTo>
                <a:cubicBezTo>
                  <a:pt x="1103" y="15"/>
                  <a:pt x="1102" y="16"/>
                  <a:pt x="1102" y="15"/>
                </a:cubicBezTo>
                <a:cubicBezTo>
                  <a:pt x="1101" y="15"/>
                  <a:pt x="1101" y="14"/>
                  <a:pt x="1101" y="14"/>
                </a:cubicBezTo>
                <a:cubicBezTo>
                  <a:pt x="1101" y="13"/>
                  <a:pt x="1100" y="13"/>
                  <a:pt x="1100" y="12"/>
                </a:cubicBezTo>
                <a:cubicBezTo>
                  <a:pt x="1100" y="11"/>
                  <a:pt x="1100" y="11"/>
                  <a:pt x="1099" y="10"/>
                </a:cubicBezTo>
                <a:cubicBezTo>
                  <a:pt x="1099" y="9"/>
                  <a:pt x="1097" y="8"/>
                  <a:pt x="1098" y="7"/>
                </a:cubicBezTo>
                <a:cubicBezTo>
                  <a:pt x="1099" y="5"/>
                  <a:pt x="1101" y="5"/>
                  <a:pt x="1102" y="5"/>
                </a:cubicBezTo>
                <a:cubicBezTo>
                  <a:pt x="1105" y="4"/>
                  <a:pt x="1109" y="3"/>
                  <a:pt x="1112" y="2"/>
                </a:cubicBezTo>
                <a:cubicBezTo>
                  <a:pt x="1114" y="2"/>
                  <a:pt x="1115" y="2"/>
                  <a:pt x="1116" y="2"/>
                </a:cubicBezTo>
                <a:cubicBezTo>
                  <a:pt x="1082" y="2"/>
                  <a:pt x="1082" y="2"/>
                  <a:pt x="1082" y="2"/>
                </a:cubicBezTo>
                <a:cubicBezTo>
                  <a:pt x="1082" y="2"/>
                  <a:pt x="1082" y="3"/>
                  <a:pt x="1082" y="3"/>
                </a:cubicBezTo>
                <a:cubicBezTo>
                  <a:pt x="1083" y="3"/>
                  <a:pt x="1084" y="3"/>
                  <a:pt x="1084" y="3"/>
                </a:cubicBezTo>
                <a:cubicBezTo>
                  <a:pt x="1085" y="4"/>
                  <a:pt x="1081" y="4"/>
                  <a:pt x="1080" y="4"/>
                </a:cubicBezTo>
                <a:cubicBezTo>
                  <a:pt x="1079" y="4"/>
                  <a:pt x="1078" y="5"/>
                  <a:pt x="1077" y="5"/>
                </a:cubicBezTo>
                <a:cubicBezTo>
                  <a:pt x="1077" y="5"/>
                  <a:pt x="1077" y="5"/>
                  <a:pt x="1076" y="5"/>
                </a:cubicBezTo>
                <a:cubicBezTo>
                  <a:pt x="1076" y="5"/>
                  <a:pt x="1076" y="5"/>
                  <a:pt x="1075" y="5"/>
                </a:cubicBezTo>
                <a:cubicBezTo>
                  <a:pt x="1075" y="6"/>
                  <a:pt x="1075" y="5"/>
                  <a:pt x="1074" y="5"/>
                </a:cubicBezTo>
                <a:cubicBezTo>
                  <a:pt x="1074" y="6"/>
                  <a:pt x="1074" y="6"/>
                  <a:pt x="1075" y="7"/>
                </a:cubicBezTo>
                <a:cubicBezTo>
                  <a:pt x="1076" y="7"/>
                  <a:pt x="1077" y="7"/>
                  <a:pt x="1078" y="7"/>
                </a:cubicBezTo>
                <a:cubicBezTo>
                  <a:pt x="1080" y="8"/>
                  <a:pt x="1081" y="8"/>
                  <a:pt x="1083" y="8"/>
                </a:cubicBezTo>
                <a:cubicBezTo>
                  <a:pt x="1083" y="9"/>
                  <a:pt x="1082" y="9"/>
                  <a:pt x="1081" y="9"/>
                </a:cubicBezTo>
                <a:cubicBezTo>
                  <a:pt x="1080" y="9"/>
                  <a:pt x="1080" y="10"/>
                  <a:pt x="1079" y="10"/>
                </a:cubicBezTo>
                <a:cubicBezTo>
                  <a:pt x="1077" y="10"/>
                  <a:pt x="1075" y="10"/>
                  <a:pt x="1074" y="9"/>
                </a:cubicBezTo>
                <a:cubicBezTo>
                  <a:pt x="1072" y="9"/>
                  <a:pt x="1070" y="10"/>
                  <a:pt x="1068" y="9"/>
                </a:cubicBezTo>
                <a:cubicBezTo>
                  <a:pt x="1067" y="9"/>
                  <a:pt x="1066" y="8"/>
                  <a:pt x="1064" y="7"/>
                </a:cubicBezTo>
                <a:cubicBezTo>
                  <a:pt x="1063" y="7"/>
                  <a:pt x="1062" y="7"/>
                  <a:pt x="1061" y="7"/>
                </a:cubicBezTo>
                <a:cubicBezTo>
                  <a:pt x="1060" y="7"/>
                  <a:pt x="1060" y="8"/>
                  <a:pt x="1059" y="8"/>
                </a:cubicBezTo>
                <a:cubicBezTo>
                  <a:pt x="1058" y="8"/>
                  <a:pt x="1057" y="8"/>
                  <a:pt x="1057" y="9"/>
                </a:cubicBezTo>
                <a:cubicBezTo>
                  <a:pt x="1056" y="9"/>
                  <a:pt x="1056" y="10"/>
                  <a:pt x="1056" y="10"/>
                </a:cubicBezTo>
                <a:cubicBezTo>
                  <a:pt x="1055" y="10"/>
                  <a:pt x="1055" y="10"/>
                  <a:pt x="1055" y="11"/>
                </a:cubicBezTo>
                <a:cubicBezTo>
                  <a:pt x="1055" y="12"/>
                  <a:pt x="1056" y="12"/>
                  <a:pt x="1057" y="12"/>
                </a:cubicBezTo>
                <a:close/>
                <a:moveTo>
                  <a:pt x="603" y="400"/>
                </a:moveTo>
                <a:cubicBezTo>
                  <a:pt x="604" y="401"/>
                  <a:pt x="605" y="401"/>
                  <a:pt x="606" y="401"/>
                </a:cubicBezTo>
                <a:cubicBezTo>
                  <a:pt x="608" y="402"/>
                  <a:pt x="609" y="401"/>
                  <a:pt x="610" y="400"/>
                </a:cubicBezTo>
                <a:cubicBezTo>
                  <a:pt x="611" y="399"/>
                  <a:pt x="611" y="397"/>
                  <a:pt x="610" y="397"/>
                </a:cubicBezTo>
                <a:cubicBezTo>
                  <a:pt x="608" y="396"/>
                  <a:pt x="608" y="395"/>
                  <a:pt x="606" y="395"/>
                </a:cubicBezTo>
                <a:cubicBezTo>
                  <a:pt x="605" y="395"/>
                  <a:pt x="605" y="395"/>
                  <a:pt x="604" y="394"/>
                </a:cubicBezTo>
                <a:cubicBezTo>
                  <a:pt x="604" y="394"/>
                  <a:pt x="603" y="393"/>
                  <a:pt x="603" y="394"/>
                </a:cubicBezTo>
                <a:cubicBezTo>
                  <a:pt x="602" y="395"/>
                  <a:pt x="603" y="396"/>
                  <a:pt x="603" y="396"/>
                </a:cubicBezTo>
                <a:cubicBezTo>
                  <a:pt x="603" y="398"/>
                  <a:pt x="602" y="399"/>
                  <a:pt x="603" y="400"/>
                </a:cubicBezTo>
                <a:close/>
                <a:moveTo>
                  <a:pt x="526" y="418"/>
                </a:moveTo>
                <a:cubicBezTo>
                  <a:pt x="527" y="419"/>
                  <a:pt x="528" y="418"/>
                  <a:pt x="529" y="418"/>
                </a:cubicBezTo>
                <a:cubicBezTo>
                  <a:pt x="531" y="417"/>
                  <a:pt x="533" y="416"/>
                  <a:pt x="531" y="415"/>
                </a:cubicBezTo>
                <a:cubicBezTo>
                  <a:pt x="531" y="415"/>
                  <a:pt x="530" y="415"/>
                  <a:pt x="530" y="415"/>
                </a:cubicBezTo>
                <a:cubicBezTo>
                  <a:pt x="529" y="415"/>
                  <a:pt x="529" y="414"/>
                  <a:pt x="529" y="414"/>
                </a:cubicBezTo>
                <a:cubicBezTo>
                  <a:pt x="528" y="413"/>
                  <a:pt x="528" y="413"/>
                  <a:pt x="527" y="412"/>
                </a:cubicBezTo>
                <a:cubicBezTo>
                  <a:pt x="525" y="412"/>
                  <a:pt x="525" y="412"/>
                  <a:pt x="524" y="411"/>
                </a:cubicBezTo>
                <a:cubicBezTo>
                  <a:pt x="523" y="411"/>
                  <a:pt x="521" y="410"/>
                  <a:pt x="521" y="411"/>
                </a:cubicBezTo>
                <a:cubicBezTo>
                  <a:pt x="521" y="413"/>
                  <a:pt x="523" y="414"/>
                  <a:pt x="524" y="415"/>
                </a:cubicBezTo>
                <a:cubicBezTo>
                  <a:pt x="525" y="416"/>
                  <a:pt x="524" y="418"/>
                  <a:pt x="526" y="418"/>
                </a:cubicBezTo>
                <a:close/>
                <a:moveTo>
                  <a:pt x="436" y="477"/>
                </a:moveTo>
                <a:cubicBezTo>
                  <a:pt x="437" y="477"/>
                  <a:pt x="438" y="477"/>
                  <a:pt x="438" y="477"/>
                </a:cubicBezTo>
                <a:cubicBezTo>
                  <a:pt x="440" y="477"/>
                  <a:pt x="442" y="478"/>
                  <a:pt x="444" y="478"/>
                </a:cubicBezTo>
                <a:cubicBezTo>
                  <a:pt x="445" y="479"/>
                  <a:pt x="446" y="478"/>
                  <a:pt x="447" y="476"/>
                </a:cubicBezTo>
                <a:cubicBezTo>
                  <a:pt x="448" y="475"/>
                  <a:pt x="449" y="474"/>
                  <a:pt x="450" y="473"/>
                </a:cubicBezTo>
                <a:cubicBezTo>
                  <a:pt x="451" y="472"/>
                  <a:pt x="452" y="471"/>
                  <a:pt x="453" y="471"/>
                </a:cubicBezTo>
                <a:cubicBezTo>
                  <a:pt x="455" y="470"/>
                  <a:pt x="456" y="470"/>
                  <a:pt x="458" y="470"/>
                </a:cubicBezTo>
                <a:cubicBezTo>
                  <a:pt x="459" y="470"/>
                  <a:pt x="461" y="470"/>
                  <a:pt x="462" y="468"/>
                </a:cubicBezTo>
                <a:cubicBezTo>
                  <a:pt x="462" y="467"/>
                  <a:pt x="462" y="465"/>
                  <a:pt x="462" y="464"/>
                </a:cubicBezTo>
                <a:cubicBezTo>
                  <a:pt x="463" y="463"/>
                  <a:pt x="464" y="461"/>
                  <a:pt x="462" y="460"/>
                </a:cubicBezTo>
                <a:cubicBezTo>
                  <a:pt x="462" y="460"/>
                  <a:pt x="461" y="460"/>
                  <a:pt x="460" y="460"/>
                </a:cubicBezTo>
                <a:cubicBezTo>
                  <a:pt x="459" y="460"/>
                  <a:pt x="459" y="459"/>
                  <a:pt x="459" y="459"/>
                </a:cubicBezTo>
                <a:cubicBezTo>
                  <a:pt x="458" y="458"/>
                  <a:pt x="457" y="458"/>
                  <a:pt x="456" y="459"/>
                </a:cubicBezTo>
                <a:cubicBezTo>
                  <a:pt x="456" y="459"/>
                  <a:pt x="456" y="460"/>
                  <a:pt x="455" y="460"/>
                </a:cubicBezTo>
                <a:cubicBezTo>
                  <a:pt x="454" y="461"/>
                  <a:pt x="454" y="460"/>
                  <a:pt x="454" y="461"/>
                </a:cubicBezTo>
                <a:cubicBezTo>
                  <a:pt x="453" y="462"/>
                  <a:pt x="454" y="462"/>
                  <a:pt x="454" y="463"/>
                </a:cubicBezTo>
                <a:cubicBezTo>
                  <a:pt x="456" y="464"/>
                  <a:pt x="454" y="465"/>
                  <a:pt x="453" y="466"/>
                </a:cubicBezTo>
                <a:cubicBezTo>
                  <a:pt x="452" y="467"/>
                  <a:pt x="452" y="467"/>
                  <a:pt x="451" y="467"/>
                </a:cubicBezTo>
                <a:cubicBezTo>
                  <a:pt x="451" y="467"/>
                  <a:pt x="450" y="468"/>
                  <a:pt x="450" y="469"/>
                </a:cubicBezTo>
                <a:cubicBezTo>
                  <a:pt x="449" y="469"/>
                  <a:pt x="448" y="471"/>
                  <a:pt x="448" y="470"/>
                </a:cubicBezTo>
                <a:cubicBezTo>
                  <a:pt x="447" y="470"/>
                  <a:pt x="448" y="469"/>
                  <a:pt x="448" y="468"/>
                </a:cubicBezTo>
                <a:cubicBezTo>
                  <a:pt x="448" y="467"/>
                  <a:pt x="448" y="467"/>
                  <a:pt x="449" y="467"/>
                </a:cubicBezTo>
                <a:cubicBezTo>
                  <a:pt x="450" y="466"/>
                  <a:pt x="450" y="466"/>
                  <a:pt x="450" y="465"/>
                </a:cubicBezTo>
                <a:cubicBezTo>
                  <a:pt x="450" y="464"/>
                  <a:pt x="449" y="465"/>
                  <a:pt x="448" y="464"/>
                </a:cubicBezTo>
                <a:cubicBezTo>
                  <a:pt x="448" y="464"/>
                  <a:pt x="448" y="463"/>
                  <a:pt x="449" y="462"/>
                </a:cubicBezTo>
                <a:cubicBezTo>
                  <a:pt x="449" y="461"/>
                  <a:pt x="450" y="459"/>
                  <a:pt x="450" y="457"/>
                </a:cubicBezTo>
                <a:cubicBezTo>
                  <a:pt x="450" y="455"/>
                  <a:pt x="447" y="455"/>
                  <a:pt x="446" y="456"/>
                </a:cubicBezTo>
                <a:cubicBezTo>
                  <a:pt x="444" y="457"/>
                  <a:pt x="445" y="459"/>
                  <a:pt x="445" y="460"/>
                </a:cubicBezTo>
                <a:cubicBezTo>
                  <a:pt x="444" y="461"/>
                  <a:pt x="444" y="461"/>
                  <a:pt x="443" y="461"/>
                </a:cubicBezTo>
                <a:cubicBezTo>
                  <a:pt x="443" y="462"/>
                  <a:pt x="443" y="462"/>
                  <a:pt x="443" y="463"/>
                </a:cubicBezTo>
                <a:cubicBezTo>
                  <a:pt x="442" y="464"/>
                  <a:pt x="439" y="464"/>
                  <a:pt x="441" y="465"/>
                </a:cubicBezTo>
                <a:cubicBezTo>
                  <a:pt x="441" y="466"/>
                  <a:pt x="442" y="466"/>
                  <a:pt x="441" y="467"/>
                </a:cubicBezTo>
                <a:cubicBezTo>
                  <a:pt x="441" y="467"/>
                  <a:pt x="441" y="468"/>
                  <a:pt x="440" y="468"/>
                </a:cubicBezTo>
                <a:cubicBezTo>
                  <a:pt x="439" y="468"/>
                  <a:pt x="439" y="469"/>
                  <a:pt x="438" y="470"/>
                </a:cubicBezTo>
                <a:cubicBezTo>
                  <a:pt x="438" y="470"/>
                  <a:pt x="438" y="471"/>
                  <a:pt x="438" y="472"/>
                </a:cubicBezTo>
                <a:cubicBezTo>
                  <a:pt x="438" y="473"/>
                  <a:pt x="438" y="474"/>
                  <a:pt x="436" y="475"/>
                </a:cubicBezTo>
                <a:cubicBezTo>
                  <a:pt x="435" y="475"/>
                  <a:pt x="433" y="476"/>
                  <a:pt x="433" y="477"/>
                </a:cubicBezTo>
                <a:cubicBezTo>
                  <a:pt x="434" y="478"/>
                  <a:pt x="435" y="477"/>
                  <a:pt x="436" y="477"/>
                </a:cubicBezTo>
                <a:close/>
                <a:moveTo>
                  <a:pt x="412" y="478"/>
                </a:moveTo>
                <a:cubicBezTo>
                  <a:pt x="412" y="477"/>
                  <a:pt x="411" y="477"/>
                  <a:pt x="410" y="477"/>
                </a:cubicBezTo>
                <a:cubicBezTo>
                  <a:pt x="409" y="478"/>
                  <a:pt x="409" y="478"/>
                  <a:pt x="409" y="479"/>
                </a:cubicBezTo>
                <a:cubicBezTo>
                  <a:pt x="408" y="479"/>
                  <a:pt x="408" y="479"/>
                  <a:pt x="407" y="480"/>
                </a:cubicBezTo>
                <a:cubicBezTo>
                  <a:pt x="405" y="480"/>
                  <a:pt x="401" y="483"/>
                  <a:pt x="403" y="485"/>
                </a:cubicBezTo>
                <a:cubicBezTo>
                  <a:pt x="404" y="486"/>
                  <a:pt x="406" y="486"/>
                  <a:pt x="407" y="486"/>
                </a:cubicBezTo>
                <a:cubicBezTo>
                  <a:pt x="409" y="486"/>
                  <a:pt x="409" y="485"/>
                  <a:pt x="410" y="484"/>
                </a:cubicBezTo>
                <a:cubicBezTo>
                  <a:pt x="412" y="483"/>
                  <a:pt x="413" y="482"/>
                  <a:pt x="414" y="481"/>
                </a:cubicBezTo>
                <a:cubicBezTo>
                  <a:pt x="416" y="480"/>
                  <a:pt x="414" y="480"/>
                  <a:pt x="413" y="479"/>
                </a:cubicBezTo>
                <a:cubicBezTo>
                  <a:pt x="413" y="478"/>
                  <a:pt x="413" y="478"/>
                  <a:pt x="412" y="478"/>
                </a:cubicBezTo>
                <a:close/>
                <a:moveTo>
                  <a:pt x="419" y="479"/>
                </a:moveTo>
                <a:cubicBezTo>
                  <a:pt x="418" y="480"/>
                  <a:pt x="418" y="480"/>
                  <a:pt x="417" y="481"/>
                </a:cubicBezTo>
                <a:cubicBezTo>
                  <a:pt x="417" y="482"/>
                  <a:pt x="416" y="483"/>
                  <a:pt x="417" y="483"/>
                </a:cubicBezTo>
                <a:cubicBezTo>
                  <a:pt x="418" y="483"/>
                  <a:pt x="419" y="482"/>
                  <a:pt x="419" y="482"/>
                </a:cubicBezTo>
                <a:cubicBezTo>
                  <a:pt x="421" y="481"/>
                  <a:pt x="422" y="481"/>
                  <a:pt x="423" y="481"/>
                </a:cubicBezTo>
                <a:cubicBezTo>
                  <a:pt x="424" y="481"/>
                  <a:pt x="424" y="480"/>
                  <a:pt x="425" y="480"/>
                </a:cubicBezTo>
                <a:cubicBezTo>
                  <a:pt x="426" y="479"/>
                  <a:pt x="426" y="479"/>
                  <a:pt x="427" y="479"/>
                </a:cubicBezTo>
                <a:cubicBezTo>
                  <a:pt x="428" y="478"/>
                  <a:pt x="429" y="478"/>
                  <a:pt x="431" y="477"/>
                </a:cubicBezTo>
                <a:cubicBezTo>
                  <a:pt x="432" y="477"/>
                  <a:pt x="433" y="476"/>
                  <a:pt x="434" y="475"/>
                </a:cubicBezTo>
                <a:cubicBezTo>
                  <a:pt x="434" y="474"/>
                  <a:pt x="436" y="472"/>
                  <a:pt x="434" y="473"/>
                </a:cubicBezTo>
                <a:cubicBezTo>
                  <a:pt x="433" y="473"/>
                  <a:pt x="433" y="473"/>
                  <a:pt x="432" y="474"/>
                </a:cubicBezTo>
                <a:cubicBezTo>
                  <a:pt x="432" y="474"/>
                  <a:pt x="431" y="474"/>
                  <a:pt x="430" y="474"/>
                </a:cubicBezTo>
                <a:cubicBezTo>
                  <a:pt x="429" y="474"/>
                  <a:pt x="427" y="474"/>
                  <a:pt x="426" y="474"/>
                </a:cubicBezTo>
                <a:cubicBezTo>
                  <a:pt x="425" y="475"/>
                  <a:pt x="425" y="475"/>
                  <a:pt x="424" y="475"/>
                </a:cubicBezTo>
                <a:cubicBezTo>
                  <a:pt x="423" y="476"/>
                  <a:pt x="422" y="475"/>
                  <a:pt x="422" y="476"/>
                </a:cubicBezTo>
                <a:cubicBezTo>
                  <a:pt x="421" y="476"/>
                  <a:pt x="421" y="477"/>
                  <a:pt x="420" y="477"/>
                </a:cubicBezTo>
                <a:cubicBezTo>
                  <a:pt x="420" y="478"/>
                  <a:pt x="420" y="479"/>
                  <a:pt x="419" y="479"/>
                </a:cubicBezTo>
                <a:close/>
                <a:moveTo>
                  <a:pt x="395" y="485"/>
                </a:moveTo>
                <a:cubicBezTo>
                  <a:pt x="393" y="484"/>
                  <a:pt x="390" y="492"/>
                  <a:pt x="390" y="493"/>
                </a:cubicBezTo>
                <a:cubicBezTo>
                  <a:pt x="389" y="493"/>
                  <a:pt x="389" y="494"/>
                  <a:pt x="389" y="495"/>
                </a:cubicBezTo>
                <a:cubicBezTo>
                  <a:pt x="390" y="495"/>
                  <a:pt x="391" y="495"/>
                  <a:pt x="391" y="494"/>
                </a:cubicBezTo>
                <a:cubicBezTo>
                  <a:pt x="392" y="493"/>
                  <a:pt x="393" y="492"/>
                  <a:pt x="395" y="491"/>
                </a:cubicBezTo>
                <a:cubicBezTo>
                  <a:pt x="395" y="491"/>
                  <a:pt x="396" y="490"/>
                  <a:pt x="396" y="489"/>
                </a:cubicBezTo>
                <a:cubicBezTo>
                  <a:pt x="395" y="489"/>
                  <a:pt x="394" y="490"/>
                  <a:pt x="394" y="488"/>
                </a:cubicBezTo>
                <a:cubicBezTo>
                  <a:pt x="394" y="487"/>
                  <a:pt x="395" y="487"/>
                  <a:pt x="395" y="487"/>
                </a:cubicBezTo>
                <a:cubicBezTo>
                  <a:pt x="395" y="486"/>
                  <a:pt x="396" y="485"/>
                  <a:pt x="395" y="485"/>
                </a:cubicBezTo>
                <a:close/>
                <a:moveTo>
                  <a:pt x="443" y="455"/>
                </a:moveTo>
                <a:cubicBezTo>
                  <a:pt x="443" y="455"/>
                  <a:pt x="443" y="456"/>
                  <a:pt x="444" y="456"/>
                </a:cubicBezTo>
                <a:cubicBezTo>
                  <a:pt x="445" y="457"/>
                  <a:pt x="446" y="455"/>
                  <a:pt x="447" y="455"/>
                </a:cubicBezTo>
                <a:cubicBezTo>
                  <a:pt x="448" y="454"/>
                  <a:pt x="449" y="454"/>
                  <a:pt x="451" y="453"/>
                </a:cubicBezTo>
                <a:cubicBezTo>
                  <a:pt x="452" y="452"/>
                  <a:pt x="452" y="450"/>
                  <a:pt x="453" y="449"/>
                </a:cubicBezTo>
                <a:cubicBezTo>
                  <a:pt x="454" y="449"/>
                  <a:pt x="456" y="447"/>
                  <a:pt x="455" y="446"/>
                </a:cubicBezTo>
                <a:cubicBezTo>
                  <a:pt x="455" y="445"/>
                  <a:pt x="452" y="447"/>
                  <a:pt x="452" y="447"/>
                </a:cubicBezTo>
                <a:cubicBezTo>
                  <a:pt x="450" y="448"/>
                  <a:pt x="449" y="448"/>
                  <a:pt x="448" y="449"/>
                </a:cubicBezTo>
                <a:cubicBezTo>
                  <a:pt x="446" y="449"/>
                  <a:pt x="445" y="451"/>
                  <a:pt x="444" y="452"/>
                </a:cubicBezTo>
                <a:cubicBezTo>
                  <a:pt x="442" y="453"/>
                  <a:pt x="441" y="455"/>
                  <a:pt x="441" y="458"/>
                </a:cubicBezTo>
                <a:cubicBezTo>
                  <a:pt x="441" y="458"/>
                  <a:pt x="441" y="459"/>
                  <a:pt x="441" y="459"/>
                </a:cubicBezTo>
                <a:cubicBezTo>
                  <a:pt x="442" y="459"/>
                  <a:pt x="442" y="459"/>
                  <a:pt x="442" y="458"/>
                </a:cubicBezTo>
                <a:cubicBezTo>
                  <a:pt x="443" y="457"/>
                  <a:pt x="441" y="457"/>
                  <a:pt x="442" y="456"/>
                </a:cubicBezTo>
                <a:cubicBezTo>
                  <a:pt x="442" y="455"/>
                  <a:pt x="443" y="455"/>
                  <a:pt x="443" y="455"/>
                </a:cubicBezTo>
                <a:close/>
                <a:moveTo>
                  <a:pt x="538" y="416"/>
                </a:moveTo>
                <a:cubicBezTo>
                  <a:pt x="538" y="416"/>
                  <a:pt x="538" y="417"/>
                  <a:pt x="538" y="417"/>
                </a:cubicBezTo>
                <a:cubicBezTo>
                  <a:pt x="539" y="418"/>
                  <a:pt x="539" y="417"/>
                  <a:pt x="540" y="417"/>
                </a:cubicBezTo>
                <a:cubicBezTo>
                  <a:pt x="541" y="417"/>
                  <a:pt x="541" y="418"/>
                  <a:pt x="542" y="418"/>
                </a:cubicBezTo>
                <a:cubicBezTo>
                  <a:pt x="542" y="418"/>
                  <a:pt x="543" y="419"/>
                  <a:pt x="543" y="419"/>
                </a:cubicBezTo>
                <a:cubicBezTo>
                  <a:pt x="544" y="418"/>
                  <a:pt x="544" y="417"/>
                  <a:pt x="544" y="417"/>
                </a:cubicBezTo>
                <a:cubicBezTo>
                  <a:pt x="545" y="415"/>
                  <a:pt x="547" y="415"/>
                  <a:pt x="546" y="413"/>
                </a:cubicBezTo>
                <a:cubicBezTo>
                  <a:pt x="545" y="412"/>
                  <a:pt x="545" y="412"/>
                  <a:pt x="544" y="412"/>
                </a:cubicBezTo>
                <a:cubicBezTo>
                  <a:pt x="543" y="413"/>
                  <a:pt x="543" y="413"/>
                  <a:pt x="542" y="414"/>
                </a:cubicBezTo>
                <a:cubicBezTo>
                  <a:pt x="542" y="414"/>
                  <a:pt x="541" y="414"/>
                  <a:pt x="540" y="414"/>
                </a:cubicBezTo>
                <a:cubicBezTo>
                  <a:pt x="540" y="414"/>
                  <a:pt x="539" y="414"/>
                  <a:pt x="539" y="414"/>
                </a:cubicBezTo>
                <a:cubicBezTo>
                  <a:pt x="538" y="414"/>
                  <a:pt x="538" y="414"/>
                  <a:pt x="538" y="414"/>
                </a:cubicBezTo>
                <a:cubicBezTo>
                  <a:pt x="537" y="414"/>
                  <a:pt x="537" y="414"/>
                  <a:pt x="537" y="415"/>
                </a:cubicBezTo>
                <a:cubicBezTo>
                  <a:pt x="537" y="416"/>
                  <a:pt x="538" y="416"/>
                  <a:pt x="538" y="416"/>
                </a:cubicBezTo>
                <a:close/>
                <a:moveTo>
                  <a:pt x="534" y="92"/>
                </a:moveTo>
                <a:cubicBezTo>
                  <a:pt x="536" y="92"/>
                  <a:pt x="537" y="92"/>
                  <a:pt x="538" y="93"/>
                </a:cubicBezTo>
                <a:cubicBezTo>
                  <a:pt x="540" y="94"/>
                  <a:pt x="541" y="94"/>
                  <a:pt x="542" y="95"/>
                </a:cubicBezTo>
                <a:cubicBezTo>
                  <a:pt x="542" y="96"/>
                  <a:pt x="542" y="97"/>
                  <a:pt x="543" y="98"/>
                </a:cubicBezTo>
                <a:cubicBezTo>
                  <a:pt x="544" y="99"/>
                  <a:pt x="544" y="99"/>
                  <a:pt x="544" y="100"/>
                </a:cubicBezTo>
                <a:cubicBezTo>
                  <a:pt x="544" y="100"/>
                  <a:pt x="544" y="101"/>
                  <a:pt x="544" y="101"/>
                </a:cubicBezTo>
                <a:cubicBezTo>
                  <a:pt x="543" y="102"/>
                  <a:pt x="542" y="102"/>
                  <a:pt x="542" y="103"/>
                </a:cubicBezTo>
                <a:cubicBezTo>
                  <a:pt x="543" y="104"/>
                  <a:pt x="544" y="103"/>
                  <a:pt x="544" y="102"/>
                </a:cubicBezTo>
                <a:cubicBezTo>
                  <a:pt x="545" y="102"/>
                  <a:pt x="547" y="102"/>
                  <a:pt x="548" y="102"/>
                </a:cubicBezTo>
                <a:cubicBezTo>
                  <a:pt x="550" y="102"/>
                  <a:pt x="551" y="102"/>
                  <a:pt x="552" y="102"/>
                </a:cubicBezTo>
                <a:cubicBezTo>
                  <a:pt x="553" y="102"/>
                  <a:pt x="554" y="102"/>
                  <a:pt x="554" y="102"/>
                </a:cubicBezTo>
                <a:cubicBezTo>
                  <a:pt x="555" y="101"/>
                  <a:pt x="556" y="101"/>
                  <a:pt x="556" y="101"/>
                </a:cubicBezTo>
                <a:cubicBezTo>
                  <a:pt x="558" y="100"/>
                  <a:pt x="559" y="101"/>
                  <a:pt x="561" y="101"/>
                </a:cubicBezTo>
                <a:cubicBezTo>
                  <a:pt x="563" y="101"/>
                  <a:pt x="564" y="100"/>
                  <a:pt x="565" y="100"/>
                </a:cubicBezTo>
                <a:cubicBezTo>
                  <a:pt x="568" y="100"/>
                  <a:pt x="575" y="101"/>
                  <a:pt x="574" y="96"/>
                </a:cubicBezTo>
                <a:cubicBezTo>
                  <a:pt x="574" y="95"/>
                  <a:pt x="573" y="95"/>
                  <a:pt x="573" y="95"/>
                </a:cubicBezTo>
                <a:cubicBezTo>
                  <a:pt x="572" y="94"/>
                  <a:pt x="573" y="93"/>
                  <a:pt x="574" y="92"/>
                </a:cubicBezTo>
                <a:cubicBezTo>
                  <a:pt x="575" y="91"/>
                  <a:pt x="574" y="90"/>
                  <a:pt x="573" y="89"/>
                </a:cubicBezTo>
                <a:cubicBezTo>
                  <a:pt x="572" y="89"/>
                  <a:pt x="572" y="89"/>
                  <a:pt x="571" y="88"/>
                </a:cubicBezTo>
                <a:cubicBezTo>
                  <a:pt x="571" y="88"/>
                  <a:pt x="571" y="87"/>
                  <a:pt x="571" y="86"/>
                </a:cubicBezTo>
                <a:cubicBezTo>
                  <a:pt x="570" y="84"/>
                  <a:pt x="569" y="87"/>
                  <a:pt x="568" y="87"/>
                </a:cubicBezTo>
                <a:cubicBezTo>
                  <a:pt x="566" y="88"/>
                  <a:pt x="566" y="86"/>
                  <a:pt x="565" y="86"/>
                </a:cubicBezTo>
                <a:cubicBezTo>
                  <a:pt x="564" y="85"/>
                  <a:pt x="562" y="85"/>
                  <a:pt x="561" y="86"/>
                </a:cubicBezTo>
                <a:cubicBezTo>
                  <a:pt x="560" y="87"/>
                  <a:pt x="559" y="86"/>
                  <a:pt x="557" y="85"/>
                </a:cubicBezTo>
                <a:cubicBezTo>
                  <a:pt x="556" y="85"/>
                  <a:pt x="555" y="84"/>
                  <a:pt x="554" y="84"/>
                </a:cubicBezTo>
                <a:cubicBezTo>
                  <a:pt x="553" y="85"/>
                  <a:pt x="552" y="85"/>
                  <a:pt x="552" y="85"/>
                </a:cubicBezTo>
                <a:cubicBezTo>
                  <a:pt x="552" y="86"/>
                  <a:pt x="551" y="87"/>
                  <a:pt x="551" y="87"/>
                </a:cubicBezTo>
                <a:cubicBezTo>
                  <a:pt x="550" y="87"/>
                  <a:pt x="550" y="87"/>
                  <a:pt x="549" y="87"/>
                </a:cubicBezTo>
                <a:cubicBezTo>
                  <a:pt x="548" y="88"/>
                  <a:pt x="546" y="88"/>
                  <a:pt x="544" y="88"/>
                </a:cubicBezTo>
                <a:cubicBezTo>
                  <a:pt x="543" y="89"/>
                  <a:pt x="541" y="89"/>
                  <a:pt x="540" y="89"/>
                </a:cubicBezTo>
                <a:cubicBezTo>
                  <a:pt x="538" y="89"/>
                  <a:pt x="537" y="89"/>
                  <a:pt x="535" y="90"/>
                </a:cubicBezTo>
                <a:cubicBezTo>
                  <a:pt x="535" y="90"/>
                  <a:pt x="534" y="90"/>
                  <a:pt x="533" y="90"/>
                </a:cubicBezTo>
                <a:cubicBezTo>
                  <a:pt x="533" y="90"/>
                  <a:pt x="532" y="90"/>
                  <a:pt x="531" y="91"/>
                </a:cubicBezTo>
                <a:cubicBezTo>
                  <a:pt x="531" y="91"/>
                  <a:pt x="532" y="91"/>
                  <a:pt x="532" y="91"/>
                </a:cubicBezTo>
                <a:cubicBezTo>
                  <a:pt x="533" y="92"/>
                  <a:pt x="534" y="92"/>
                  <a:pt x="534" y="92"/>
                </a:cubicBezTo>
                <a:close/>
                <a:moveTo>
                  <a:pt x="432" y="459"/>
                </a:moveTo>
                <a:cubicBezTo>
                  <a:pt x="430" y="459"/>
                  <a:pt x="429" y="461"/>
                  <a:pt x="428" y="462"/>
                </a:cubicBezTo>
                <a:cubicBezTo>
                  <a:pt x="427" y="463"/>
                  <a:pt x="425" y="462"/>
                  <a:pt x="424" y="463"/>
                </a:cubicBezTo>
                <a:cubicBezTo>
                  <a:pt x="424" y="464"/>
                  <a:pt x="423" y="465"/>
                  <a:pt x="422" y="465"/>
                </a:cubicBezTo>
                <a:cubicBezTo>
                  <a:pt x="420" y="465"/>
                  <a:pt x="420" y="466"/>
                  <a:pt x="420" y="467"/>
                </a:cubicBezTo>
                <a:cubicBezTo>
                  <a:pt x="421" y="468"/>
                  <a:pt x="421" y="468"/>
                  <a:pt x="421" y="469"/>
                </a:cubicBezTo>
                <a:cubicBezTo>
                  <a:pt x="422" y="469"/>
                  <a:pt x="423" y="469"/>
                  <a:pt x="423" y="469"/>
                </a:cubicBezTo>
                <a:cubicBezTo>
                  <a:pt x="424" y="468"/>
                  <a:pt x="424" y="466"/>
                  <a:pt x="426" y="466"/>
                </a:cubicBezTo>
                <a:cubicBezTo>
                  <a:pt x="427" y="465"/>
                  <a:pt x="429" y="465"/>
                  <a:pt x="430" y="465"/>
                </a:cubicBezTo>
                <a:cubicBezTo>
                  <a:pt x="432" y="465"/>
                  <a:pt x="431" y="467"/>
                  <a:pt x="430" y="468"/>
                </a:cubicBezTo>
                <a:cubicBezTo>
                  <a:pt x="430" y="468"/>
                  <a:pt x="430" y="469"/>
                  <a:pt x="431" y="469"/>
                </a:cubicBezTo>
                <a:cubicBezTo>
                  <a:pt x="431" y="470"/>
                  <a:pt x="432" y="469"/>
                  <a:pt x="433" y="469"/>
                </a:cubicBezTo>
                <a:cubicBezTo>
                  <a:pt x="433" y="469"/>
                  <a:pt x="434" y="469"/>
                  <a:pt x="435" y="469"/>
                </a:cubicBezTo>
                <a:cubicBezTo>
                  <a:pt x="435" y="468"/>
                  <a:pt x="436" y="468"/>
                  <a:pt x="436" y="467"/>
                </a:cubicBezTo>
                <a:cubicBezTo>
                  <a:pt x="437" y="467"/>
                  <a:pt x="438" y="467"/>
                  <a:pt x="438" y="467"/>
                </a:cubicBezTo>
                <a:cubicBezTo>
                  <a:pt x="439" y="466"/>
                  <a:pt x="439" y="466"/>
                  <a:pt x="439" y="465"/>
                </a:cubicBezTo>
                <a:cubicBezTo>
                  <a:pt x="440" y="464"/>
                  <a:pt x="441" y="462"/>
                  <a:pt x="440" y="461"/>
                </a:cubicBezTo>
                <a:cubicBezTo>
                  <a:pt x="439" y="460"/>
                  <a:pt x="437" y="460"/>
                  <a:pt x="437" y="459"/>
                </a:cubicBezTo>
                <a:cubicBezTo>
                  <a:pt x="436" y="458"/>
                  <a:pt x="436" y="458"/>
                  <a:pt x="436" y="457"/>
                </a:cubicBezTo>
                <a:cubicBezTo>
                  <a:pt x="435" y="457"/>
                  <a:pt x="435" y="456"/>
                  <a:pt x="435" y="455"/>
                </a:cubicBezTo>
                <a:cubicBezTo>
                  <a:pt x="434" y="454"/>
                  <a:pt x="432" y="453"/>
                  <a:pt x="432" y="455"/>
                </a:cubicBezTo>
                <a:cubicBezTo>
                  <a:pt x="431" y="457"/>
                  <a:pt x="434" y="458"/>
                  <a:pt x="432" y="459"/>
                </a:cubicBezTo>
                <a:close/>
                <a:moveTo>
                  <a:pt x="349" y="50"/>
                </a:moveTo>
                <a:cubicBezTo>
                  <a:pt x="349" y="51"/>
                  <a:pt x="350" y="51"/>
                  <a:pt x="350" y="52"/>
                </a:cubicBezTo>
                <a:cubicBezTo>
                  <a:pt x="351" y="53"/>
                  <a:pt x="351" y="54"/>
                  <a:pt x="351" y="54"/>
                </a:cubicBezTo>
                <a:cubicBezTo>
                  <a:pt x="352" y="56"/>
                  <a:pt x="353" y="56"/>
                  <a:pt x="354" y="57"/>
                </a:cubicBezTo>
                <a:cubicBezTo>
                  <a:pt x="356" y="58"/>
                  <a:pt x="356" y="59"/>
                  <a:pt x="356" y="61"/>
                </a:cubicBezTo>
                <a:cubicBezTo>
                  <a:pt x="356" y="63"/>
                  <a:pt x="357" y="63"/>
                  <a:pt x="358" y="63"/>
                </a:cubicBezTo>
                <a:cubicBezTo>
                  <a:pt x="360" y="63"/>
                  <a:pt x="361" y="63"/>
                  <a:pt x="362" y="62"/>
                </a:cubicBezTo>
                <a:cubicBezTo>
                  <a:pt x="363" y="62"/>
                  <a:pt x="363" y="62"/>
                  <a:pt x="364" y="61"/>
                </a:cubicBezTo>
                <a:cubicBezTo>
                  <a:pt x="366" y="60"/>
                  <a:pt x="366" y="59"/>
                  <a:pt x="365" y="57"/>
                </a:cubicBezTo>
                <a:cubicBezTo>
                  <a:pt x="365" y="57"/>
                  <a:pt x="365" y="57"/>
                  <a:pt x="364" y="56"/>
                </a:cubicBezTo>
                <a:cubicBezTo>
                  <a:pt x="364" y="56"/>
                  <a:pt x="364" y="55"/>
                  <a:pt x="365" y="55"/>
                </a:cubicBezTo>
                <a:cubicBezTo>
                  <a:pt x="366" y="54"/>
                  <a:pt x="366" y="55"/>
                  <a:pt x="367" y="55"/>
                </a:cubicBezTo>
                <a:cubicBezTo>
                  <a:pt x="368" y="56"/>
                  <a:pt x="368" y="56"/>
                  <a:pt x="369" y="56"/>
                </a:cubicBezTo>
                <a:cubicBezTo>
                  <a:pt x="369" y="56"/>
                  <a:pt x="369" y="57"/>
                  <a:pt x="369" y="57"/>
                </a:cubicBezTo>
                <a:cubicBezTo>
                  <a:pt x="369" y="58"/>
                  <a:pt x="370" y="58"/>
                  <a:pt x="370" y="58"/>
                </a:cubicBezTo>
                <a:cubicBezTo>
                  <a:pt x="370" y="57"/>
                  <a:pt x="370" y="57"/>
                  <a:pt x="370" y="56"/>
                </a:cubicBezTo>
                <a:cubicBezTo>
                  <a:pt x="369" y="55"/>
                  <a:pt x="371" y="56"/>
                  <a:pt x="372" y="56"/>
                </a:cubicBezTo>
                <a:cubicBezTo>
                  <a:pt x="372" y="55"/>
                  <a:pt x="372" y="55"/>
                  <a:pt x="373" y="55"/>
                </a:cubicBezTo>
                <a:cubicBezTo>
                  <a:pt x="374" y="56"/>
                  <a:pt x="374" y="56"/>
                  <a:pt x="374" y="57"/>
                </a:cubicBezTo>
                <a:cubicBezTo>
                  <a:pt x="373" y="58"/>
                  <a:pt x="372" y="59"/>
                  <a:pt x="371" y="60"/>
                </a:cubicBezTo>
                <a:cubicBezTo>
                  <a:pt x="370" y="60"/>
                  <a:pt x="370" y="61"/>
                  <a:pt x="369" y="62"/>
                </a:cubicBezTo>
                <a:cubicBezTo>
                  <a:pt x="369" y="62"/>
                  <a:pt x="369" y="63"/>
                  <a:pt x="368" y="63"/>
                </a:cubicBezTo>
                <a:cubicBezTo>
                  <a:pt x="367" y="64"/>
                  <a:pt x="367" y="63"/>
                  <a:pt x="366" y="64"/>
                </a:cubicBezTo>
                <a:cubicBezTo>
                  <a:pt x="366" y="65"/>
                  <a:pt x="367" y="66"/>
                  <a:pt x="367" y="66"/>
                </a:cubicBezTo>
                <a:cubicBezTo>
                  <a:pt x="369" y="67"/>
                  <a:pt x="370" y="66"/>
                  <a:pt x="372" y="67"/>
                </a:cubicBezTo>
                <a:cubicBezTo>
                  <a:pt x="373" y="68"/>
                  <a:pt x="374" y="69"/>
                  <a:pt x="376" y="68"/>
                </a:cubicBezTo>
                <a:cubicBezTo>
                  <a:pt x="376" y="68"/>
                  <a:pt x="377" y="67"/>
                  <a:pt x="378" y="68"/>
                </a:cubicBezTo>
                <a:cubicBezTo>
                  <a:pt x="378" y="68"/>
                  <a:pt x="378" y="69"/>
                  <a:pt x="378" y="70"/>
                </a:cubicBezTo>
                <a:cubicBezTo>
                  <a:pt x="377" y="70"/>
                  <a:pt x="377" y="71"/>
                  <a:pt x="377" y="72"/>
                </a:cubicBezTo>
                <a:cubicBezTo>
                  <a:pt x="376" y="72"/>
                  <a:pt x="376" y="72"/>
                  <a:pt x="375" y="72"/>
                </a:cubicBezTo>
                <a:cubicBezTo>
                  <a:pt x="374" y="72"/>
                  <a:pt x="373" y="73"/>
                  <a:pt x="371" y="72"/>
                </a:cubicBezTo>
                <a:cubicBezTo>
                  <a:pt x="371" y="72"/>
                  <a:pt x="370" y="71"/>
                  <a:pt x="370" y="71"/>
                </a:cubicBezTo>
                <a:cubicBezTo>
                  <a:pt x="369" y="71"/>
                  <a:pt x="368" y="71"/>
                  <a:pt x="367" y="71"/>
                </a:cubicBezTo>
                <a:cubicBezTo>
                  <a:pt x="365" y="70"/>
                  <a:pt x="362" y="68"/>
                  <a:pt x="359" y="68"/>
                </a:cubicBezTo>
                <a:cubicBezTo>
                  <a:pt x="358" y="68"/>
                  <a:pt x="358" y="69"/>
                  <a:pt x="357" y="68"/>
                </a:cubicBezTo>
                <a:cubicBezTo>
                  <a:pt x="356" y="68"/>
                  <a:pt x="355" y="68"/>
                  <a:pt x="355" y="69"/>
                </a:cubicBezTo>
                <a:cubicBezTo>
                  <a:pt x="354" y="70"/>
                  <a:pt x="357" y="71"/>
                  <a:pt x="357" y="72"/>
                </a:cubicBezTo>
                <a:cubicBezTo>
                  <a:pt x="358" y="73"/>
                  <a:pt x="358" y="73"/>
                  <a:pt x="358" y="74"/>
                </a:cubicBezTo>
                <a:cubicBezTo>
                  <a:pt x="358" y="75"/>
                  <a:pt x="359" y="75"/>
                  <a:pt x="360" y="75"/>
                </a:cubicBezTo>
                <a:cubicBezTo>
                  <a:pt x="360" y="76"/>
                  <a:pt x="361" y="76"/>
                  <a:pt x="360" y="77"/>
                </a:cubicBezTo>
                <a:cubicBezTo>
                  <a:pt x="360" y="78"/>
                  <a:pt x="359" y="78"/>
                  <a:pt x="360" y="79"/>
                </a:cubicBezTo>
                <a:cubicBezTo>
                  <a:pt x="361" y="80"/>
                  <a:pt x="363" y="79"/>
                  <a:pt x="364" y="80"/>
                </a:cubicBezTo>
                <a:cubicBezTo>
                  <a:pt x="365" y="80"/>
                  <a:pt x="365" y="81"/>
                  <a:pt x="366" y="82"/>
                </a:cubicBezTo>
                <a:cubicBezTo>
                  <a:pt x="368" y="83"/>
                  <a:pt x="369" y="82"/>
                  <a:pt x="370" y="83"/>
                </a:cubicBezTo>
                <a:cubicBezTo>
                  <a:pt x="372" y="83"/>
                  <a:pt x="373" y="85"/>
                  <a:pt x="374" y="85"/>
                </a:cubicBezTo>
                <a:cubicBezTo>
                  <a:pt x="376" y="86"/>
                  <a:pt x="377" y="86"/>
                  <a:pt x="378" y="86"/>
                </a:cubicBezTo>
                <a:cubicBezTo>
                  <a:pt x="380" y="87"/>
                  <a:pt x="381" y="89"/>
                  <a:pt x="382" y="89"/>
                </a:cubicBezTo>
                <a:cubicBezTo>
                  <a:pt x="383" y="89"/>
                  <a:pt x="383" y="89"/>
                  <a:pt x="384" y="89"/>
                </a:cubicBezTo>
                <a:cubicBezTo>
                  <a:pt x="385" y="89"/>
                  <a:pt x="386" y="89"/>
                  <a:pt x="386" y="89"/>
                </a:cubicBezTo>
                <a:cubicBezTo>
                  <a:pt x="387" y="89"/>
                  <a:pt x="388" y="88"/>
                  <a:pt x="389" y="88"/>
                </a:cubicBezTo>
                <a:cubicBezTo>
                  <a:pt x="389" y="89"/>
                  <a:pt x="390" y="89"/>
                  <a:pt x="389" y="89"/>
                </a:cubicBezTo>
                <a:cubicBezTo>
                  <a:pt x="389" y="90"/>
                  <a:pt x="388" y="89"/>
                  <a:pt x="388" y="90"/>
                </a:cubicBezTo>
                <a:cubicBezTo>
                  <a:pt x="388" y="90"/>
                  <a:pt x="387" y="90"/>
                  <a:pt x="387" y="90"/>
                </a:cubicBezTo>
                <a:cubicBezTo>
                  <a:pt x="386" y="90"/>
                  <a:pt x="386" y="91"/>
                  <a:pt x="385" y="91"/>
                </a:cubicBezTo>
                <a:cubicBezTo>
                  <a:pt x="384" y="91"/>
                  <a:pt x="383" y="90"/>
                  <a:pt x="383" y="90"/>
                </a:cubicBezTo>
                <a:cubicBezTo>
                  <a:pt x="382" y="90"/>
                  <a:pt x="381" y="90"/>
                  <a:pt x="381" y="90"/>
                </a:cubicBezTo>
                <a:cubicBezTo>
                  <a:pt x="380" y="90"/>
                  <a:pt x="379" y="90"/>
                  <a:pt x="378" y="90"/>
                </a:cubicBezTo>
                <a:cubicBezTo>
                  <a:pt x="377" y="90"/>
                  <a:pt x="377" y="89"/>
                  <a:pt x="376" y="89"/>
                </a:cubicBezTo>
                <a:cubicBezTo>
                  <a:pt x="373" y="89"/>
                  <a:pt x="376" y="91"/>
                  <a:pt x="376" y="92"/>
                </a:cubicBezTo>
                <a:cubicBezTo>
                  <a:pt x="377" y="93"/>
                  <a:pt x="377" y="94"/>
                  <a:pt x="379" y="95"/>
                </a:cubicBezTo>
                <a:cubicBezTo>
                  <a:pt x="380" y="96"/>
                  <a:pt x="381" y="97"/>
                  <a:pt x="382" y="98"/>
                </a:cubicBezTo>
                <a:cubicBezTo>
                  <a:pt x="383" y="99"/>
                  <a:pt x="384" y="100"/>
                  <a:pt x="385" y="101"/>
                </a:cubicBezTo>
                <a:cubicBezTo>
                  <a:pt x="386" y="102"/>
                  <a:pt x="387" y="103"/>
                  <a:pt x="389" y="103"/>
                </a:cubicBezTo>
                <a:cubicBezTo>
                  <a:pt x="391" y="103"/>
                  <a:pt x="392" y="103"/>
                  <a:pt x="394" y="103"/>
                </a:cubicBezTo>
                <a:cubicBezTo>
                  <a:pt x="396" y="103"/>
                  <a:pt x="397" y="102"/>
                  <a:pt x="399" y="103"/>
                </a:cubicBezTo>
                <a:cubicBezTo>
                  <a:pt x="400" y="103"/>
                  <a:pt x="400" y="103"/>
                  <a:pt x="401" y="103"/>
                </a:cubicBezTo>
                <a:cubicBezTo>
                  <a:pt x="402" y="104"/>
                  <a:pt x="404" y="103"/>
                  <a:pt x="404" y="102"/>
                </a:cubicBezTo>
                <a:cubicBezTo>
                  <a:pt x="404" y="102"/>
                  <a:pt x="404" y="101"/>
                  <a:pt x="404" y="101"/>
                </a:cubicBezTo>
                <a:cubicBezTo>
                  <a:pt x="404" y="100"/>
                  <a:pt x="405" y="101"/>
                  <a:pt x="405" y="101"/>
                </a:cubicBezTo>
                <a:cubicBezTo>
                  <a:pt x="406" y="101"/>
                  <a:pt x="406" y="102"/>
                  <a:pt x="407" y="101"/>
                </a:cubicBezTo>
                <a:cubicBezTo>
                  <a:pt x="407" y="100"/>
                  <a:pt x="407" y="100"/>
                  <a:pt x="408" y="99"/>
                </a:cubicBezTo>
                <a:cubicBezTo>
                  <a:pt x="408" y="99"/>
                  <a:pt x="409" y="98"/>
                  <a:pt x="410" y="99"/>
                </a:cubicBezTo>
                <a:cubicBezTo>
                  <a:pt x="411" y="99"/>
                  <a:pt x="410" y="100"/>
                  <a:pt x="411" y="100"/>
                </a:cubicBezTo>
                <a:cubicBezTo>
                  <a:pt x="411" y="101"/>
                  <a:pt x="412" y="100"/>
                  <a:pt x="413" y="99"/>
                </a:cubicBezTo>
                <a:cubicBezTo>
                  <a:pt x="413" y="99"/>
                  <a:pt x="413" y="99"/>
                  <a:pt x="413" y="98"/>
                </a:cubicBezTo>
                <a:cubicBezTo>
                  <a:pt x="413" y="98"/>
                  <a:pt x="414" y="98"/>
                  <a:pt x="414" y="98"/>
                </a:cubicBezTo>
                <a:cubicBezTo>
                  <a:pt x="414" y="97"/>
                  <a:pt x="414" y="96"/>
                  <a:pt x="413" y="96"/>
                </a:cubicBezTo>
                <a:cubicBezTo>
                  <a:pt x="413" y="95"/>
                  <a:pt x="413" y="94"/>
                  <a:pt x="415" y="94"/>
                </a:cubicBezTo>
                <a:cubicBezTo>
                  <a:pt x="416" y="94"/>
                  <a:pt x="416" y="95"/>
                  <a:pt x="417" y="95"/>
                </a:cubicBezTo>
                <a:cubicBezTo>
                  <a:pt x="418" y="95"/>
                  <a:pt x="419" y="94"/>
                  <a:pt x="420" y="94"/>
                </a:cubicBezTo>
                <a:cubicBezTo>
                  <a:pt x="420" y="95"/>
                  <a:pt x="421" y="95"/>
                  <a:pt x="422" y="95"/>
                </a:cubicBezTo>
                <a:cubicBezTo>
                  <a:pt x="423" y="94"/>
                  <a:pt x="421" y="92"/>
                  <a:pt x="420" y="92"/>
                </a:cubicBezTo>
                <a:cubicBezTo>
                  <a:pt x="419" y="92"/>
                  <a:pt x="419" y="92"/>
                  <a:pt x="418" y="91"/>
                </a:cubicBezTo>
                <a:cubicBezTo>
                  <a:pt x="418" y="91"/>
                  <a:pt x="417" y="91"/>
                  <a:pt x="416" y="91"/>
                </a:cubicBezTo>
                <a:cubicBezTo>
                  <a:pt x="416" y="90"/>
                  <a:pt x="417" y="89"/>
                  <a:pt x="418" y="89"/>
                </a:cubicBezTo>
                <a:cubicBezTo>
                  <a:pt x="418" y="89"/>
                  <a:pt x="419" y="89"/>
                  <a:pt x="419" y="88"/>
                </a:cubicBezTo>
                <a:cubicBezTo>
                  <a:pt x="419" y="88"/>
                  <a:pt x="419" y="87"/>
                  <a:pt x="419" y="87"/>
                </a:cubicBezTo>
                <a:cubicBezTo>
                  <a:pt x="419" y="87"/>
                  <a:pt x="419" y="86"/>
                  <a:pt x="420" y="86"/>
                </a:cubicBezTo>
                <a:cubicBezTo>
                  <a:pt x="420" y="85"/>
                  <a:pt x="420" y="85"/>
                  <a:pt x="419" y="84"/>
                </a:cubicBezTo>
                <a:cubicBezTo>
                  <a:pt x="419" y="83"/>
                  <a:pt x="418" y="83"/>
                  <a:pt x="418" y="82"/>
                </a:cubicBezTo>
                <a:cubicBezTo>
                  <a:pt x="419" y="82"/>
                  <a:pt x="420" y="82"/>
                  <a:pt x="421" y="82"/>
                </a:cubicBezTo>
                <a:cubicBezTo>
                  <a:pt x="421" y="81"/>
                  <a:pt x="421" y="80"/>
                  <a:pt x="422" y="80"/>
                </a:cubicBezTo>
                <a:cubicBezTo>
                  <a:pt x="422" y="80"/>
                  <a:pt x="423" y="80"/>
                  <a:pt x="424" y="80"/>
                </a:cubicBezTo>
                <a:cubicBezTo>
                  <a:pt x="425" y="81"/>
                  <a:pt x="424" y="83"/>
                  <a:pt x="425" y="84"/>
                </a:cubicBezTo>
                <a:cubicBezTo>
                  <a:pt x="426" y="84"/>
                  <a:pt x="426" y="84"/>
                  <a:pt x="426" y="84"/>
                </a:cubicBezTo>
                <a:cubicBezTo>
                  <a:pt x="427" y="85"/>
                  <a:pt x="427" y="85"/>
                  <a:pt x="427" y="85"/>
                </a:cubicBezTo>
                <a:cubicBezTo>
                  <a:pt x="428" y="87"/>
                  <a:pt x="429" y="85"/>
                  <a:pt x="430" y="84"/>
                </a:cubicBezTo>
                <a:cubicBezTo>
                  <a:pt x="430" y="83"/>
                  <a:pt x="431" y="83"/>
                  <a:pt x="431" y="83"/>
                </a:cubicBezTo>
                <a:cubicBezTo>
                  <a:pt x="433" y="83"/>
                  <a:pt x="433" y="82"/>
                  <a:pt x="433" y="81"/>
                </a:cubicBezTo>
                <a:cubicBezTo>
                  <a:pt x="433" y="80"/>
                  <a:pt x="433" y="80"/>
                  <a:pt x="434" y="79"/>
                </a:cubicBezTo>
                <a:cubicBezTo>
                  <a:pt x="434" y="78"/>
                  <a:pt x="434" y="77"/>
                  <a:pt x="434" y="77"/>
                </a:cubicBezTo>
                <a:cubicBezTo>
                  <a:pt x="435" y="75"/>
                  <a:pt x="437" y="76"/>
                  <a:pt x="437" y="77"/>
                </a:cubicBezTo>
                <a:cubicBezTo>
                  <a:pt x="437" y="78"/>
                  <a:pt x="438" y="78"/>
                  <a:pt x="438" y="79"/>
                </a:cubicBezTo>
                <a:cubicBezTo>
                  <a:pt x="438" y="79"/>
                  <a:pt x="438" y="80"/>
                  <a:pt x="438" y="81"/>
                </a:cubicBezTo>
                <a:cubicBezTo>
                  <a:pt x="438" y="82"/>
                  <a:pt x="437" y="82"/>
                  <a:pt x="437" y="83"/>
                </a:cubicBezTo>
                <a:cubicBezTo>
                  <a:pt x="437" y="84"/>
                  <a:pt x="437" y="85"/>
                  <a:pt x="437" y="85"/>
                </a:cubicBezTo>
                <a:cubicBezTo>
                  <a:pt x="436" y="87"/>
                  <a:pt x="434" y="87"/>
                  <a:pt x="435" y="89"/>
                </a:cubicBezTo>
                <a:cubicBezTo>
                  <a:pt x="435" y="91"/>
                  <a:pt x="437" y="91"/>
                  <a:pt x="439" y="92"/>
                </a:cubicBezTo>
                <a:cubicBezTo>
                  <a:pt x="440" y="92"/>
                  <a:pt x="441" y="91"/>
                  <a:pt x="443" y="91"/>
                </a:cubicBezTo>
                <a:cubicBezTo>
                  <a:pt x="444" y="90"/>
                  <a:pt x="445" y="91"/>
                  <a:pt x="447" y="91"/>
                </a:cubicBezTo>
                <a:cubicBezTo>
                  <a:pt x="448" y="91"/>
                  <a:pt x="448" y="91"/>
                  <a:pt x="449" y="91"/>
                </a:cubicBezTo>
                <a:cubicBezTo>
                  <a:pt x="450" y="90"/>
                  <a:pt x="451" y="89"/>
                  <a:pt x="452" y="89"/>
                </a:cubicBezTo>
                <a:cubicBezTo>
                  <a:pt x="453" y="88"/>
                  <a:pt x="453" y="88"/>
                  <a:pt x="454" y="88"/>
                </a:cubicBezTo>
                <a:cubicBezTo>
                  <a:pt x="455" y="88"/>
                  <a:pt x="456" y="88"/>
                  <a:pt x="456" y="87"/>
                </a:cubicBezTo>
                <a:cubicBezTo>
                  <a:pt x="456" y="86"/>
                  <a:pt x="456" y="86"/>
                  <a:pt x="456" y="85"/>
                </a:cubicBezTo>
                <a:cubicBezTo>
                  <a:pt x="456" y="85"/>
                  <a:pt x="457" y="85"/>
                  <a:pt x="457" y="84"/>
                </a:cubicBezTo>
                <a:cubicBezTo>
                  <a:pt x="458" y="84"/>
                  <a:pt x="458" y="83"/>
                  <a:pt x="458" y="82"/>
                </a:cubicBezTo>
                <a:cubicBezTo>
                  <a:pt x="458" y="81"/>
                  <a:pt x="459" y="80"/>
                  <a:pt x="461" y="81"/>
                </a:cubicBezTo>
                <a:cubicBezTo>
                  <a:pt x="461" y="81"/>
                  <a:pt x="461" y="82"/>
                  <a:pt x="462" y="82"/>
                </a:cubicBezTo>
                <a:cubicBezTo>
                  <a:pt x="463" y="82"/>
                  <a:pt x="464" y="82"/>
                  <a:pt x="464" y="83"/>
                </a:cubicBezTo>
                <a:cubicBezTo>
                  <a:pt x="465" y="84"/>
                  <a:pt x="462" y="86"/>
                  <a:pt x="462" y="86"/>
                </a:cubicBezTo>
                <a:cubicBezTo>
                  <a:pt x="461" y="87"/>
                  <a:pt x="460" y="87"/>
                  <a:pt x="460" y="88"/>
                </a:cubicBezTo>
                <a:cubicBezTo>
                  <a:pt x="460" y="89"/>
                  <a:pt x="459" y="90"/>
                  <a:pt x="459" y="90"/>
                </a:cubicBezTo>
                <a:cubicBezTo>
                  <a:pt x="458" y="91"/>
                  <a:pt x="457" y="91"/>
                  <a:pt x="457" y="91"/>
                </a:cubicBezTo>
                <a:cubicBezTo>
                  <a:pt x="456" y="93"/>
                  <a:pt x="457" y="93"/>
                  <a:pt x="458" y="93"/>
                </a:cubicBezTo>
                <a:cubicBezTo>
                  <a:pt x="459" y="93"/>
                  <a:pt x="459" y="93"/>
                  <a:pt x="460" y="93"/>
                </a:cubicBezTo>
                <a:cubicBezTo>
                  <a:pt x="460" y="94"/>
                  <a:pt x="461" y="94"/>
                  <a:pt x="461" y="94"/>
                </a:cubicBezTo>
                <a:cubicBezTo>
                  <a:pt x="462" y="94"/>
                  <a:pt x="463" y="94"/>
                  <a:pt x="463" y="94"/>
                </a:cubicBezTo>
                <a:cubicBezTo>
                  <a:pt x="464" y="93"/>
                  <a:pt x="465" y="93"/>
                  <a:pt x="465" y="94"/>
                </a:cubicBezTo>
                <a:cubicBezTo>
                  <a:pt x="464" y="95"/>
                  <a:pt x="463" y="95"/>
                  <a:pt x="463" y="95"/>
                </a:cubicBezTo>
                <a:cubicBezTo>
                  <a:pt x="462" y="95"/>
                  <a:pt x="460" y="95"/>
                  <a:pt x="459" y="96"/>
                </a:cubicBezTo>
                <a:cubicBezTo>
                  <a:pt x="457" y="96"/>
                  <a:pt x="456" y="96"/>
                  <a:pt x="454" y="96"/>
                </a:cubicBezTo>
                <a:cubicBezTo>
                  <a:pt x="453" y="96"/>
                  <a:pt x="451" y="97"/>
                  <a:pt x="450" y="97"/>
                </a:cubicBezTo>
                <a:cubicBezTo>
                  <a:pt x="448" y="97"/>
                  <a:pt x="447" y="96"/>
                  <a:pt x="445" y="97"/>
                </a:cubicBezTo>
                <a:cubicBezTo>
                  <a:pt x="444" y="97"/>
                  <a:pt x="444" y="98"/>
                  <a:pt x="443" y="100"/>
                </a:cubicBezTo>
                <a:cubicBezTo>
                  <a:pt x="442" y="103"/>
                  <a:pt x="438" y="104"/>
                  <a:pt x="435" y="104"/>
                </a:cubicBezTo>
                <a:cubicBezTo>
                  <a:pt x="434" y="104"/>
                  <a:pt x="433" y="105"/>
                  <a:pt x="432" y="105"/>
                </a:cubicBezTo>
                <a:cubicBezTo>
                  <a:pt x="430" y="105"/>
                  <a:pt x="429" y="106"/>
                  <a:pt x="428" y="106"/>
                </a:cubicBezTo>
                <a:cubicBezTo>
                  <a:pt x="426" y="107"/>
                  <a:pt x="424" y="108"/>
                  <a:pt x="422" y="109"/>
                </a:cubicBezTo>
                <a:cubicBezTo>
                  <a:pt x="420" y="110"/>
                  <a:pt x="420" y="110"/>
                  <a:pt x="418" y="110"/>
                </a:cubicBezTo>
                <a:cubicBezTo>
                  <a:pt x="416" y="110"/>
                  <a:pt x="414" y="110"/>
                  <a:pt x="413" y="110"/>
                </a:cubicBezTo>
                <a:cubicBezTo>
                  <a:pt x="411" y="110"/>
                  <a:pt x="410" y="111"/>
                  <a:pt x="409" y="110"/>
                </a:cubicBezTo>
                <a:cubicBezTo>
                  <a:pt x="408" y="109"/>
                  <a:pt x="407" y="108"/>
                  <a:pt x="405" y="107"/>
                </a:cubicBezTo>
                <a:cubicBezTo>
                  <a:pt x="404" y="107"/>
                  <a:pt x="403" y="108"/>
                  <a:pt x="402" y="109"/>
                </a:cubicBezTo>
                <a:cubicBezTo>
                  <a:pt x="401" y="110"/>
                  <a:pt x="399" y="109"/>
                  <a:pt x="400" y="111"/>
                </a:cubicBezTo>
                <a:cubicBezTo>
                  <a:pt x="400" y="112"/>
                  <a:pt x="401" y="112"/>
                  <a:pt x="401" y="113"/>
                </a:cubicBezTo>
                <a:cubicBezTo>
                  <a:pt x="401" y="113"/>
                  <a:pt x="401" y="114"/>
                  <a:pt x="401" y="115"/>
                </a:cubicBezTo>
                <a:cubicBezTo>
                  <a:pt x="401" y="116"/>
                  <a:pt x="400" y="119"/>
                  <a:pt x="401" y="120"/>
                </a:cubicBezTo>
                <a:cubicBezTo>
                  <a:pt x="401" y="121"/>
                  <a:pt x="402" y="121"/>
                  <a:pt x="403" y="121"/>
                </a:cubicBezTo>
                <a:cubicBezTo>
                  <a:pt x="404" y="121"/>
                  <a:pt x="404" y="121"/>
                  <a:pt x="405" y="122"/>
                </a:cubicBezTo>
                <a:cubicBezTo>
                  <a:pt x="405" y="122"/>
                  <a:pt x="406" y="123"/>
                  <a:pt x="406" y="123"/>
                </a:cubicBezTo>
                <a:cubicBezTo>
                  <a:pt x="408" y="122"/>
                  <a:pt x="409" y="121"/>
                  <a:pt x="410" y="121"/>
                </a:cubicBezTo>
                <a:cubicBezTo>
                  <a:pt x="412" y="121"/>
                  <a:pt x="414" y="121"/>
                  <a:pt x="415" y="121"/>
                </a:cubicBezTo>
                <a:cubicBezTo>
                  <a:pt x="417" y="121"/>
                  <a:pt x="418" y="121"/>
                  <a:pt x="420" y="120"/>
                </a:cubicBezTo>
                <a:cubicBezTo>
                  <a:pt x="422" y="120"/>
                  <a:pt x="423" y="121"/>
                  <a:pt x="425" y="121"/>
                </a:cubicBezTo>
                <a:cubicBezTo>
                  <a:pt x="427" y="121"/>
                  <a:pt x="429" y="120"/>
                  <a:pt x="430" y="119"/>
                </a:cubicBezTo>
                <a:cubicBezTo>
                  <a:pt x="431" y="119"/>
                  <a:pt x="432" y="118"/>
                  <a:pt x="433" y="118"/>
                </a:cubicBezTo>
                <a:cubicBezTo>
                  <a:pt x="433" y="118"/>
                  <a:pt x="434" y="118"/>
                  <a:pt x="435" y="118"/>
                </a:cubicBezTo>
                <a:cubicBezTo>
                  <a:pt x="436" y="117"/>
                  <a:pt x="438" y="116"/>
                  <a:pt x="439" y="116"/>
                </a:cubicBezTo>
                <a:cubicBezTo>
                  <a:pt x="441" y="115"/>
                  <a:pt x="441" y="117"/>
                  <a:pt x="443" y="117"/>
                </a:cubicBezTo>
                <a:cubicBezTo>
                  <a:pt x="444" y="118"/>
                  <a:pt x="445" y="118"/>
                  <a:pt x="447" y="119"/>
                </a:cubicBezTo>
                <a:cubicBezTo>
                  <a:pt x="448" y="119"/>
                  <a:pt x="450" y="119"/>
                  <a:pt x="452" y="118"/>
                </a:cubicBezTo>
                <a:cubicBezTo>
                  <a:pt x="454" y="117"/>
                  <a:pt x="456" y="117"/>
                  <a:pt x="458" y="118"/>
                </a:cubicBezTo>
                <a:cubicBezTo>
                  <a:pt x="459" y="118"/>
                  <a:pt x="460" y="118"/>
                  <a:pt x="461" y="118"/>
                </a:cubicBezTo>
                <a:cubicBezTo>
                  <a:pt x="462" y="117"/>
                  <a:pt x="462" y="116"/>
                  <a:pt x="463" y="116"/>
                </a:cubicBezTo>
                <a:cubicBezTo>
                  <a:pt x="464" y="115"/>
                  <a:pt x="465" y="115"/>
                  <a:pt x="465" y="115"/>
                </a:cubicBezTo>
                <a:cubicBezTo>
                  <a:pt x="466" y="115"/>
                  <a:pt x="467" y="115"/>
                  <a:pt x="467" y="115"/>
                </a:cubicBezTo>
                <a:cubicBezTo>
                  <a:pt x="467" y="114"/>
                  <a:pt x="467" y="113"/>
                  <a:pt x="468" y="114"/>
                </a:cubicBezTo>
                <a:cubicBezTo>
                  <a:pt x="468" y="115"/>
                  <a:pt x="468" y="117"/>
                  <a:pt x="466" y="116"/>
                </a:cubicBezTo>
                <a:cubicBezTo>
                  <a:pt x="465" y="116"/>
                  <a:pt x="464" y="116"/>
                  <a:pt x="465" y="117"/>
                </a:cubicBezTo>
                <a:cubicBezTo>
                  <a:pt x="465" y="117"/>
                  <a:pt x="466" y="118"/>
                  <a:pt x="466" y="118"/>
                </a:cubicBezTo>
                <a:cubicBezTo>
                  <a:pt x="466" y="119"/>
                  <a:pt x="468" y="119"/>
                  <a:pt x="468" y="120"/>
                </a:cubicBezTo>
                <a:cubicBezTo>
                  <a:pt x="468" y="121"/>
                  <a:pt x="467" y="120"/>
                  <a:pt x="467" y="120"/>
                </a:cubicBezTo>
                <a:cubicBezTo>
                  <a:pt x="465" y="119"/>
                  <a:pt x="464" y="119"/>
                  <a:pt x="463" y="119"/>
                </a:cubicBezTo>
                <a:cubicBezTo>
                  <a:pt x="461" y="119"/>
                  <a:pt x="460" y="120"/>
                  <a:pt x="458" y="120"/>
                </a:cubicBezTo>
                <a:cubicBezTo>
                  <a:pt x="458" y="120"/>
                  <a:pt x="457" y="120"/>
                  <a:pt x="456" y="120"/>
                </a:cubicBezTo>
                <a:cubicBezTo>
                  <a:pt x="455" y="120"/>
                  <a:pt x="455" y="121"/>
                  <a:pt x="454" y="121"/>
                </a:cubicBezTo>
                <a:cubicBezTo>
                  <a:pt x="452" y="122"/>
                  <a:pt x="450" y="121"/>
                  <a:pt x="448" y="121"/>
                </a:cubicBezTo>
                <a:cubicBezTo>
                  <a:pt x="446" y="121"/>
                  <a:pt x="445" y="122"/>
                  <a:pt x="443" y="122"/>
                </a:cubicBezTo>
                <a:cubicBezTo>
                  <a:pt x="441" y="123"/>
                  <a:pt x="440" y="122"/>
                  <a:pt x="438" y="123"/>
                </a:cubicBezTo>
                <a:cubicBezTo>
                  <a:pt x="437" y="123"/>
                  <a:pt x="436" y="123"/>
                  <a:pt x="435" y="123"/>
                </a:cubicBezTo>
                <a:cubicBezTo>
                  <a:pt x="434" y="123"/>
                  <a:pt x="433" y="123"/>
                  <a:pt x="432" y="124"/>
                </a:cubicBezTo>
                <a:cubicBezTo>
                  <a:pt x="431" y="124"/>
                  <a:pt x="429" y="125"/>
                  <a:pt x="428" y="125"/>
                </a:cubicBezTo>
                <a:cubicBezTo>
                  <a:pt x="427" y="125"/>
                  <a:pt x="426" y="124"/>
                  <a:pt x="425" y="124"/>
                </a:cubicBezTo>
                <a:cubicBezTo>
                  <a:pt x="424" y="125"/>
                  <a:pt x="424" y="125"/>
                  <a:pt x="424" y="126"/>
                </a:cubicBezTo>
                <a:cubicBezTo>
                  <a:pt x="424" y="126"/>
                  <a:pt x="424" y="126"/>
                  <a:pt x="425" y="126"/>
                </a:cubicBezTo>
                <a:cubicBezTo>
                  <a:pt x="425" y="126"/>
                  <a:pt x="425" y="127"/>
                  <a:pt x="426" y="127"/>
                </a:cubicBezTo>
                <a:cubicBezTo>
                  <a:pt x="426" y="127"/>
                  <a:pt x="427" y="127"/>
                  <a:pt x="428" y="127"/>
                </a:cubicBezTo>
                <a:cubicBezTo>
                  <a:pt x="429" y="128"/>
                  <a:pt x="428" y="129"/>
                  <a:pt x="429" y="128"/>
                </a:cubicBezTo>
                <a:cubicBezTo>
                  <a:pt x="430" y="128"/>
                  <a:pt x="431" y="128"/>
                  <a:pt x="432" y="128"/>
                </a:cubicBezTo>
                <a:cubicBezTo>
                  <a:pt x="433" y="128"/>
                  <a:pt x="434" y="128"/>
                  <a:pt x="435" y="128"/>
                </a:cubicBezTo>
                <a:cubicBezTo>
                  <a:pt x="437" y="128"/>
                  <a:pt x="439" y="128"/>
                  <a:pt x="441" y="129"/>
                </a:cubicBezTo>
                <a:cubicBezTo>
                  <a:pt x="443" y="129"/>
                  <a:pt x="444" y="129"/>
                  <a:pt x="445" y="130"/>
                </a:cubicBezTo>
                <a:cubicBezTo>
                  <a:pt x="447" y="130"/>
                  <a:pt x="448" y="131"/>
                  <a:pt x="449" y="132"/>
                </a:cubicBezTo>
                <a:cubicBezTo>
                  <a:pt x="449" y="132"/>
                  <a:pt x="450" y="133"/>
                  <a:pt x="450" y="133"/>
                </a:cubicBezTo>
                <a:cubicBezTo>
                  <a:pt x="451" y="133"/>
                  <a:pt x="452" y="133"/>
                  <a:pt x="453" y="133"/>
                </a:cubicBezTo>
                <a:cubicBezTo>
                  <a:pt x="454" y="133"/>
                  <a:pt x="454" y="133"/>
                  <a:pt x="453" y="134"/>
                </a:cubicBezTo>
                <a:cubicBezTo>
                  <a:pt x="452" y="134"/>
                  <a:pt x="452" y="134"/>
                  <a:pt x="452" y="135"/>
                </a:cubicBezTo>
                <a:cubicBezTo>
                  <a:pt x="451" y="136"/>
                  <a:pt x="450" y="134"/>
                  <a:pt x="450" y="134"/>
                </a:cubicBezTo>
                <a:cubicBezTo>
                  <a:pt x="449" y="133"/>
                  <a:pt x="448" y="132"/>
                  <a:pt x="447" y="131"/>
                </a:cubicBezTo>
                <a:cubicBezTo>
                  <a:pt x="446" y="130"/>
                  <a:pt x="444" y="130"/>
                  <a:pt x="443" y="130"/>
                </a:cubicBezTo>
                <a:cubicBezTo>
                  <a:pt x="441" y="130"/>
                  <a:pt x="439" y="130"/>
                  <a:pt x="438" y="130"/>
                </a:cubicBezTo>
                <a:cubicBezTo>
                  <a:pt x="436" y="130"/>
                  <a:pt x="435" y="131"/>
                  <a:pt x="433" y="130"/>
                </a:cubicBezTo>
                <a:cubicBezTo>
                  <a:pt x="432" y="130"/>
                  <a:pt x="432" y="130"/>
                  <a:pt x="431" y="130"/>
                </a:cubicBezTo>
                <a:cubicBezTo>
                  <a:pt x="429" y="129"/>
                  <a:pt x="428" y="130"/>
                  <a:pt x="426" y="130"/>
                </a:cubicBezTo>
                <a:cubicBezTo>
                  <a:pt x="425" y="130"/>
                  <a:pt x="424" y="131"/>
                  <a:pt x="423" y="132"/>
                </a:cubicBezTo>
                <a:cubicBezTo>
                  <a:pt x="422" y="133"/>
                  <a:pt x="420" y="133"/>
                  <a:pt x="419" y="132"/>
                </a:cubicBezTo>
                <a:cubicBezTo>
                  <a:pt x="419" y="131"/>
                  <a:pt x="419" y="130"/>
                  <a:pt x="418" y="129"/>
                </a:cubicBezTo>
                <a:cubicBezTo>
                  <a:pt x="415" y="128"/>
                  <a:pt x="412" y="130"/>
                  <a:pt x="409" y="130"/>
                </a:cubicBezTo>
                <a:cubicBezTo>
                  <a:pt x="408" y="130"/>
                  <a:pt x="407" y="131"/>
                  <a:pt x="407" y="133"/>
                </a:cubicBezTo>
                <a:cubicBezTo>
                  <a:pt x="408" y="134"/>
                  <a:pt x="408" y="135"/>
                  <a:pt x="409" y="136"/>
                </a:cubicBezTo>
                <a:cubicBezTo>
                  <a:pt x="410" y="139"/>
                  <a:pt x="411" y="142"/>
                  <a:pt x="414" y="143"/>
                </a:cubicBezTo>
                <a:cubicBezTo>
                  <a:pt x="415" y="144"/>
                  <a:pt x="416" y="144"/>
                  <a:pt x="417" y="145"/>
                </a:cubicBezTo>
                <a:cubicBezTo>
                  <a:pt x="418" y="146"/>
                  <a:pt x="419" y="146"/>
                  <a:pt x="421" y="146"/>
                </a:cubicBezTo>
                <a:cubicBezTo>
                  <a:pt x="422" y="146"/>
                  <a:pt x="424" y="146"/>
                  <a:pt x="425" y="147"/>
                </a:cubicBezTo>
                <a:cubicBezTo>
                  <a:pt x="426" y="147"/>
                  <a:pt x="428" y="148"/>
                  <a:pt x="429" y="148"/>
                </a:cubicBezTo>
                <a:cubicBezTo>
                  <a:pt x="430" y="149"/>
                  <a:pt x="432" y="150"/>
                  <a:pt x="433" y="150"/>
                </a:cubicBezTo>
                <a:cubicBezTo>
                  <a:pt x="436" y="152"/>
                  <a:pt x="438" y="153"/>
                  <a:pt x="442" y="153"/>
                </a:cubicBezTo>
                <a:cubicBezTo>
                  <a:pt x="443" y="153"/>
                  <a:pt x="444" y="154"/>
                  <a:pt x="446" y="153"/>
                </a:cubicBezTo>
                <a:cubicBezTo>
                  <a:pt x="447" y="153"/>
                  <a:pt x="447" y="152"/>
                  <a:pt x="446" y="152"/>
                </a:cubicBezTo>
                <a:cubicBezTo>
                  <a:pt x="446" y="151"/>
                  <a:pt x="446" y="151"/>
                  <a:pt x="447" y="150"/>
                </a:cubicBezTo>
                <a:cubicBezTo>
                  <a:pt x="449" y="149"/>
                  <a:pt x="449" y="150"/>
                  <a:pt x="450" y="151"/>
                </a:cubicBezTo>
                <a:cubicBezTo>
                  <a:pt x="451" y="152"/>
                  <a:pt x="451" y="152"/>
                  <a:pt x="452" y="152"/>
                </a:cubicBezTo>
                <a:cubicBezTo>
                  <a:pt x="452" y="152"/>
                  <a:pt x="453" y="153"/>
                  <a:pt x="453" y="153"/>
                </a:cubicBezTo>
                <a:cubicBezTo>
                  <a:pt x="454" y="154"/>
                  <a:pt x="455" y="154"/>
                  <a:pt x="455" y="155"/>
                </a:cubicBezTo>
                <a:cubicBezTo>
                  <a:pt x="455" y="155"/>
                  <a:pt x="454" y="156"/>
                  <a:pt x="454" y="155"/>
                </a:cubicBezTo>
                <a:cubicBezTo>
                  <a:pt x="453" y="155"/>
                  <a:pt x="453" y="154"/>
                  <a:pt x="452" y="154"/>
                </a:cubicBezTo>
                <a:cubicBezTo>
                  <a:pt x="452" y="154"/>
                  <a:pt x="451" y="154"/>
                  <a:pt x="450" y="154"/>
                </a:cubicBezTo>
                <a:cubicBezTo>
                  <a:pt x="449" y="154"/>
                  <a:pt x="449" y="154"/>
                  <a:pt x="448" y="154"/>
                </a:cubicBezTo>
                <a:cubicBezTo>
                  <a:pt x="448" y="155"/>
                  <a:pt x="447" y="155"/>
                  <a:pt x="446" y="155"/>
                </a:cubicBezTo>
                <a:cubicBezTo>
                  <a:pt x="444" y="155"/>
                  <a:pt x="443" y="156"/>
                  <a:pt x="442" y="156"/>
                </a:cubicBezTo>
                <a:cubicBezTo>
                  <a:pt x="441" y="157"/>
                  <a:pt x="438" y="157"/>
                  <a:pt x="439" y="158"/>
                </a:cubicBezTo>
                <a:cubicBezTo>
                  <a:pt x="439" y="159"/>
                  <a:pt x="440" y="159"/>
                  <a:pt x="440" y="159"/>
                </a:cubicBezTo>
                <a:cubicBezTo>
                  <a:pt x="441" y="159"/>
                  <a:pt x="442" y="159"/>
                  <a:pt x="442" y="160"/>
                </a:cubicBezTo>
                <a:cubicBezTo>
                  <a:pt x="443" y="160"/>
                  <a:pt x="443" y="161"/>
                  <a:pt x="444" y="161"/>
                </a:cubicBezTo>
                <a:cubicBezTo>
                  <a:pt x="445" y="161"/>
                  <a:pt x="446" y="161"/>
                  <a:pt x="446" y="161"/>
                </a:cubicBezTo>
                <a:cubicBezTo>
                  <a:pt x="448" y="162"/>
                  <a:pt x="451" y="164"/>
                  <a:pt x="452" y="165"/>
                </a:cubicBezTo>
                <a:cubicBezTo>
                  <a:pt x="454" y="166"/>
                  <a:pt x="455" y="166"/>
                  <a:pt x="455" y="168"/>
                </a:cubicBezTo>
                <a:cubicBezTo>
                  <a:pt x="455" y="169"/>
                  <a:pt x="454" y="172"/>
                  <a:pt x="456" y="171"/>
                </a:cubicBezTo>
                <a:cubicBezTo>
                  <a:pt x="458" y="169"/>
                  <a:pt x="460" y="170"/>
                  <a:pt x="461" y="171"/>
                </a:cubicBezTo>
                <a:cubicBezTo>
                  <a:pt x="463" y="171"/>
                  <a:pt x="466" y="172"/>
                  <a:pt x="467" y="171"/>
                </a:cubicBezTo>
                <a:cubicBezTo>
                  <a:pt x="469" y="170"/>
                  <a:pt x="469" y="168"/>
                  <a:pt x="471" y="168"/>
                </a:cubicBezTo>
                <a:cubicBezTo>
                  <a:pt x="472" y="167"/>
                  <a:pt x="474" y="166"/>
                  <a:pt x="472" y="165"/>
                </a:cubicBezTo>
                <a:cubicBezTo>
                  <a:pt x="472" y="164"/>
                  <a:pt x="471" y="164"/>
                  <a:pt x="471" y="164"/>
                </a:cubicBezTo>
                <a:cubicBezTo>
                  <a:pt x="470" y="163"/>
                  <a:pt x="470" y="163"/>
                  <a:pt x="469" y="163"/>
                </a:cubicBezTo>
                <a:cubicBezTo>
                  <a:pt x="467" y="162"/>
                  <a:pt x="469" y="161"/>
                  <a:pt x="470" y="160"/>
                </a:cubicBezTo>
                <a:cubicBezTo>
                  <a:pt x="471" y="159"/>
                  <a:pt x="471" y="158"/>
                  <a:pt x="472" y="157"/>
                </a:cubicBezTo>
                <a:cubicBezTo>
                  <a:pt x="474" y="156"/>
                  <a:pt x="476" y="156"/>
                  <a:pt x="475" y="154"/>
                </a:cubicBezTo>
                <a:cubicBezTo>
                  <a:pt x="474" y="154"/>
                  <a:pt x="474" y="153"/>
                  <a:pt x="473" y="153"/>
                </a:cubicBezTo>
                <a:cubicBezTo>
                  <a:pt x="473" y="152"/>
                  <a:pt x="472" y="152"/>
                  <a:pt x="472" y="151"/>
                </a:cubicBezTo>
                <a:cubicBezTo>
                  <a:pt x="472" y="151"/>
                  <a:pt x="473" y="150"/>
                  <a:pt x="473" y="151"/>
                </a:cubicBezTo>
                <a:cubicBezTo>
                  <a:pt x="474" y="151"/>
                  <a:pt x="475" y="151"/>
                  <a:pt x="475" y="151"/>
                </a:cubicBezTo>
                <a:cubicBezTo>
                  <a:pt x="476" y="150"/>
                  <a:pt x="477" y="149"/>
                  <a:pt x="477" y="148"/>
                </a:cubicBezTo>
                <a:cubicBezTo>
                  <a:pt x="477" y="146"/>
                  <a:pt x="477" y="145"/>
                  <a:pt x="478" y="144"/>
                </a:cubicBezTo>
                <a:cubicBezTo>
                  <a:pt x="478" y="143"/>
                  <a:pt x="479" y="142"/>
                  <a:pt x="479" y="141"/>
                </a:cubicBezTo>
                <a:cubicBezTo>
                  <a:pt x="479" y="139"/>
                  <a:pt x="480" y="138"/>
                  <a:pt x="481" y="137"/>
                </a:cubicBezTo>
                <a:cubicBezTo>
                  <a:pt x="482" y="136"/>
                  <a:pt x="482" y="135"/>
                  <a:pt x="483" y="134"/>
                </a:cubicBezTo>
                <a:cubicBezTo>
                  <a:pt x="484" y="134"/>
                  <a:pt x="485" y="133"/>
                  <a:pt x="485" y="133"/>
                </a:cubicBezTo>
                <a:cubicBezTo>
                  <a:pt x="486" y="132"/>
                  <a:pt x="488" y="131"/>
                  <a:pt x="489" y="132"/>
                </a:cubicBezTo>
                <a:cubicBezTo>
                  <a:pt x="490" y="133"/>
                  <a:pt x="490" y="133"/>
                  <a:pt x="491" y="133"/>
                </a:cubicBezTo>
                <a:cubicBezTo>
                  <a:pt x="492" y="133"/>
                  <a:pt x="493" y="133"/>
                  <a:pt x="493" y="133"/>
                </a:cubicBezTo>
                <a:cubicBezTo>
                  <a:pt x="495" y="133"/>
                  <a:pt x="495" y="131"/>
                  <a:pt x="495" y="129"/>
                </a:cubicBezTo>
                <a:cubicBezTo>
                  <a:pt x="495" y="129"/>
                  <a:pt x="495" y="128"/>
                  <a:pt x="495" y="127"/>
                </a:cubicBezTo>
                <a:cubicBezTo>
                  <a:pt x="495" y="127"/>
                  <a:pt x="496" y="126"/>
                  <a:pt x="496" y="125"/>
                </a:cubicBezTo>
                <a:cubicBezTo>
                  <a:pt x="496" y="124"/>
                  <a:pt x="497" y="123"/>
                  <a:pt x="498" y="122"/>
                </a:cubicBezTo>
                <a:cubicBezTo>
                  <a:pt x="498" y="120"/>
                  <a:pt x="498" y="119"/>
                  <a:pt x="498" y="117"/>
                </a:cubicBezTo>
                <a:cubicBezTo>
                  <a:pt x="498" y="117"/>
                  <a:pt x="498" y="117"/>
                  <a:pt x="498" y="116"/>
                </a:cubicBezTo>
                <a:cubicBezTo>
                  <a:pt x="498" y="115"/>
                  <a:pt x="498" y="115"/>
                  <a:pt x="498" y="114"/>
                </a:cubicBezTo>
                <a:cubicBezTo>
                  <a:pt x="499" y="113"/>
                  <a:pt x="499" y="113"/>
                  <a:pt x="499" y="111"/>
                </a:cubicBezTo>
                <a:cubicBezTo>
                  <a:pt x="499" y="111"/>
                  <a:pt x="498" y="110"/>
                  <a:pt x="499" y="109"/>
                </a:cubicBezTo>
                <a:cubicBezTo>
                  <a:pt x="499" y="109"/>
                  <a:pt x="500" y="109"/>
                  <a:pt x="500" y="109"/>
                </a:cubicBezTo>
                <a:cubicBezTo>
                  <a:pt x="502" y="110"/>
                  <a:pt x="503" y="110"/>
                  <a:pt x="505" y="109"/>
                </a:cubicBezTo>
                <a:cubicBezTo>
                  <a:pt x="505" y="109"/>
                  <a:pt x="506" y="109"/>
                  <a:pt x="507" y="109"/>
                </a:cubicBezTo>
                <a:cubicBezTo>
                  <a:pt x="508" y="109"/>
                  <a:pt x="510" y="109"/>
                  <a:pt x="510" y="107"/>
                </a:cubicBezTo>
                <a:cubicBezTo>
                  <a:pt x="511" y="106"/>
                  <a:pt x="511" y="105"/>
                  <a:pt x="511" y="104"/>
                </a:cubicBezTo>
                <a:cubicBezTo>
                  <a:pt x="510" y="103"/>
                  <a:pt x="510" y="103"/>
                  <a:pt x="509" y="102"/>
                </a:cubicBezTo>
                <a:cubicBezTo>
                  <a:pt x="509" y="101"/>
                  <a:pt x="509" y="101"/>
                  <a:pt x="509" y="100"/>
                </a:cubicBezTo>
                <a:cubicBezTo>
                  <a:pt x="509" y="99"/>
                  <a:pt x="509" y="98"/>
                  <a:pt x="509" y="98"/>
                </a:cubicBezTo>
                <a:cubicBezTo>
                  <a:pt x="509" y="97"/>
                  <a:pt x="510" y="97"/>
                  <a:pt x="510" y="96"/>
                </a:cubicBezTo>
                <a:cubicBezTo>
                  <a:pt x="511" y="94"/>
                  <a:pt x="509" y="93"/>
                  <a:pt x="509" y="92"/>
                </a:cubicBezTo>
                <a:cubicBezTo>
                  <a:pt x="510" y="91"/>
                  <a:pt x="510" y="92"/>
                  <a:pt x="511" y="92"/>
                </a:cubicBezTo>
                <a:cubicBezTo>
                  <a:pt x="512" y="92"/>
                  <a:pt x="513" y="91"/>
                  <a:pt x="514" y="91"/>
                </a:cubicBezTo>
                <a:cubicBezTo>
                  <a:pt x="515" y="91"/>
                  <a:pt x="516" y="91"/>
                  <a:pt x="516" y="91"/>
                </a:cubicBezTo>
                <a:cubicBezTo>
                  <a:pt x="518" y="91"/>
                  <a:pt x="519" y="90"/>
                  <a:pt x="520" y="90"/>
                </a:cubicBezTo>
                <a:cubicBezTo>
                  <a:pt x="521" y="90"/>
                  <a:pt x="522" y="90"/>
                  <a:pt x="522" y="90"/>
                </a:cubicBezTo>
                <a:cubicBezTo>
                  <a:pt x="523" y="89"/>
                  <a:pt x="523" y="89"/>
                  <a:pt x="523" y="88"/>
                </a:cubicBezTo>
                <a:cubicBezTo>
                  <a:pt x="523" y="87"/>
                  <a:pt x="523" y="87"/>
                  <a:pt x="523" y="86"/>
                </a:cubicBezTo>
                <a:cubicBezTo>
                  <a:pt x="523" y="86"/>
                  <a:pt x="524" y="85"/>
                  <a:pt x="524" y="85"/>
                </a:cubicBezTo>
                <a:cubicBezTo>
                  <a:pt x="524" y="85"/>
                  <a:pt x="525" y="85"/>
                  <a:pt x="525" y="84"/>
                </a:cubicBezTo>
                <a:cubicBezTo>
                  <a:pt x="525" y="84"/>
                  <a:pt x="526" y="84"/>
                  <a:pt x="526" y="84"/>
                </a:cubicBezTo>
                <a:cubicBezTo>
                  <a:pt x="527" y="85"/>
                  <a:pt x="527" y="85"/>
                  <a:pt x="528" y="86"/>
                </a:cubicBezTo>
                <a:cubicBezTo>
                  <a:pt x="528" y="86"/>
                  <a:pt x="529" y="86"/>
                  <a:pt x="530" y="85"/>
                </a:cubicBezTo>
                <a:cubicBezTo>
                  <a:pt x="530" y="85"/>
                  <a:pt x="531" y="84"/>
                  <a:pt x="531" y="84"/>
                </a:cubicBezTo>
                <a:cubicBezTo>
                  <a:pt x="532" y="84"/>
                  <a:pt x="532" y="84"/>
                  <a:pt x="533" y="84"/>
                </a:cubicBezTo>
                <a:cubicBezTo>
                  <a:pt x="534" y="84"/>
                  <a:pt x="534" y="84"/>
                  <a:pt x="534" y="83"/>
                </a:cubicBezTo>
                <a:cubicBezTo>
                  <a:pt x="535" y="83"/>
                  <a:pt x="536" y="83"/>
                  <a:pt x="536" y="83"/>
                </a:cubicBezTo>
                <a:cubicBezTo>
                  <a:pt x="537" y="84"/>
                  <a:pt x="538" y="85"/>
                  <a:pt x="540" y="85"/>
                </a:cubicBezTo>
                <a:cubicBezTo>
                  <a:pt x="541" y="84"/>
                  <a:pt x="540" y="82"/>
                  <a:pt x="542" y="82"/>
                </a:cubicBezTo>
                <a:cubicBezTo>
                  <a:pt x="543" y="82"/>
                  <a:pt x="545" y="82"/>
                  <a:pt x="546" y="82"/>
                </a:cubicBezTo>
                <a:cubicBezTo>
                  <a:pt x="548" y="82"/>
                  <a:pt x="548" y="83"/>
                  <a:pt x="550" y="84"/>
                </a:cubicBezTo>
                <a:cubicBezTo>
                  <a:pt x="550" y="84"/>
                  <a:pt x="551" y="83"/>
                  <a:pt x="551" y="83"/>
                </a:cubicBezTo>
                <a:cubicBezTo>
                  <a:pt x="552" y="83"/>
                  <a:pt x="553" y="83"/>
                  <a:pt x="553" y="83"/>
                </a:cubicBezTo>
                <a:cubicBezTo>
                  <a:pt x="554" y="83"/>
                  <a:pt x="555" y="83"/>
                  <a:pt x="556" y="82"/>
                </a:cubicBezTo>
                <a:cubicBezTo>
                  <a:pt x="556" y="82"/>
                  <a:pt x="556" y="81"/>
                  <a:pt x="557" y="81"/>
                </a:cubicBezTo>
                <a:cubicBezTo>
                  <a:pt x="557" y="80"/>
                  <a:pt x="557" y="79"/>
                  <a:pt x="558" y="79"/>
                </a:cubicBezTo>
                <a:cubicBezTo>
                  <a:pt x="559" y="79"/>
                  <a:pt x="560" y="79"/>
                  <a:pt x="560" y="78"/>
                </a:cubicBezTo>
                <a:cubicBezTo>
                  <a:pt x="561" y="77"/>
                  <a:pt x="558" y="77"/>
                  <a:pt x="557" y="76"/>
                </a:cubicBezTo>
                <a:cubicBezTo>
                  <a:pt x="556" y="76"/>
                  <a:pt x="554" y="75"/>
                  <a:pt x="553" y="75"/>
                </a:cubicBezTo>
                <a:cubicBezTo>
                  <a:pt x="552" y="74"/>
                  <a:pt x="550" y="74"/>
                  <a:pt x="549" y="74"/>
                </a:cubicBezTo>
                <a:cubicBezTo>
                  <a:pt x="547" y="73"/>
                  <a:pt x="546" y="73"/>
                  <a:pt x="545" y="72"/>
                </a:cubicBezTo>
                <a:cubicBezTo>
                  <a:pt x="542" y="72"/>
                  <a:pt x="540" y="71"/>
                  <a:pt x="537" y="69"/>
                </a:cubicBezTo>
                <a:cubicBezTo>
                  <a:pt x="535" y="69"/>
                  <a:pt x="534" y="69"/>
                  <a:pt x="533" y="68"/>
                </a:cubicBezTo>
                <a:cubicBezTo>
                  <a:pt x="531" y="68"/>
                  <a:pt x="530" y="68"/>
                  <a:pt x="529" y="68"/>
                </a:cubicBezTo>
                <a:cubicBezTo>
                  <a:pt x="527" y="67"/>
                  <a:pt x="527" y="66"/>
                  <a:pt x="526" y="65"/>
                </a:cubicBezTo>
                <a:cubicBezTo>
                  <a:pt x="525" y="63"/>
                  <a:pt x="523" y="61"/>
                  <a:pt x="521" y="61"/>
                </a:cubicBezTo>
                <a:cubicBezTo>
                  <a:pt x="520" y="61"/>
                  <a:pt x="520" y="61"/>
                  <a:pt x="519" y="61"/>
                </a:cubicBezTo>
                <a:cubicBezTo>
                  <a:pt x="518" y="61"/>
                  <a:pt x="517" y="59"/>
                  <a:pt x="516" y="60"/>
                </a:cubicBezTo>
                <a:cubicBezTo>
                  <a:pt x="514" y="60"/>
                  <a:pt x="514" y="62"/>
                  <a:pt x="512" y="62"/>
                </a:cubicBezTo>
                <a:cubicBezTo>
                  <a:pt x="510" y="62"/>
                  <a:pt x="510" y="61"/>
                  <a:pt x="508" y="61"/>
                </a:cubicBezTo>
                <a:cubicBezTo>
                  <a:pt x="507" y="60"/>
                  <a:pt x="507" y="60"/>
                  <a:pt x="507" y="59"/>
                </a:cubicBezTo>
                <a:cubicBezTo>
                  <a:pt x="507" y="58"/>
                  <a:pt x="506" y="57"/>
                  <a:pt x="506" y="56"/>
                </a:cubicBezTo>
                <a:cubicBezTo>
                  <a:pt x="506" y="55"/>
                  <a:pt x="507" y="54"/>
                  <a:pt x="506" y="53"/>
                </a:cubicBezTo>
                <a:cubicBezTo>
                  <a:pt x="506" y="52"/>
                  <a:pt x="505" y="51"/>
                  <a:pt x="506" y="50"/>
                </a:cubicBezTo>
                <a:cubicBezTo>
                  <a:pt x="506" y="49"/>
                  <a:pt x="506" y="49"/>
                  <a:pt x="506" y="48"/>
                </a:cubicBezTo>
                <a:cubicBezTo>
                  <a:pt x="506" y="47"/>
                  <a:pt x="505" y="47"/>
                  <a:pt x="504" y="46"/>
                </a:cubicBezTo>
                <a:cubicBezTo>
                  <a:pt x="504" y="46"/>
                  <a:pt x="503" y="45"/>
                  <a:pt x="503" y="45"/>
                </a:cubicBezTo>
                <a:cubicBezTo>
                  <a:pt x="502" y="44"/>
                  <a:pt x="501" y="44"/>
                  <a:pt x="500" y="44"/>
                </a:cubicBezTo>
                <a:cubicBezTo>
                  <a:pt x="500" y="44"/>
                  <a:pt x="499" y="44"/>
                  <a:pt x="498" y="44"/>
                </a:cubicBezTo>
                <a:cubicBezTo>
                  <a:pt x="497" y="43"/>
                  <a:pt x="496" y="44"/>
                  <a:pt x="494" y="43"/>
                </a:cubicBezTo>
                <a:cubicBezTo>
                  <a:pt x="492" y="43"/>
                  <a:pt x="491" y="41"/>
                  <a:pt x="490" y="44"/>
                </a:cubicBezTo>
                <a:cubicBezTo>
                  <a:pt x="490" y="45"/>
                  <a:pt x="490" y="45"/>
                  <a:pt x="489" y="46"/>
                </a:cubicBezTo>
                <a:cubicBezTo>
                  <a:pt x="489" y="47"/>
                  <a:pt x="489" y="48"/>
                  <a:pt x="489" y="49"/>
                </a:cubicBezTo>
                <a:cubicBezTo>
                  <a:pt x="488" y="50"/>
                  <a:pt x="486" y="49"/>
                  <a:pt x="485" y="51"/>
                </a:cubicBezTo>
                <a:cubicBezTo>
                  <a:pt x="485" y="51"/>
                  <a:pt x="484" y="53"/>
                  <a:pt x="483" y="52"/>
                </a:cubicBezTo>
                <a:cubicBezTo>
                  <a:pt x="483" y="52"/>
                  <a:pt x="484" y="50"/>
                  <a:pt x="484" y="50"/>
                </a:cubicBezTo>
                <a:cubicBezTo>
                  <a:pt x="484" y="49"/>
                  <a:pt x="484" y="49"/>
                  <a:pt x="484" y="48"/>
                </a:cubicBezTo>
                <a:cubicBezTo>
                  <a:pt x="484" y="46"/>
                  <a:pt x="485" y="46"/>
                  <a:pt x="485" y="44"/>
                </a:cubicBezTo>
                <a:cubicBezTo>
                  <a:pt x="485" y="43"/>
                  <a:pt x="485" y="42"/>
                  <a:pt x="485" y="41"/>
                </a:cubicBezTo>
                <a:cubicBezTo>
                  <a:pt x="485" y="40"/>
                  <a:pt x="486" y="40"/>
                  <a:pt x="487" y="39"/>
                </a:cubicBezTo>
                <a:cubicBezTo>
                  <a:pt x="488" y="39"/>
                  <a:pt x="488" y="39"/>
                  <a:pt x="488" y="38"/>
                </a:cubicBezTo>
                <a:cubicBezTo>
                  <a:pt x="489" y="37"/>
                  <a:pt x="489" y="37"/>
                  <a:pt x="490" y="37"/>
                </a:cubicBezTo>
                <a:cubicBezTo>
                  <a:pt x="491" y="37"/>
                  <a:pt x="492" y="37"/>
                  <a:pt x="491" y="36"/>
                </a:cubicBezTo>
                <a:cubicBezTo>
                  <a:pt x="491" y="35"/>
                  <a:pt x="490" y="36"/>
                  <a:pt x="489" y="35"/>
                </a:cubicBezTo>
                <a:cubicBezTo>
                  <a:pt x="488" y="35"/>
                  <a:pt x="488" y="35"/>
                  <a:pt x="487" y="34"/>
                </a:cubicBezTo>
                <a:cubicBezTo>
                  <a:pt x="486" y="34"/>
                  <a:pt x="484" y="34"/>
                  <a:pt x="482" y="34"/>
                </a:cubicBezTo>
                <a:cubicBezTo>
                  <a:pt x="481" y="34"/>
                  <a:pt x="480" y="33"/>
                  <a:pt x="478" y="33"/>
                </a:cubicBezTo>
                <a:cubicBezTo>
                  <a:pt x="477" y="33"/>
                  <a:pt x="476" y="31"/>
                  <a:pt x="474" y="31"/>
                </a:cubicBezTo>
                <a:cubicBezTo>
                  <a:pt x="473" y="31"/>
                  <a:pt x="472" y="31"/>
                  <a:pt x="470" y="31"/>
                </a:cubicBezTo>
                <a:cubicBezTo>
                  <a:pt x="469" y="31"/>
                  <a:pt x="469" y="31"/>
                  <a:pt x="468" y="30"/>
                </a:cubicBezTo>
                <a:cubicBezTo>
                  <a:pt x="467" y="30"/>
                  <a:pt x="466" y="30"/>
                  <a:pt x="466" y="29"/>
                </a:cubicBezTo>
                <a:cubicBezTo>
                  <a:pt x="465" y="29"/>
                  <a:pt x="465" y="28"/>
                  <a:pt x="465" y="27"/>
                </a:cubicBezTo>
                <a:cubicBezTo>
                  <a:pt x="463" y="26"/>
                  <a:pt x="462" y="27"/>
                  <a:pt x="462" y="25"/>
                </a:cubicBezTo>
                <a:cubicBezTo>
                  <a:pt x="461" y="23"/>
                  <a:pt x="460" y="22"/>
                  <a:pt x="459" y="22"/>
                </a:cubicBezTo>
                <a:cubicBezTo>
                  <a:pt x="458" y="22"/>
                  <a:pt x="457" y="22"/>
                  <a:pt x="456" y="22"/>
                </a:cubicBezTo>
                <a:cubicBezTo>
                  <a:pt x="456" y="22"/>
                  <a:pt x="455" y="23"/>
                  <a:pt x="454" y="23"/>
                </a:cubicBezTo>
                <a:cubicBezTo>
                  <a:pt x="454" y="23"/>
                  <a:pt x="450" y="22"/>
                  <a:pt x="451" y="23"/>
                </a:cubicBezTo>
                <a:cubicBezTo>
                  <a:pt x="452" y="24"/>
                  <a:pt x="453" y="23"/>
                  <a:pt x="454" y="24"/>
                </a:cubicBezTo>
                <a:cubicBezTo>
                  <a:pt x="454" y="25"/>
                  <a:pt x="454" y="25"/>
                  <a:pt x="454" y="26"/>
                </a:cubicBezTo>
                <a:cubicBezTo>
                  <a:pt x="455" y="28"/>
                  <a:pt x="458" y="28"/>
                  <a:pt x="457" y="30"/>
                </a:cubicBezTo>
                <a:cubicBezTo>
                  <a:pt x="456" y="31"/>
                  <a:pt x="455" y="30"/>
                  <a:pt x="455" y="30"/>
                </a:cubicBezTo>
                <a:cubicBezTo>
                  <a:pt x="454" y="30"/>
                  <a:pt x="453" y="29"/>
                  <a:pt x="453" y="30"/>
                </a:cubicBezTo>
                <a:cubicBezTo>
                  <a:pt x="452" y="30"/>
                  <a:pt x="451" y="30"/>
                  <a:pt x="451" y="30"/>
                </a:cubicBezTo>
                <a:cubicBezTo>
                  <a:pt x="450" y="30"/>
                  <a:pt x="449" y="29"/>
                  <a:pt x="449" y="29"/>
                </a:cubicBezTo>
                <a:cubicBezTo>
                  <a:pt x="448" y="29"/>
                  <a:pt x="447" y="29"/>
                  <a:pt x="447" y="30"/>
                </a:cubicBezTo>
                <a:cubicBezTo>
                  <a:pt x="447" y="31"/>
                  <a:pt x="447" y="33"/>
                  <a:pt x="447" y="35"/>
                </a:cubicBezTo>
                <a:cubicBezTo>
                  <a:pt x="447" y="37"/>
                  <a:pt x="448" y="38"/>
                  <a:pt x="449" y="39"/>
                </a:cubicBezTo>
                <a:cubicBezTo>
                  <a:pt x="449" y="40"/>
                  <a:pt x="450" y="41"/>
                  <a:pt x="450" y="41"/>
                </a:cubicBezTo>
                <a:cubicBezTo>
                  <a:pt x="450" y="42"/>
                  <a:pt x="451" y="42"/>
                  <a:pt x="451" y="42"/>
                </a:cubicBezTo>
                <a:cubicBezTo>
                  <a:pt x="453" y="45"/>
                  <a:pt x="451" y="49"/>
                  <a:pt x="452" y="52"/>
                </a:cubicBezTo>
                <a:cubicBezTo>
                  <a:pt x="453" y="52"/>
                  <a:pt x="453" y="53"/>
                  <a:pt x="454" y="54"/>
                </a:cubicBezTo>
                <a:cubicBezTo>
                  <a:pt x="454" y="54"/>
                  <a:pt x="454" y="55"/>
                  <a:pt x="454" y="55"/>
                </a:cubicBezTo>
                <a:cubicBezTo>
                  <a:pt x="455" y="56"/>
                  <a:pt x="456" y="56"/>
                  <a:pt x="457" y="57"/>
                </a:cubicBezTo>
                <a:cubicBezTo>
                  <a:pt x="458" y="58"/>
                  <a:pt x="457" y="60"/>
                  <a:pt x="457" y="61"/>
                </a:cubicBezTo>
                <a:cubicBezTo>
                  <a:pt x="458" y="63"/>
                  <a:pt x="459" y="64"/>
                  <a:pt x="460" y="66"/>
                </a:cubicBezTo>
                <a:cubicBezTo>
                  <a:pt x="461" y="67"/>
                  <a:pt x="461" y="68"/>
                  <a:pt x="462" y="69"/>
                </a:cubicBezTo>
                <a:cubicBezTo>
                  <a:pt x="462" y="69"/>
                  <a:pt x="464" y="69"/>
                  <a:pt x="464" y="70"/>
                </a:cubicBezTo>
                <a:cubicBezTo>
                  <a:pt x="464" y="70"/>
                  <a:pt x="464" y="71"/>
                  <a:pt x="463" y="71"/>
                </a:cubicBezTo>
                <a:cubicBezTo>
                  <a:pt x="462" y="72"/>
                  <a:pt x="461" y="70"/>
                  <a:pt x="460" y="69"/>
                </a:cubicBezTo>
                <a:cubicBezTo>
                  <a:pt x="459" y="68"/>
                  <a:pt x="457" y="69"/>
                  <a:pt x="456" y="68"/>
                </a:cubicBezTo>
                <a:cubicBezTo>
                  <a:pt x="456" y="68"/>
                  <a:pt x="458" y="67"/>
                  <a:pt x="457" y="66"/>
                </a:cubicBezTo>
                <a:cubicBezTo>
                  <a:pt x="457" y="66"/>
                  <a:pt x="456" y="65"/>
                  <a:pt x="456" y="65"/>
                </a:cubicBezTo>
                <a:cubicBezTo>
                  <a:pt x="455" y="64"/>
                  <a:pt x="454" y="64"/>
                  <a:pt x="454" y="63"/>
                </a:cubicBezTo>
                <a:cubicBezTo>
                  <a:pt x="453" y="62"/>
                  <a:pt x="453" y="62"/>
                  <a:pt x="453" y="61"/>
                </a:cubicBezTo>
                <a:cubicBezTo>
                  <a:pt x="452" y="61"/>
                  <a:pt x="451" y="60"/>
                  <a:pt x="451" y="60"/>
                </a:cubicBezTo>
                <a:cubicBezTo>
                  <a:pt x="450" y="60"/>
                  <a:pt x="450" y="61"/>
                  <a:pt x="449" y="61"/>
                </a:cubicBezTo>
                <a:cubicBezTo>
                  <a:pt x="448" y="61"/>
                  <a:pt x="448" y="60"/>
                  <a:pt x="449" y="59"/>
                </a:cubicBezTo>
                <a:cubicBezTo>
                  <a:pt x="450" y="58"/>
                  <a:pt x="450" y="58"/>
                  <a:pt x="449" y="57"/>
                </a:cubicBezTo>
                <a:cubicBezTo>
                  <a:pt x="449" y="57"/>
                  <a:pt x="448" y="57"/>
                  <a:pt x="448" y="56"/>
                </a:cubicBezTo>
                <a:cubicBezTo>
                  <a:pt x="447" y="56"/>
                  <a:pt x="447" y="55"/>
                  <a:pt x="446" y="55"/>
                </a:cubicBezTo>
                <a:cubicBezTo>
                  <a:pt x="445" y="54"/>
                  <a:pt x="444" y="53"/>
                  <a:pt x="443" y="51"/>
                </a:cubicBezTo>
                <a:cubicBezTo>
                  <a:pt x="442" y="50"/>
                  <a:pt x="441" y="49"/>
                  <a:pt x="441" y="47"/>
                </a:cubicBezTo>
                <a:cubicBezTo>
                  <a:pt x="440" y="45"/>
                  <a:pt x="439" y="44"/>
                  <a:pt x="439" y="42"/>
                </a:cubicBezTo>
                <a:cubicBezTo>
                  <a:pt x="439" y="41"/>
                  <a:pt x="439" y="40"/>
                  <a:pt x="437" y="40"/>
                </a:cubicBezTo>
                <a:cubicBezTo>
                  <a:pt x="434" y="40"/>
                  <a:pt x="434" y="35"/>
                  <a:pt x="431" y="34"/>
                </a:cubicBezTo>
                <a:cubicBezTo>
                  <a:pt x="430" y="34"/>
                  <a:pt x="430" y="34"/>
                  <a:pt x="429" y="33"/>
                </a:cubicBezTo>
                <a:cubicBezTo>
                  <a:pt x="428" y="33"/>
                  <a:pt x="428" y="33"/>
                  <a:pt x="427" y="32"/>
                </a:cubicBezTo>
                <a:cubicBezTo>
                  <a:pt x="426" y="32"/>
                  <a:pt x="424" y="33"/>
                  <a:pt x="423" y="34"/>
                </a:cubicBezTo>
                <a:cubicBezTo>
                  <a:pt x="422" y="35"/>
                  <a:pt x="421" y="36"/>
                  <a:pt x="420" y="37"/>
                </a:cubicBezTo>
                <a:cubicBezTo>
                  <a:pt x="419" y="37"/>
                  <a:pt x="419" y="38"/>
                  <a:pt x="418" y="39"/>
                </a:cubicBezTo>
                <a:cubicBezTo>
                  <a:pt x="418" y="39"/>
                  <a:pt x="418" y="40"/>
                  <a:pt x="417" y="41"/>
                </a:cubicBezTo>
                <a:cubicBezTo>
                  <a:pt x="416" y="42"/>
                  <a:pt x="414" y="41"/>
                  <a:pt x="412" y="42"/>
                </a:cubicBezTo>
                <a:cubicBezTo>
                  <a:pt x="411" y="42"/>
                  <a:pt x="410" y="44"/>
                  <a:pt x="411" y="45"/>
                </a:cubicBezTo>
                <a:cubicBezTo>
                  <a:pt x="412" y="46"/>
                  <a:pt x="413" y="47"/>
                  <a:pt x="414" y="48"/>
                </a:cubicBezTo>
                <a:cubicBezTo>
                  <a:pt x="414" y="49"/>
                  <a:pt x="414" y="49"/>
                  <a:pt x="414" y="50"/>
                </a:cubicBezTo>
                <a:cubicBezTo>
                  <a:pt x="414" y="51"/>
                  <a:pt x="415" y="51"/>
                  <a:pt x="415" y="52"/>
                </a:cubicBezTo>
                <a:cubicBezTo>
                  <a:pt x="417" y="53"/>
                  <a:pt x="415" y="54"/>
                  <a:pt x="414" y="54"/>
                </a:cubicBezTo>
                <a:cubicBezTo>
                  <a:pt x="413" y="55"/>
                  <a:pt x="412" y="56"/>
                  <a:pt x="411" y="55"/>
                </a:cubicBezTo>
                <a:cubicBezTo>
                  <a:pt x="411" y="54"/>
                  <a:pt x="411" y="53"/>
                  <a:pt x="411" y="53"/>
                </a:cubicBezTo>
                <a:cubicBezTo>
                  <a:pt x="411" y="52"/>
                  <a:pt x="411" y="51"/>
                  <a:pt x="410" y="51"/>
                </a:cubicBezTo>
                <a:cubicBezTo>
                  <a:pt x="410" y="50"/>
                  <a:pt x="409" y="50"/>
                  <a:pt x="409" y="49"/>
                </a:cubicBezTo>
                <a:cubicBezTo>
                  <a:pt x="408" y="49"/>
                  <a:pt x="408" y="48"/>
                  <a:pt x="407" y="48"/>
                </a:cubicBezTo>
                <a:cubicBezTo>
                  <a:pt x="406" y="47"/>
                  <a:pt x="404" y="47"/>
                  <a:pt x="402" y="47"/>
                </a:cubicBezTo>
                <a:cubicBezTo>
                  <a:pt x="401" y="47"/>
                  <a:pt x="401" y="47"/>
                  <a:pt x="400" y="48"/>
                </a:cubicBezTo>
                <a:cubicBezTo>
                  <a:pt x="399" y="48"/>
                  <a:pt x="399" y="48"/>
                  <a:pt x="398" y="48"/>
                </a:cubicBezTo>
                <a:cubicBezTo>
                  <a:pt x="398" y="47"/>
                  <a:pt x="399" y="47"/>
                  <a:pt x="399" y="46"/>
                </a:cubicBezTo>
                <a:cubicBezTo>
                  <a:pt x="399" y="45"/>
                  <a:pt x="400" y="45"/>
                  <a:pt x="401" y="45"/>
                </a:cubicBezTo>
                <a:cubicBezTo>
                  <a:pt x="402" y="45"/>
                  <a:pt x="402" y="44"/>
                  <a:pt x="403" y="43"/>
                </a:cubicBezTo>
                <a:cubicBezTo>
                  <a:pt x="403" y="42"/>
                  <a:pt x="402" y="42"/>
                  <a:pt x="401" y="42"/>
                </a:cubicBezTo>
                <a:cubicBezTo>
                  <a:pt x="398" y="41"/>
                  <a:pt x="395" y="42"/>
                  <a:pt x="392" y="42"/>
                </a:cubicBezTo>
                <a:cubicBezTo>
                  <a:pt x="391" y="43"/>
                  <a:pt x="390" y="43"/>
                  <a:pt x="389" y="44"/>
                </a:cubicBezTo>
                <a:cubicBezTo>
                  <a:pt x="388" y="44"/>
                  <a:pt x="388" y="43"/>
                  <a:pt x="387" y="43"/>
                </a:cubicBezTo>
                <a:cubicBezTo>
                  <a:pt x="385" y="43"/>
                  <a:pt x="384" y="45"/>
                  <a:pt x="382" y="44"/>
                </a:cubicBezTo>
                <a:cubicBezTo>
                  <a:pt x="382" y="42"/>
                  <a:pt x="387" y="41"/>
                  <a:pt x="388" y="41"/>
                </a:cubicBezTo>
                <a:cubicBezTo>
                  <a:pt x="388" y="40"/>
                  <a:pt x="389" y="40"/>
                  <a:pt x="390" y="40"/>
                </a:cubicBezTo>
                <a:cubicBezTo>
                  <a:pt x="391" y="39"/>
                  <a:pt x="391" y="39"/>
                  <a:pt x="392" y="38"/>
                </a:cubicBezTo>
                <a:cubicBezTo>
                  <a:pt x="393" y="37"/>
                  <a:pt x="395" y="37"/>
                  <a:pt x="396" y="37"/>
                </a:cubicBezTo>
                <a:cubicBezTo>
                  <a:pt x="398" y="37"/>
                  <a:pt x="400" y="37"/>
                  <a:pt x="401" y="37"/>
                </a:cubicBezTo>
                <a:cubicBezTo>
                  <a:pt x="403" y="37"/>
                  <a:pt x="406" y="38"/>
                  <a:pt x="408" y="37"/>
                </a:cubicBezTo>
                <a:cubicBezTo>
                  <a:pt x="409" y="36"/>
                  <a:pt x="409" y="36"/>
                  <a:pt x="410" y="36"/>
                </a:cubicBezTo>
                <a:cubicBezTo>
                  <a:pt x="411" y="36"/>
                  <a:pt x="411" y="36"/>
                  <a:pt x="411" y="35"/>
                </a:cubicBezTo>
                <a:cubicBezTo>
                  <a:pt x="412" y="34"/>
                  <a:pt x="412" y="34"/>
                  <a:pt x="412" y="34"/>
                </a:cubicBezTo>
                <a:cubicBezTo>
                  <a:pt x="413" y="33"/>
                  <a:pt x="413" y="33"/>
                  <a:pt x="413" y="32"/>
                </a:cubicBezTo>
                <a:cubicBezTo>
                  <a:pt x="412" y="30"/>
                  <a:pt x="411" y="30"/>
                  <a:pt x="410" y="30"/>
                </a:cubicBezTo>
                <a:cubicBezTo>
                  <a:pt x="409" y="30"/>
                  <a:pt x="408" y="30"/>
                  <a:pt x="407" y="30"/>
                </a:cubicBezTo>
                <a:cubicBezTo>
                  <a:pt x="406" y="30"/>
                  <a:pt x="405" y="30"/>
                  <a:pt x="404" y="30"/>
                </a:cubicBezTo>
                <a:cubicBezTo>
                  <a:pt x="404" y="30"/>
                  <a:pt x="403" y="30"/>
                  <a:pt x="402" y="30"/>
                </a:cubicBezTo>
                <a:cubicBezTo>
                  <a:pt x="401" y="30"/>
                  <a:pt x="399" y="31"/>
                  <a:pt x="398" y="31"/>
                </a:cubicBezTo>
                <a:cubicBezTo>
                  <a:pt x="397" y="31"/>
                  <a:pt x="397" y="31"/>
                  <a:pt x="396" y="31"/>
                </a:cubicBezTo>
                <a:cubicBezTo>
                  <a:pt x="395" y="31"/>
                  <a:pt x="394" y="32"/>
                  <a:pt x="393" y="32"/>
                </a:cubicBezTo>
                <a:cubicBezTo>
                  <a:pt x="392" y="32"/>
                  <a:pt x="391" y="32"/>
                  <a:pt x="391" y="32"/>
                </a:cubicBezTo>
                <a:cubicBezTo>
                  <a:pt x="390" y="32"/>
                  <a:pt x="390" y="33"/>
                  <a:pt x="389" y="33"/>
                </a:cubicBezTo>
                <a:cubicBezTo>
                  <a:pt x="388" y="34"/>
                  <a:pt x="387" y="34"/>
                  <a:pt x="385" y="34"/>
                </a:cubicBezTo>
                <a:cubicBezTo>
                  <a:pt x="384" y="35"/>
                  <a:pt x="383" y="35"/>
                  <a:pt x="382" y="34"/>
                </a:cubicBezTo>
                <a:cubicBezTo>
                  <a:pt x="382" y="34"/>
                  <a:pt x="382" y="33"/>
                  <a:pt x="382" y="33"/>
                </a:cubicBezTo>
                <a:cubicBezTo>
                  <a:pt x="382" y="32"/>
                  <a:pt x="381" y="32"/>
                  <a:pt x="381" y="32"/>
                </a:cubicBezTo>
                <a:cubicBezTo>
                  <a:pt x="380" y="32"/>
                  <a:pt x="380" y="32"/>
                  <a:pt x="380" y="32"/>
                </a:cubicBezTo>
                <a:cubicBezTo>
                  <a:pt x="379" y="31"/>
                  <a:pt x="379" y="31"/>
                  <a:pt x="379" y="31"/>
                </a:cubicBezTo>
                <a:cubicBezTo>
                  <a:pt x="379" y="30"/>
                  <a:pt x="378" y="30"/>
                  <a:pt x="377" y="31"/>
                </a:cubicBezTo>
                <a:cubicBezTo>
                  <a:pt x="377" y="31"/>
                  <a:pt x="377" y="32"/>
                  <a:pt x="376" y="32"/>
                </a:cubicBezTo>
                <a:cubicBezTo>
                  <a:pt x="376" y="33"/>
                  <a:pt x="375" y="33"/>
                  <a:pt x="375" y="33"/>
                </a:cubicBezTo>
                <a:cubicBezTo>
                  <a:pt x="374" y="34"/>
                  <a:pt x="375" y="36"/>
                  <a:pt x="375" y="37"/>
                </a:cubicBezTo>
                <a:cubicBezTo>
                  <a:pt x="374" y="38"/>
                  <a:pt x="373" y="37"/>
                  <a:pt x="373" y="37"/>
                </a:cubicBezTo>
                <a:cubicBezTo>
                  <a:pt x="373" y="36"/>
                  <a:pt x="373" y="36"/>
                  <a:pt x="372" y="35"/>
                </a:cubicBezTo>
                <a:cubicBezTo>
                  <a:pt x="372" y="35"/>
                  <a:pt x="372" y="35"/>
                  <a:pt x="371" y="35"/>
                </a:cubicBezTo>
                <a:cubicBezTo>
                  <a:pt x="371" y="34"/>
                  <a:pt x="371" y="33"/>
                  <a:pt x="371" y="32"/>
                </a:cubicBezTo>
                <a:cubicBezTo>
                  <a:pt x="370" y="32"/>
                  <a:pt x="369" y="32"/>
                  <a:pt x="369" y="31"/>
                </a:cubicBezTo>
                <a:cubicBezTo>
                  <a:pt x="368" y="31"/>
                  <a:pt x="368" y="31"/>
                  <a:pt x="367" y="31"/>
                </a:cubicBezTo>
                <a:cubicBezTo>
                  <a:pt x="365" y="30"/>
                  <a:pt x="365" y="33"/>
                  <a:pt x="363" y="33"/>
                </a:cubicBezTo>
                <a:cubicBezTo>
                  <a:pt x="362" y="33"/>
                  <a:pt x="362" y="33"/>
                  <a:pt x="361" y="33"/>
                </a:cubicBezTo>
                <a:cubicBezTo>
                  <a:pt x="360" y="33"/>
                  <a:pt x="360" y="34"/>
                  <a:pt x="359" y="34"/>
                </a:cubicBezTo>
                <a:cubicBezTo>
                  <a:pt x="358" y="35"/>
                  <a:pt x="357" y="34"/>
                  <a:pt x="357" y="35"/>
                </a:cubicBezTo>
                <a:cubicBezTo>
                  <a:pt x="357" y="36"/>
                  <a:pt x="357" y="37"/>
                  <a:pt x="357" y="38"/>
                </a:cubicBezTo>
                <a:cubicBezTo>
                  <a:pt x="357" y="39"/>
                  <a:pt x="356" y="40"/>
                  <a:pt x="355" y="40"/>
                </a:cubicBezTo>
                <a:cubicBezTo>
                  <a:pt x="354" y="40"/>
                  <a:pt x="353" y="39"/>
                  <a:pt x="353" y="39"/>
                </a:cubicBezTo>
                <a:cubicBezTo>
                  <a:pt x="352" y="39"/>
                  <a:pt x="352" y="40"/>
                  <a:pt x="351" y="40"/>
                </a:cubicBezTo>
                <a:cubicBezTo>
                  <a:pt x="351" y="40"/>
                  <a:pt x="349" y="40"/>
                  <a:pt x="349" y="41"/>
                </a:cubicBezTo>
                <a:cubicBezTo>
                  <a:pt x="350" y="42"/>
                  <a:pt x="351" y="41"/>
                  <a:pt x="351" y="41"/>
                </a:cubicBezTo>
                <a:cubicBezTo>
                  <a:pt x="352" y="42"/>
                  <a:pt x="351" y="43"/>
                  <a:pt x="351" y="43"/>
                </a:cubicBezTo>
                <a:cubicBezTo>
                  <a:pt x="349" y="43"/>
                  <a:pt x="347" y="42"/>
                  <a:pt x="347" y="43"/>
                </a:cubicBezTo>
                <a:cubicBezTo>
                  <a:pt x="345" y="44"/>
                  <a:pt x="347" y="46"/>
                  <a:pt x="347" y="47"/>
                </a:cubicBezTo>
                <a:cubicBezTo>
                  <a:pt x="348" y="48"/>
                  <a:pt x="348" y="49"/>
                  <a:pt x="349" y="50"/>
                </a:cubicBezTo>
                <a:close/>
                <a:moveTo>
                  <a:pt x="1044" y="4"/>
                </a:moveTo>
                <a:cubicBezTo>
                  <a:pt x="1046" y="4"/>
                  <a:pt x="1047" y="4"/>
                  <a:pt x="1049" y="3"/>
                </a:cubicBezTo>
                <a:cubicBezTo>
                  <a:pt x="1050" y="3"/>
                  <a:pt x="1051" y="3"/>
                  <a:pt x="1053" y="2"/>
                </a:cubicBezTo>
                <a:cubicBezTo>
                  <a:pt x="1042" y="3"/>
                  <a:pt x="1042" y="3"/>
                  <a:pt x="1042" y="3"/>
                </a:cubicBezTo>
                <a:cubicBezTo>
                  <a:pt x="1041" y="4"/>
                  <a:pt x="1043" y="4"/>
                  <a:pt x="1044" y="4"/>
                </a:cubicBezTo>
                <a:close/>
                <a:moveTo>
                  <a:pt x="2964" y="296"/>
                </a:moveTo>
                <a:cubicBezTo>
                  <a:pt x="2964" y="295"/>
                  <a:pt x="2964" y="294"/>
                  <a:pt x="2963" y="293"/>
                </a:cubicBezTo>
                <a:cubicBezTo>
                  <a:pt x="2963" y="292"/>
                  <a:pt x="2961" y="291"/>
                  <a:pt x="2960" y="290"/>
                </a:cubicBezTo>
                <a:cubicBezTo>
                  <a:pt x="2959" y="289"/>
                  <a:pt x="2958" y="288"/>
                  <a:pt x="2956" y="287"/>
                </a:cubicBezTo>
                <a:cubicBezTo>
                  <a:pt x="2955" y="286"/>
                  <a:pt x="2953" y="286"/>
                  <a:pt x="2952" y="285"/>
                </a:cubicBezTo>
                <a:cubicBezTo>
                  <a:pt x="2951" y="284"/>
                  <a:pt x="2950" y="283"/>
                  <a:pt x="2949" y="282"/>
                </a:cubicBezTo>
                <a:cubicBezTo>
                  <a:pt x="2947" y="281"/>
                  <a:pt x="2946" y="280"/>
                  <a:pt x="2945" y="280"/>
                </a:cubicBezTo>
                <a:cubicBezTo>
                  <a:pt x="2944" y="279"/>
                  <a:pt x="2944" y="279"/>
                  <a:pt x="2943" y="279"/>
                </a:cubicBezTo>
                <a:cubicBezTo>
                  <a:pt x="2941" y="278"/>
                  <a:pt x="2939" y="276"/>
                  <a:pt x="2937" y="276"/>
                </a:cubicBezTo>
                <a:cubicBezTo>
                  <a:pt x="2934" y="275"/>
                  <a:pt x="2932" y="276"/>
                  <a:pt x="2930" y="276"/>
                </a:cubicBezTo>
                <a:cubicBezTo>
                  <a:pt x="2926" y="278"/>
                  <a:pt x="2922" y="278"/>
                  <a:pt x="2918" y="278"/>
                </a:cubicBezTo>
                <a:cubicBezTo>
                  <a:pt x="2916" y="278"/>
                  <a:pt x="2914" y="279"/>
                  <a:pt x="2912" y="280"/>
                </a:cubicBezTo>
                <a:cubicBezTo>
                  <a:pt x="2911" y="281"/>
                  <a:pt x="2910" y="283"/>
                  <a:pt x="2909" y="285"/>
                </a:cubicBezTo>
                <a:cubicBezTo>
                  <a:pt x="2907" y="288"/>
                  <a:pt x="2905" y="291"/>
                  <a:pt x="2902" y="292"/>
                </a:cubicBezTo>
                <a:cubicBezTo>
                  <a:pt x="2900" y="293"/>
                  <a:pt x="2899" y="294"/>
                  <a:pt x="2897" y="294"/>
                </a:cubicBezTo>
                <a:cubicBezTo>
                  <a:pt x="2896" y="294"/>
                  <a:pt x="2895" y="294"/>
                  <a:pt x="2894" y="294"/>
                </a:cubicBezTo>
                <a:cubicBezTo>
                  <a:pt x="2893" y="294"/>
                  <a:pt x="2892" y="294"/>
                  <a:pt x="2891" y="294"/>
                </a:cubicBezTo>
                <a:cubicBezTo>
                  <a:pt x="2890" y="294"/>
                  <a:pt x="2888" y="294"/>
                  <a:pt x="2887" y="296"/>
                </a:cubicBezTo>
                <a:cubicBezTo>
                  <a:pt x="2887" y="298"/>
                  <a:pt x="2890" y="298"/>
                  <a:pt x="2891" y="298"/>
                </a:cubicBezTo>
                <a:cubicBezTo>
                  <a:pt x="2892" y="298"/>
                  <a:pt x="2894" y="298"/>
                  <a:pt x="2895" y="297"/>
                </a:cubicBezTo>
                <a:cubicBezTo>
                  <a:pt x="2896" y="297"/>
                  <a:pt x="2897" y="296"/>
                  <a:pt x="2899" y="296"/>
                </a:cubicBezTo>
                <a:cubicBezTo>
                  <a:pt x="2900" y="295"/>
                  <a:pt x="2901" y="294"/>
                  <a:pt x="2903" y="294"/>
                </a:cubicBezTo>
                <a:cubicBezTo>
                  <a:pt x="2904" y="294"/>
                  <a:pt x="2906" y="294"/>
                  <a:pt x="2907" y="294"/>
                </a:cubicBezTo>
                <a:cubicBezTo>
                  <a:pt x="2910" y="294"/>
                  <a:pt x="2914" y="294"/>
                  <a:pt x="2916" y="296"/>
                </a:cubicBezTo>
                <a:cubicBezTo>
                  <a:pt x="2918" y="296"/>
                  <a:pt x="2920" y="297"/>
                  <a:pt x="2921" y="298"/>
                </a:cubicBezTo>
                <a:cubicBezTo>
                  <a:pt x="2923" y="299"/>
                  <a:pt x="2925" y="299"/>
                  <a:pt x="2927" y="299"/>
                </a:cubicBezTo>
                <a:cubicBezTo>
                  <a:pt x="2929" y="299"/>
                  <a:pt x="2931" y="299"/>
                  <a:pt x="2933" y="300"/>
                </a:cubicBezTo>
                <a:cubicBezTo>
                  <a:pt x="2935" y="300"/>
                  <a:pt x="2937" y="301"/>
                  <a:pt x="2939" y="302"/>
                </a:cubicBezTo>
                <a:cubicBezTo>
                  <a:pt x="2942" y="302"/>
                  <a:pt x="2944" y="301"/>
                  <a:pt x="2947" y="301"/>
                </a:cubicBezTo>
                <a:cubicBezTo>
                  <a:pt x="2949" y="301"/>
                  <a:pt x="2950" y="301"/>
                  <a:pt x="2952" y="302"/>
                </a:cubicBezTo>
                <a:cubicBezTo>
                  <a:pt x="2954" y="303"/>
                  <a:pt x="2955" y="304"/>
                  <a:pt x="2957" y="303"/>
                </a:cubicBezTo>
                <a:cubicBezTo>
                  <a:pt x="2959" y="303"/>
                  <a:pt x="2961" y="303"/>
                  <a:pt x="2962" y="302"/>
                </a:cubicBezTo>
                <a:cubicBezTo>
                  <a:pt x="2963" y="301"/>
                  <a:pt x="2963" y="301"/>
                  <a:pt x="2963" y="300"/>
                </a:cubicBezTo>
                <a:cubicBezTo>
                  <a:pt x="2963" y="299"/>
                  <a:pt x="2962" y="299"/>
                  <a:pt x="2963" y="298"/>
                </a:cubicBezTo>
                <a:cubicBezTo>
                  <a:pt x="2963" y="297"/>
                  <a:pt x="2964" y="296"/>
                  <a:pt x="2964" y="296"/>
                </a:cubicBezTo>
                <a:close/>
                <a:moveTo>
                  <a:pt x="2806" y="215"/>
                </a:moveTo>
                <a:cubicBezTo>
                  <a:pt x="2806" y="216"/>
                  <a:pt x="2806" y="216"/>
                  <a:pt x="2806" y="217"/>
                </a:cubicBezTo>
                <a:cubicBezTo>
                  <a:pt x="2805" y="218"/>
                  <a:pt x="2804" y="218"/>
                  <a:pt x="2806" y="219"/>
                </a:cubicBezTo>
                <a:cubicBezTo>
                  <a:pt x="2806" y="219"/>
                  <a:pt x="2808" y="219"/>
                  <a:pt x="2809" y="219"/>
                </a:cubicBezTo>
                <a:cubicBezTo>
                  <a:pt x="2810" y="219"/>
                  <a:pt x="2812" y="218"/>
                  <a:pt x="2813" y="218"/>
                </a:cubicBezTo>
                <a:cubicBezTo>
                  <a:pt x="2814" y="218"/>
                  <a:pt x="2815" y="217"/>
                  <a:pt x="2815" y="217"/>
                </a:cubicBezTo>
                <a:cubicBezTo>
                  <a:pt x="2815" y="216"/>
                  <a:pt x="2816" y="215"/>
                  <a:pt x="2816" y="215"/>
                </a:cubicBezTo>
                <a:cubicBezTo>
                  <a:pt x="2817" y="213"/>
                  <a:pt x="2818" y="212"/>
                  <a:pt x="2818" y="210"/>
                </a:cubicBezTo>
                <a:cubicBezTo>
                  <a:pt x="2817" y="209"/>
                  <a:pt x="2817" y="209"/>
                  <a:pt x="2816" y="209"/>
                </a:cubicBezTo>
                <a:cubicBezTo>
                  <a:pt x="2816" y="208"/>
                  <a:pt x="2815" y="208"/>
                  <a:pt x="2814" y="208"/>
                </a:cubicBezTo>
                <a:cubicBezTo>
                  <a:pt x="2813" y="207"/>
                  <a:pt x="2812" y="206"/>
                  <a:pt x="2812" y="205"/>
                </a:cubicBezTo>
                <a:cubicBezTo>
                  <a:pt x="2812" y="204"/>
                  <a:pt x="2812" y="203"/>
                  <a:pt x="2811" y="203"/>
                </a:cubicBezTo>
                <a:cubicBezTo>
                  <a:pt x="2811" y="202"/>
                  <a:pt x="2810" y="202"/>
                  <a:pt x="2810" y="201"/>
                </a:cubicBezTo>
                <a:cubicBezTo>
                  <a:pt x="2810" y="201"/>
                  <a:pt x="2810" y="199"/>
                  <a:pt x="2809" y="199"/>
                </a:cubicBezTo>
                <a:cubicBezTo>
                  <a:pt x="2808" y="198"/>
                  <a:pt x="2808" y="200"/>
                  <a:pt x="2808" y="200"/>
                </a:cubicBezTo>
                <a:cubicBezTo>
                  <a:pt x="2808" y="202"/>
                  <a:pt x="2808" y="203"/>
                  <a:pt x="2808" y="205"/>
                </a:cubicBezTo>
                <a:cubicBezTo>
                  <a:pt x="2807" y="206"/>
                  <a:pt x="2805" y="206"/>
                  <a:pt x="2806" y="208"/>
                </a:cubicBezTo>
                <a:cubicBezTo>
                  <a:pt x="2806" y="208"/>
                  <a:pt x="2806" y="209"/>
                  <a:pt x="2806" y="210"/>
                </a:cubicBezTo>
                <a:cubicBezTo>
                  <a:pt x="2807" y="210"/>
                  <a:pt x="2807" y="211"/>
                  <a:pt x="2807" y="211"/>
                </a:cubicBezTo>
                <a:cubicBezTo>
                  <a:pt x="2807" y="211"/>
                  <a:pt x="2807" y="211"/>
                  <a:pt x="2807" y="212"/>
                </a:cubicBezTo>
                <a:cubicBezTo>
                  <a:pt x="2807" y="213"/>
                  <a:pt x="2806" y="214"/>
                  <a:pt x="2806" y="215"/>
                </a:cubicBezTo>
                <a:close/>
                <a:moveTo>
                  <a:pt x="2900" y="274"/>
                </a:moveTo>
                <a:cubicBezTo>
                  <a:pt x="2901" y="275"/>
                  <a:pt x="2901" y="277"/>
                  <a:pt x="2903" y="277"/>
                </a:cubicBezTo>
                <a:cubicBezTo>
                  <a:pt x="2903" y="277"/>
                  <a:pt x="2904" y="277"/>
                  <a:pt x="2905" y="276"/>
                </a:cubicBezTo>
                <a:cubicBezTo>
                  <a:pt x="2905" y="275"/>
                  <a:pt x="2906" y="275"/>
                  <a:pt x="2906" y="275"/>
                </a:cubicBezTo>
                <a:cubicBezTo>
                  <a:pt x="2909" y="273"/>
                  <a:pt x="2915" y="274"/>
                  <a:pt x="2916" y="271"/>
                </a:cubicBezTo>
                <a:cubicBezTo>
                  <a:pt x="2916" y="270"/>
                  <a:pt x="2916" y="269"/>
                  <a:pt x="2915" y="268"/>
                </a:cubicBezTo>
                <a:cubicBezTo>
                  <a:pt x="2915" y="267"/>
                  <a:pt x="2915" y="267"/>
                  <a:pt x="2915" y="266"/>
                </a:cubicBezTo>
                <a:cubicBezTo>
                  <a:pt x="2914" y="265"/>
                  <a:pt x="2913" y="263"/>
                  <a:pt x="2911" y="262"/>
                </a:cubicBezTo>
                <a:cubicBezTo>
                  <a:pt x="2910" y="262"/>
                  <a:pt x="2908" y="262"/>
                  <a:pt x="2906" y="262"/>
                </a:cubicBezTo>
                <a:cubicBezTo>
                  <a:pt x="2906" y="262"/>
                  <a:pt x="2905" y="262"/>
                  <a:pt x="2904" y="262"/>
                </a:cubicBezTo>
                <a:cubicBezTo>
                  <a:pt x="2904" y="262"/>
                  <a:pt x="2903" y="262"/>
                  <a:pt x="2903" y="262"/>
                </a:cubicBezTo>
                <a:cubicBezTo>
                  <a:pt x="2903" y="262"/>
                  <a:pt x="2902" y="262"/>
                  <a:pt x="2902" y="262"/>
                </a:cubicBezTo>
                <a:cubicBezTo>
                  <a:pt x="2901" y="262"/>
                  <a:pt x="2899" y="262"/>
                  <a:pt x="2898" y="263"/>
                </a:cubicBezTo>
                <a:cubicBezTo>
                  <a:pt x="2898" y="264"/>
                  <a:pt x="2898" y="265"/>
                  <a:pt x="2897" y="265"/>
                </a:cubicBezTo>
                <a:cubicBezTo>
                  <a:pt x="2897" y="266"/>
                  <a:pt x="2896" y="266"/>
                  <a:pt x="2896" y="267"/>
                </a:cubicBezTo>
                <a:cubicBezTo>
                  <a:pt x="2896" y="268"/>
                  <a:pt x="2896" y="269"/>
                  <a:pt x="2896" y="269"/>
                </a:cubicBezTo>
                <a:cubicBezTo>
                  <a:pt x="2897" y="270"/>
                  <a:pt x="2897" y="271"/>
                  <a:pt x="2897" y="271"/>
                </a:cubicBezTo>
                <a:cubicBezTo>
                  <a:pt x="2897" y="273"/>
                  <a:pt x="2899" y="273"/>
                  <a:pt x="2900" y="274"/>
                </a:cubicBezTo>
                <a:close/>
                <a:moveTo>
                  <a:pt x="1313" y="430"/>
                </a:moveTo>
                <a:cubicBezTo>
                  <a:pt x="1314" y="431"/>
                  <a:pt x="1314" y="431"/>
                  <a:pt x="1315" y="432"/>
                </a:cubicBezTo>
                <a:cubicBezTo>
                  <a:pt x="1316" y="432"/>
                  <a:pt x="1317" y="431"/>
                  <a:pt x="1318" y="430"/>
                </a:cubicBezTo>
                <a:cubicBezTo>
                  <a:pt x="1321" y="430"/>
                  <a:pt x="1324" y="432"/>
                  <a:pt x="1326" y="430"/>
                </a:cubicBezTo>
                <a:cubicBezTo>
                  <a:pt x="1327" y="429"/>
                  <a:pt x="1327" y="428"/>
                  <a:pt x="1326" y="426"/>
                </a:cubicBezTo>
                <a:cubicBezTo>
                  <a:pt x="1326" y="425"/>
                  <a:pt x="1327" y="424"/>
                  <a:pt x="1326" y="422"/>
                </a:cubicBezTo>
                <a:cubicBezTo>
                  <a:pt x="1325" y="421"/>
                  <a:pt x="1324" y="421"/>
                  <a:pt x="1323" y="420"/>
                </a:cubicBezTo>
                <a:cubicBezTo>
                  <a:pt x="1322" y="419"/>
                  <a:pt x="1321" y="419"/>
                  <a:pt x="1320" y="419"/>
                </a:cubicBezTo>
                <a:cubicBezTo>
                  <a:pt x="1319" y="418"/>
                  <a:pt x="1318" y="417"/>
                  <a:pt x="1318" y="417"/>
                </a:cubicBezTo>
                <a:cubicBezTo>
                  <a:pt x="1317" y="416"/>
                  <a:pt x="1316" y="415"/>
                  <a:pt x="1315" y="415"/>
                </a:cubicBezTo>
                <a:cubicBezTo>
                  <a:pt x="1314" y="414"/>
                  <a:pt x="1313" y="414"/>
                  <a:pt x="1312" y="413"/>
                </a:cubicBezTo>
                <a:cubicBezTo>
                  <a:pt x="1312" y="413"/>
                  <a:pt x="1312" y="413"/>
                  <a:pt x="1312" y="413"/>
                </a:cubicBezTo>
                <a:cubicBezTo>
                  <a:pt x="1310" y="411"/>
                  <a:pt x="1308" y="410"/>
                  <a:pt x="1307" y="408"/>
                </a:cubicBezTo>
                <a:cubicBezTo>
                  <a:pt x="1306" y="407"/>
                  <a:pt x="1306" y="407"/>
                  <a:pt x="1305" y="407"/>
                </a:cubicBezTo>
                <a:cubicBezTo>
                  <a:pt x="1304" y="407"/>
                  <a:pt x="1304" y="406"/>
                  <a:pt x="1303" y="406"/>
                </a:cubicBezTo>
                <a:cubicBezTo>
                  <a:pt x="1301" y="404"/>
                  <a:pt x="1299" y="402"/>
                  <a:pt x="1296" y="403"/>
                </a:cubicBezTo>
                <a:cubicBezTo>
                  <a:pt x="1296" y="404"/>
                  <a:pt x="1295" y="404"/>
                  <a:pt x="1295" y="404"/>
                </a:cubicBezTo>
                <a:cubicBezTo>
                  <a:pt x="1294" y="405"/>
                  <a:pt x="1294" y="405"/>
                  <a:pt x="1293" y="405"/>
                </a:cubicBezTo>
                <a:cubicBezTo>
                  <a:pt x="1291" y="405"/>
                  <a:pt x="1292" y="407"/>
                  <a:pt x="1290" y="407"/>
                </a:cubicBezTo>
                <a:cubicBezTo>
                  <a:pt x="1289" y="407"/>
                  <a:pt x="1289" y="407"/>
                  <a:pt x="1288" y="408"/>
                </a:cubicBezTo>
                <a:cubicBezTo>
                  <a:pt x="1287" y="408"/>
                  <a:pt x="1288" y="409"/>
                  <a:pt x="1289" y="409"/>
                </a:cubicBezTo>
                <a:cubicBezTo>
                  <a:pt x="1290" y="409"/>
                  <a:pt x="1290" y="410"/>
                  <a:pt x="1290" y="410"/>
                </a:cubicBezTo>
                <a:cubicBezTo>
                  <a:pt x="1291" y="410"/>
                  <a:pt x="1292" y="410"/>
                  <a:pt x="1292" y="411"/>
                </a:cubicBezTo>
                <a:cubicBezTo>
                  <a:pt x="1292" y="412"/>
                  <a:pt x="1289" y="411"/>
                  <a:pt x="1288" y="411"/>
                </a:cubicBezTo>
                <a:cubicBezTo>
                  <a:pt x="1288" y="412"/>
                  <a:pt x="1288" y="415"/>
                  <a:pt x="1289" y="416"/>
                </a:cubicBezTo>
                <a:cubicBezTo>
                  <a:pt x="1289" y="417"/>
                  <a:pt x="1290" y="418"/>
                  <a:pt x="1291" y="419"/>
                </a:cubicBezTo>
                <a:cubicBezTo>
                  <a:pt x="1291" y="419"/>
                  <a:pt x="1292" y="420"/>
                  <a:pt x="1292" y="420"/>
                </a:cubicBezTo>
                <a:cubicBezTo>
                  <a:pt x="1293" y="421"/>
                  <a:pt x="1294" y="422"/>
                  <a:pt x="1295" y="423"/>
                </a:cubicBezTo>
                <a:cubicBezTo>
                  <a:pt x="1295" y="423"/>
                  <a:pt x="1296" y="423"/>
                  <a:pt x="1297" y="423"/>
                </a:cubicBezTo>
                <a:cubicBezTo>
                  <a:pt x="1297" y="424"/>
                  <a:pt x="1298" y="426"/>
                  <a:pt x="1299" y="425"/>
                </a:cubicBezTo>
                <a:cubicBezTo>
                  <a:pt x="1299" y="424"/>
                  <a:pt x="1299" y="423"/>
                  <a:pt x="1298" y="423"/>
                </a:cubicBezTo>
                <a:cubicBezTo>
                  <a:pt x="1297" y="422"/>
                  <a:pt x="1297" y="422"/>
                  <a:pt x="1298" y="422"/>
                </a:cubicBezTo>
                <a:cubicBezTo>
                  <a:pt x="1299" y="423"/>
                  <a:pt x="1300" y="423"/>
                  <a:pt x="1300" y="423"/>
                </a:cubicBezTo>
                <a:cubicBezTo>
                  <a:pt x="1301" y="423"/>
                  <a:pt x="1302" y="424"/>
                  <a:pt x="1302" y="424"/>
                </a:cubicBezTo>
                <a:cubicBezTo>
                  <a:pt x="1303" y="425"/>
                  <a:pt x="1305" y="424"/>
                  <a:pt x="1307" y="425"/>
                </a:cubicBezTo>
                <a:cubicBezTo>
                  <a:pt x="1307" y="425"/>
                  <a:pt x="1307" y="426"/>
                  <a:pt x="1308" y="426"/>
                </a:cubicBezTo>
                <a:cubicBezTo>
                  <a:pt x="1308" y="427"/>
                  <a:pt x="1309" y="427"/>
                  <a:pt x="1310" y="428"/>
                </a:cubicBezTo>
                <a:cubicBezTo>
                  <a:pt x="1310" y="428"/>
                  <a:pt x="1309" y="429"/>
                  <a:pt x="1310" y="430"/>
                </a:cubicBezTo>
                <a:cubicBezTo>
                  <a:pt x="1310" y="431"/>
                  <a:pt x="1312" y="430"/>
                  <a:pt x="1313" y="430"/>
                </a:cubicBezTo>
                <a:close/>
                <a:moveTo>
                  <a:pt x="2806" y="266"/>
                </a:moveTo>
                <a:cubicBezTo>
                  <a:pt x="2807" y="267"/>
                  <a:pt x="2808" y="267"/>
                  <a:pt x="2809" y="269"/>
                </a:cubicBezTo>
                <a:cubicBezTo>
                  <a:pt x="2810" y="269"/>
                  <a:pt x="2810" y="270"/>
                  <a:pt x="2810" y="271"/>
                </a:cubicBezTo>
                <a:cubicBezTo>
                  <a:pt x="2811" y="272"/>
                  <a:pt x="2813" y="274"/>
                  <a:pt x="2814" y="274"/>
                </a:cubicBezTo>
                <a:cubicBezTo>
                  <a:pt x="2815" y="275"/>
                  <a:pt x="2815" y="275"/>
                  <a:pt x="2816" y="276"/>
                </a:cubicBezTo>
                <a:cubicBezTo>
                  <a:pt x="2818" y="277"/>
                  <a:pt x="2820" y="276"/>
                  <a:pt x="2820" y="274"/>
                </a:cubicBezTo>
                <a:cubicBezTo>
                  <a:pt x="2820" y="272"/>
                  <a:pt x="2818" y="272"/>
                  <a:pt x="2817" y="271"/>
                </a:cubicBezTo>
                <a:cubicBezTo>
                  <a:pt x="2816" y="270"/>
                  <a:pt x="2816" y="269"/>
                  <a:pt x="2814" y="268"/>
                </a:cubicBezTo>
                <a:cubicBezTo>
                  <a:pt x="2813" y="267"/>
                  <a:pt x="2812" y="268"/>
                  <a:pt x="2811" y="267"/>
                </a:cubicBezTo>
                <a:cubicBezTo>
                  <a:pt x="2810" y="265"/>
                  <a:pt x="2809" y="265"/>
                  <a:pt x="2808" y="264"/>
                </a:cubicBezTo>
                <a:cubicBezTo>
                  <a:pt x="2807" y="264"/>
                  <a:pt x="2806" y="264"/>
                  <a:pt x="2805" y="264"/>
                </a:cubicBezTo>
                <a:cubicBezTo>
                  <a:pt x="2805" y="263"/>
                  <a:pt x="2805" y="263"/>
                  <a:pt x="2804" y="263"/>
                </a:cubicBezTo>
                <a:cubicBezTo>
                  <a:pt x="2803" y="263"/>
                  <a:pt x="2805" y="266"/>
                  <a:pt x="2806" y="266"/>
                </a:cubicBezTo>
                <a:close/>
                <a:moveTo>
                  <a:pt x="2839" y="229"/>
                </a:moveTo>
                <a:cubicBezTo>
                  <a:pt x="2840" y="230"/>
                  <a:pt x="2840" y="231"/>
                  <a:pt x="2842" y="232"/>
                </a:cubicBezTo>
                <a:cubicBezTo>
                  <a:pt x="2843" y="232"/>
                  <a:pt x="2844" y="233"/>
                  <a:pt x="2845" y="234"/>
                </a:cubicBezTo>
                <a:cubicBezTo>
                  <a:pt x="2847" y="234"/>
                  <a:pt x="2848" y="235"/>
                  <a:pt x="2849" y="236"/>
                </a:cubicBezTo>
                <a:cubicBezTo>
                  <a:pt x="2850" y="236"/>
                  <a:pt x="2850" y="238"/>
                  <a:pt x="2851" y="239"/>
                </a:cubicBezTo>
                <a:cubicBezTo>
                  <a:pt x="2854" y="241"/>
                  <a:pt x="2857" y="241"/>
                  <a:pt x="2860" y="242"/>
                </a:cubicBezTo>
                <a:cubicBezTo>
                  <a:pt x="2861" y="242"/>
                  <a:pt x="2862" y="243"/>
                  <a:pt x="2863" y="243"/>
                </a:cubicBezTo>
                <a:cubicBezTo>
                  <a:pt x="2865" y="244"/>
                  <a:pt x="2866" y="245"/>
                  <a:pt x="2868" y="245"/>
                </a:cubicBezTo>
                <a:cubicBezTo>
                  <a:pt x="2870" y="246"/>
                  <a:pt x="2871" y="247"/>
                  <a:pt x="2873" y="247"/>
                </a:cubicBezTo>
                <a:cubicBezTo>
                  <a:pt x="2873" y="247"/>
                  <a:pt x="2874" y="247"/>
                  <a:pt x="2875" y="247"/>
                </a:cubicBezTo>
                <a:cubicBezTo>
                  <a:pt x="2876" y="247"/>
                  <a:pt x="2876" y="248"/>
                  <a:pt x="2877" y="248"/>
                </a:cubicBezTo>
                <a:cubicBezTo>
                  <a:pt x="2877" y="248"/>
                  <a:pt x="2878" y="248"/>
                  <a:pt x="2879" y="248"/>
                </a:cubicBezTo>
                <a:cubicBezTo>
                  <a:pt x="2880" y="248"/>
                  <a:pt x="2880" y="247"/>
                  <a:pt x="2881" y="246"/>
                </a:cubicBezTo>
                <a:cubicBezTo>
                  <a:pt x="2882" y="245"/>
                  <a:pt x="2883" y="245"/>
                  <a:pt x="2884" y="244"/>
                </a:cubicBezTo>
                <a:cubicBezTo>
                  <a:pt x="2884" y="243"/>
                  <a:pt x="2884" y="241"/>
                  <a:pt x="2885" y="241"/>
                </a:cubicBezTo>
                <a:cubicBezTo>
                  <a:pt x="2886" y="240"/>
                  <a:pt x="2886" y="240"/>
                  <a:pt x="2886" y="240"/>
                </a:cubicBezTo>
                <a:cubicBezTo>
                  <a:pt x="2886" y="238"/>
                  <a:pt x="2885" y="239"/>
                  <a:pt x="2884" y="239"/>
                </a:cubicBezTo>
                <a:cubicBezTo>
                  <a:pt x="2883" y="238"/>
                  <a:pt x="2885" y="236"/>
                  <a:pt x="2886" y="236"/>
                </a:cubicBezTo>
                <a:cubicBezTo>
                  <a:pt x="2887" y="235"/>
                  <a:pt x="2889" y="235"/>
                  <a:pt x="2890" y="235"/>
                </a:cubicBezTo>
                <a:cubicBezTo>
                  <a:pt x="2891" y="236"/>
                  <a:pt x="2891" y="236"/>
                  <a:pt x="2892" y="237"/>
                </a:cubicBezTo>
                <a:cubicBezTo>
                  <a:pt x="2892" y="237"/>
                  <a:pt x="2893" y="237"/>
                  <a:pt x="2893" y="238"/>
                </a:cubicBezTo>
                <a:cubicBezTo>
                  <a:pt x="2895" y="238"/>
                  <a:pt x="2894" y="240"/>
                  <a:pt x="2895" y="241"/>
                </a:cubicBezTo>
                <a:cubicBezTo>
                  <a:pt x="2896" y="241"/>
                  <a:pt x="2898" y="241"/>
                  <a:pt x="2899" y="241"/>
                </a:cubicBezTo>
                <a:cubicBezTo>
                  <a:pt x="2901" y="240"/>
                  <a:pt x="2902" y="240"/>
                  <a:pt x="2903" y="239"/>
                </a:cubicBezTo>
                <a:cubicBezTo>
                  <a:pt x="2905" y="239"/>
                  <a:pt x="2907" y="239"/>
                  <a:pt x="2908" y="239"/>
                </a:cubicBezTo>
                <a:cubicBezTo>
                  <a:pt x="2910" y="238"/>
                  <a:pt x="2912" y="238"/>
                  <a:pt x="2914" y="238"/>
                </a:cubicBezTo>
                <a:cubicBezTo>
                  <a:pt x="2916" y="237"/>
                  <a:pt x="2919" y="238"/>
                  <a:pt x="2920" y="237"/>
                </a:cubicBezTo>
                <a:cubicBezTo>
                  <a:pt x="2921" y="236"/>
                  <a:pt x="2921" y="236"/>
                  <a:pt x="2922" y="236"/>
                </a:cubicBezTo>
                <a:cubicBezTo>
                  <a:pt x="2923" y="236"/>
                  <a:pt x="2924" y="236"/>
                  <a:pt x="2925" y="236"/>
                </a:cubicBezTo>
                <a:cubicBezTo>
                  <a:pt x="2926" y="236"/>
                  <a:pt x="2927" y="235"/>
                  <a:pt x="2928" y="235"/>
                </a:cubicBezTo>
                <a:cubicBezTo>
                  <a:pt x="2930" y="234"/>
                  <a:pt x="2933" y="234"/>
                  <a:pt x="2935" y="234"/>
                </a:cubicBezTo>
                <a:cubicBezTo>
                  <a:pt x="2936" y="234"/>
                  <a:pt x="2936" y="235"/>
                  <a:pt x="2937" y="235"/>
                </a:cubicBezTo>
                <a:cubicBezTo>
                  <a:pt x="2938" y="235"/>
                  <a:pt x="2939" y="235"/>
                  <a:pt x="2939" y="235"/>
                </a:cubicBezTo>
                <a:cubicBezTo>
                  <a:pt x="2940" y="236"/>
                  <a:pt x="2940" y="235"/>
                  <a:pt x="2940" y="236"/>
                </a:cubicBezTo>
                <a:cubicBezTo>
                  <a:pt x="2940" y="236"/>
                  <a:pt x="2940" y="236"/>
                  <a:pt x="2939" y="236"/>
                </a:cubicBezTo>
                <a:cubicBezTo>
                  <a:pt x="2938" y="237"/>
                  <a:pt x="2938" y="236"/>
                  <a:pt x="2938" y="236"/>
                </a:cubicBezTo>
                <a:cubicBezTo>
                  <a:pt x="2937" y="235"/>
                  <a:pt x="2936" y="235"/>
                  <a:pt x="2936" y="235"/>
                </a:cubicBezTo>
                <a:cubicBezTo>
                  <a:pt x="2935" y="235"/>
                  <a:pt x="2934" y="235"/>
                  <a:pt x="2934" y="235"/>
                </a:cubicBezTo>
                <a:cubicBezTo>
                  <a:pt x="2932" y="235"/>
                  <a:pt x="2934" y="238"/>
                  <a:pt x="2935" y="238"/>
                </a:cubicBezTo>
                <a:cubicBezTo>
                  <a:pt x="2935" y="239"/>
                  <a:pt x="2936" y="240"/>
                  <a:pt x="2938" y="240"/>
                </a:cubicBezTo>
                <a:cubicBezTo>
                  <a:pt x="2939" y="240"/>
                  <a:pt x="2940" y="240"/>
                  <a:pt x="2942" y="240"/>
                </a:cubicBezTo>
                <a:cubicBezTo>
                  <a:pt x="2943" y="241"/>
                  <a:pt x="2944" y="241"/>
                  <a:pt x="2945" y="241"/>
                </a:cubicBezTo>
                <a:cubicBezTo>
                  <a:pt x="2947" y="241"/>
                  <a:pt x="2948" y="240"/>
                  <a:pt x="2949" y="239"/>
                </a:cubicBezTo>
                <a:cubicBezTo>
                  <a:pt x="2950" y="238"/>
                  <a:pt x="2952" y="238"/>
                  <a:pt x="2954" y="238"/>
                </a:cubicBezTo>
                <a:cubicBezTo>
                  <a:pt x="2956" y="238"/>
                  <a:pt x="2957" y="238"/>
                  <a:pt x="2959" y="238"/>
                </a:cubicBezTo>
                <a:cubicBezTo>
                  <a:pt x="2961" y="237"/>
                  <a:pt x="2963" y="238"/>
                  <a:pt x="2965" y="237"/>
                </a:cubicBezTo>
                <a:cubicBezTo>
                  <a:pt x="2965" y="236"/>
                  <a:pt x="2965" y="236"/>
                  <a:pt x="2965" y="235"/>
                </a:cubicBezTo>
                <a:cubicBezTo>
                  <a:pt x="2963" y="234"/>
                  <a:pt x="2962" y="235"/>
                  <a:pt x="2960" y="234"/>
                </a:cubicBezTo>
                <a:cubicBezTo>
                  <a:pt x="2959" y="234"/>
                  <a:pt x="2957" y="233"/>
                  <a:pt x="2956" y="232"/>
                </a:cubicBezTo>
                <a:cubicBezTo>
                  <a:pt x="2955" y="232"/>
                  <a:pt x="2953" y="233"/>
                  <a:pt x="2952" y="232"/>
                </a:cubicBezTo>
                <a:cubicBezTo>
                  <a:pt x="2951" y="232"/>
                  <a:pt x="2950" y="232"/>
                  <a:pt x="2949" y="231"/>
                </a:cubicBezTo>
                <a:cubicBezTo>
                  <a:pt x="2949" y="231"/>
                  <a:pt x="2948" y="231"/>
                  <a:pt x="2947" y="231"/>
                </a:cubicBezTo>
                <a:cubicBezTo>
                  <a:pt x="2944" y="229"/>
                  <a:pt x="2944" y="226"/>
                  <a:pt x="2942" y="224"/>
                </a:cubicBezTo>
                <a:cubicBezTo>
                  <a:pt x="2941" y="223"/>
                  <a:pt x="2941" y="222"/>
                  <a:pt x="2940" y="222"/>
                </a:cubicBezTo>
                <a:cubicBezTo>
                  <a:pt x="2940" y="222"/>
                  <a:pt x="2939" y="221"/>
                  <a:pt x="2938" y="221"/>
                </a:cubicBezTo>
                <a:cubicBezTo>
                  <a:pt x="2936" y="220"/>
                  <a:pt x="2937" y="219"/>
                  <a:pt x="2937" y="218"/>
                </a:cubicBezTo>
                <a:cubicBezTo>
                  <a:pt x="2938" y="216"/>
                  <a:pt x="2936" y="216"/>
                  <a:pt x="2935" y="214"/>
                </a:cubicBezTo>
                <a:cubicBezTo>
                  <a:pt x="2934" y="213"/>
                  <a:pt x="2935" y="211"/>
                  <a:pt x="2936" y="210"/>
                </a:cubicBezTo>
                <a:cubicBezTo>
                  <a:pt x="2936" y="209"/>
                  <a:pt x="2938" y="208"/>
                  <a:pt x="2939" y="208"/>
                </a:cubicBezTo>
                <a:cubicBezTo>
                  <a:pt x="2940" y="208"/>
                  <a:pt x="2941" y="208"/>
                  <a:pt x="2941" y="208"/>
                </a:cubicBezTo>
                <a:cubicBezTo>
                  <a:pt x="2942" y="207"/>
                  <a:pt x="2942" y="206"/>
                  <a:pt x="2942" y="206"/>
                </a:cubicBezTo>
                <a:cubicBezTo>
                  <a:pt x="2943" y="205"/>
                  <a:pt x="2944" y="206"/>
                  <a:pt x="2944" y="205"/>
                </a:cubicBezTo>
                <a:cubicBezTo>
                  <a:pt x="2945" y="205"/>
                  <a:pt x="2946" y="205"/>
                  <a:pt x="2947" y="205"/>
                </a:cubicBezTo>
                <a:cubicBezTo>
                  <a:pt x="2948" y="205"/>
                  <a:pt x="2950" y="205"/>
                  <a:pt x="2951" y="206"/>
                </a:cubicBezTo>
                <a:cubicBezTo>
                  <a:pt x="2952" y="207"/>
                  <a:pt x="2954" y="208"/>
                  <a:pt x="2954" y="210"/>
                </a:cubicBezTo>
                <a:cubicBezTo>
                  <a:pt x="2953" y="211"/>
                  <a:pt x="2951" y="211"/>
                  <a:pt x="2950" y="211"/>
                </a:cubicBezTo>
                <a:cubicBezTo>
                  <a:pt x="2949" y="212"/>
                  <a:pt x="2947" y="213"/>
                  <a:pt x="2946" y="213"/>
                </a:cubicBezTo>
                <a:cubicBezTo>
                  <a:pt x="2945" y="214"/>
                  <a:pt x="2944" y="215"/>
                  <a:pt x="2943" y="217"/>
                </a:cubicBezTo>
                <a:cubicBezTo>
                  <a:pt x="2943" y="218"/>
                  <a:pt x="2943" y="219"/>
                  <a:pt x="2944" y="220"/>
                </a:cubicBezTo>
                <a:cubicBezTo>
                  <a:pt x="2946" y="221"/>
                  <a:pt x="2946" y="222"/>
                  <a:pt x="2947" y="224"/>
                </a:cubicBezTo>
                <a:cubicBezTo>
                  <a:pt x="2948" y="225"/>
                  <a:pt x="2949" y="225"/>
                  <a:pt x="2950" y="226"/>
                </a:cubicBezTo>
                <a:cubicBezTo>
                  <a:pt x="2951" y="227"/>
                  <a:pt x="2951" y="227"/>
                  <a:pt x="2952" y="228"/>
                </a:cubicBezTo>
                <a:cubicBezTo>
                  <a:pt x="2952" y="228"/>
                  <a:pt x="2953" y="229"/>
                  <a:pt x="2953" y="229"/>
                </a:cubicBezTo>
                <a:cubicBezTo>
                  <a:pt x="2955" y="230"/>
                  <a:pt x="2956" y="230"/>
                  <a:pt x="2958" y="230"/>
                </a:cubicBezTo>
                <a:cubicBezTo>
                  <a:pt x="2959" y="231"/>
                  <a:pt x="2960" y="231"/>
                  <a:pt x="2962" y="231"/>
                </a:cubicBezTo>
                <a:cubicBezTo>
                  <a:pt x="2964" y="231"/>
                  <a:pt x="2965" y="230"/>
                  <a:pt x="2967" y="231"/>
                </a:cubicBezTo>
                <a:cubicBezTo>
                  <a:pt x="2969" y="231"/>
                  <a:pt x="2970" y="232"/>
                  <a:pt x="2971" y="233"/>
                </a:cubicBezTo>
                <a:cubicBezTo>
                  <a:pt x="2975" y="234"/>
                  <a:pt x="2978" y="232"/>
                  <a:pt x="2981" y="231"/>
                </a:cubicBezTo>
                <a:cubicBezTo>
                  <a:pt x="2983" y="230"/>
                  <a:pt x="2985" y="229"/>
                  <a:pt x="2986" y="227"/>
                </a:cubicBezTo>
                <a:cubicBezTo>
                  <a:pt x="2986" y="227"/>
                  <a:pt x="2986" y="226"/>
                  <a:pt x="2986" y="225"/>
                </a:cubicBezTo>
                <a:cubicBezTo>
                  <a:pt x="2987" y="225"/>
                  <a:pt x="2988" y="224"/>
                  <a:pt x="2989" y="224"/>
                </a:cubicBezTo>
                <a:cubicBezTo>
                  <a:pt x="2990" y="224"/>
                  <a:pt x="2991" y="222"/>
                  <a:pt x="2990" y="221"/>
                </a:cubicBezTo>
                <a:cubicBezTo>
                  <a:pt x="2989" y="220"/>
                  <a:pt x="2988" y="219"/>
                  <a:pt x="2989" y="217"/>
                </a:cubicBezTo>
                <a:cubicBezTo>
                  <a:pt x="2989" y="216"/>
                  <a:pt x="2991" y="216"/>
                  <a:pt x="2992" y="215"/>
                </a:cubicBezTo>
                <a:cubicBezTo>
                  <a:pt x="2994" y="215"/>
                  <a:pt x="2995" y="214"/>
                  <a:pt x="2996" y="214"/>
                </a:cubicBezTo>
                <a:cubicBezTo>
                  <a:pt x="2997" y="214"/>
                  <a:pt x="2998" y="214"/>
                  <a:pt x="2998" y="214"/>
                </a:cubicBezTo>
                <a:cubicBezTo>
                  <a:pt x="2999" y="214"/>
                  <a:pt x="3000" y="213"/>
                  <a:pt x="2999" y="213"/>
                </a:cubicBezTo>
                <a:cubicBezTo>
                  <a:pt x="2999" y="212"/>
                  <a:pt x="2998" y="212"/>
                  <a:pt x="2997" y="212"/>
                </a:cubicBezTo>
                <a:cubicBezTo>
                  <a:pt x="2997" y="211"/>
                  <a:pt x="2996" y="211"/>
                  <a:pt x="2996" y="210"/>
                </a:cubicBezTo>
                <a:cubicBezTo>
                  <a:pt x="2995" y="210"/>
                  <a:pt x="2993" y="209"/>
                  <a:pt x="2992" y="209"/>
                </a:cubicBezTo>
                <a:cubicBezTo>
                  <a:pt x="2990" y="208"/>
                  <a:pt x="2989" y="208"/>
                  <a:pt x="2987" y="207"/>
                </a:cubicBezTo>
                <a:cubicBezTo>
                  <a:pt x="2985" y="206"/>
                  <a:pt x="2983" y="206"/>
                  <a:pt x="2981" y="205"/>
                </a:cubicBezTo>
                <a:cubicBezTo>
                  <a:pt x="2979" y="204"/>
                  <a:pt x="2977" y="203"/>
                  <a:pt x="2975" y="202"/>
                </a:cubicBezTo>
                <a:cubicBezTo>
                  <a:pt x="2973" y="202"/>
                  <a:pt x="2972" y="201"/>
                  <a:pt x="2970" y="200"/>
                </a:cubicBezTo>
                <a:cubicBezTo>
                  <a:pt x="2968" y="200"/>
                  <a:pt x="2967" y="199"/>
                  <a:pt x="2965" y="199"/>
                </a:cubicBezTo>
                <a:cubicBezTo>
                  <a:pt x="2963" y="198"/>
                  <a:pt x="2962" y="198"/>
                  <a:pt x="2960" y="198"/>
                </a:cubicBezTo>
                <a:cubicBezTo>
                  <a:pt x="2958" y="197"/>
                  <a:pt x="2957" y="197"/>
                  <a:pt x="2955" y="197"/>
                </a:cubicBezTo>
                <a:cubicBezTo>
                  <a:pt x="2954" y="196"/>
                  <a:pt x="2952" y="196"/>
                  <a:pt x="2950" y="196"/>
                </a:cubicBezTo>
                <a:cubicBezTo>
                  <a:pt x="2947" y="195"/>
                  <a:pt x="2944" y="194"/>
                  <a:pt x="2941" y="194"/>
                </a:cubicBezTo>
                <a:cubicBezTo>
                  <a:pt x="2939" y="193"/>
                  <a:pt x="2937" y="193"/>
                  <a:pt x="2936" y="193"/>
                </a:cubicBezTo>
                <a:cubicBezTo>
                  <a:pt x="2935" y="193"/>
                  <a:pt x="2934" y="192"/>
                  <a:pt x="2933" y="192"/>
                </a:cubicBezTo>
                <a:cubicBezTo>
                  <a:pt x="2932" y="191"/>
                  <a:pt x="2931" y="191"/>
                  <a:pt x="2929" y="190"/>
                </a:cubicBezTo>
                <a:cubicBezTo>
                  <a:pt x="2928" y="188"/>
                  <a:pt x="2926" y="189"/>
                  <a:pt x="2924" y="188"/>
                </a:cubicBezTo>
                <a:cubicBezTo>
                  <a:pt x="2923" y="188"/>
                  <a:pt x="2924" y="187"/>
                  <a:pt x="2923" y="186"/>
                </a:cubicBezTo>
                <a:cubicBezTo>
                  <a:pt x="2922" y="186"/>
                  <a:pt x="2922" y="186"/>
                  <a:pt x="2922" y="187"/>
                </a:cubicBezTo>
                <a:cubicBezTo>
                  <a:pt x="2921" y="188"/>
                  <a:pt x="2922" y="190"/>
                  <a:pt x="2923" y="190"/>
                </a:cubicBezTo>
                <a:cubicBezTo>
                  <a:pt x="2923" y="191"/>
                  <a:pt x="2926" y="192"/>
                  <a:pt x="2925" y="194"/>
                </a:cubicBezTo>
                <a:cubicBezTo>
                  <a:pt x="2924" y="194"/>
                  <a:pt x="2923" y="194"/>
                  <a:pt x="2923" y="194"/>
                </a:cubicBezTo>
                <a:cubicBezTo>
                  <a:pt x="2922" y="194"/>
                  <a:pt x="2921" y="194"/>
                  <a:pt x="2920" y="194"/>
                </a:cubicBezTo>
                <a:cubicBezTo>
                  <a:pt x="2919" y="194"/>
                  <a:pt x="2919" y="193"/>
                  <a:pt x="2918" y="193"/>
                </a:cubicBezTo>
                <a:cubicBezTo>
                  <a:pt x="2917" y="193"/>
                  <a:pt x="2917" y="194"/>
                  <a:pt x="2916" y="194"/>
                </a:cubicBezTo>
                <a:cubicBezTo>
                  <a:pt x="2914" y="193"/>
                  <a:pt x="2913" y="193"/>
                  <a:pt x="2912" y="194"/>
                </a:cubicBezTo>
                <a:cubicBezTo>
                  <a:pt x="2911" y="196"/>
                  <a:pt x="2912" y="198"/>
                  <a:pt x="2912" y="199"/>
                </a:cubicBezTo>
                <a:cubicBezTo>
                  <a:pt x="2912" y="201"/>
                  <a:pt x="2912" y="202"/>
                  <a:pt x="2912" y="204"/>
                </a:cubicBezTo>
                <a:cubicBezTo>
                  <a:pt x="2912" y="205"/>
                  <a:pt x="2912" y="205"/>
                  <a:pt x="2912" y="206"/>
                </a:cubicBezTo>
                <a:cubicBezTo>
                  <a:pt x="2913" y="206"/>
                  <a:pt x="2914" y="206"/>
                  <a:pt x="2914" y="207"/>
                </a:cubicBezTo>
                <a:cubicBezTo>
                  <a:pt x="2914" y="207"/>
                  <a:pt x="2914" y="208"/>
                  <a:pt x="2914" y="209"/>
                </a:cubicBezTo>
                <a:cubicBezTo>
                  <a:pt x="2914" y="209"/>
                  <a:pt x="2913" y="209"/>
                  <a:pt x="2912" y="209"/>
                </a:cubicBezTo>
                <a:cubicBezTo>
                  <a:pt x="2911" y="209"/>
                  <a:pt x="2910" y="209"/>
                  <a:pt x="2910" y="209"/>
                </a:cubicBezTo>
                <a:cubicBezTo>
                  <a:pt x="2909" y="209"/>
                  <a:pt x="2909" y="209"/>
                  <a:pt x="2908" y="208"/>
                </a:cubicBezTo>
                <a:cubicBezTo>
                  <a:pt x="2907" y="208"/>
                  <a:pt x="2907" y="208"/>
                  <a:pt x="2906" y="207"/>
                </a:cubicBezTo>
                <a:cubicBezTo>
                  <a:pt x="2906" y="206"/>
                  <a:pt x="2906" y="205"/>
                  <a:pt x="2906" y="205"/>
                </a:cubicBezTo>
                <a:cubicBezTo>
                  <a:pt x="2905" y="202"/>
                  <a:pt x="2903" y="202"/>
                  <a:pt x="2901" y="201"/>
                </a:cubicBezTo>
                <a:cubicBezTo>
                  <a:pt x="2900" y="201"/>
                  <a:pt x="2899" y="201"/>
                  <a:pt x="2898" y="202"/>
                </a:cubicBezTo>
                <a:cubicBezTo>
                  <a:pt x="2897" y="202"/>
                  <a:pt x="2896" y="201"/>
                  <a:pt x="2894" y="201"/>
                </a:cubicBezTo>
                <a:cubicBezTo>
                  <a:pt x="2893" y="201"/>
                  <a:pt x="2893" y="201"/>
                  <a:pt x="2892" y="200"/>
                </a:cubicBezTo>
                <a:cubicBezTo>
                  <a:pt x="2891" y="199"/>
                  <a:pt x="2890" y="197"/>
                  <a:pt x="2888" y="197"/>
                </a:cubicBezTo>
                <a:cubicBezTo>
                  <a:pt x="2887" y="196"/>
                  <a:pt x="2885" y="195"/>
                  <a:pt x="2884" y="194"/>
                </a:cubicBezTo>
                <a:cubicBezTo>
                  <a:pt x="2884" y="193"/>
                  <a:pt x="2883" y="193"/>
                  <a:pt x="2883" y="192"/>
                </a:cubicBezTo>
                <a:cubicBezTo>
                  <a:pt x="2882" y="191"/>
                  <a:pt x="2882" y="191"/>
                  <a:pt x="2881" y="190"/>
                </a:cubicBezTo>
                <a:cubicBezTo>
                  <a:pt x="2879" y="189"/>
                  <a:pt x="2878" y="189"/>
                  <a:pt x="2876" y="188"/>
                </a:cubicBezTo>
                <a:cubicBezTo>
                  <a:pt x="2875" y="187"/>
                  <a:pt x="2874" y="185"/>
                  <a:pt x="2873" y="186"/>
                </a:cubicBezTo>
                <a:cubicBezTo>
                  <a:pt x="2872" y="186"/>
                  <a:pt x="2872" y="187"/>
                  <a:pt x="2871" y="187"/>
                </a:cubicBezTo>
                <a:cubicBezTo>
                  <a:pt x="2870" y="188"/>
                  <a:pt x="2870" y="188"/>
                  <a:pt x="2869" y="188"/>
                </a:cubicBezTo>
                <a:cubicBezTo>
                  <a:pt x="2868" y="188"/>
                  <a:pt x="2867" y="189"/>
                  <a:pt x="2867" y="189"/>
                </a:cubicBezTo>
                <a:cubicBezTo>
                  <a:pt x="2866" y="189"/>
                  <a:pt x="2865" y="191"/>
                  <a:pt x="2864" y="191"/>
                </a:cubicBezTo>
                <a:cubicBezTo>
                  <a:pt x="2863" y="191"/>
                  <a:pt x="2863" y="190"/>
                  <a:pt x="2863" y="190"/>
                </a:cubicBezTo>
                <a:cubicBezTo>
                  <a:pt x="2862" y="189"/>
                  <a:pt x="2862" y="187"/>
                  <a:pt x="2860" y="188"/>
                </a:cubicBezTo>
                <a:cubicBezTo>
                  <a:pt x="2859" y="188"/>
                  <a:pt x="2858" y="188"/>
                  <a:pt x="2857" y="189"/>
                </a:cubicBezTo>
                <a:cubicBezTo>
                  <a:pt x="2856" y="190"/>
                  <a:pt x="2856" y="190"/>
                  <a:pt x="2855" y="191"/>
                </a:cubicBezTo>
                <a:cubicBezTo>
                  <a:pt x="2855" y="192"/>
                  <a:pt x="2855" y="193"/>
                  <a:pt x="2855" y="193"/>
                </a:cubicBezTo>
                <a:cubicBezTo>
                  <a:pt x="2854" y="193"/>
                  <a:pt x="2853" y="193"/>
                  <a:pt x="2852" y="193"/>
                </a:cubicBezTo>
                <a:cubicBezTo>
                  <a:pt x="2851" y="194"/>
                  <a:pt x="2850" y="193"/>
                  <a:pt x="2848" y="194"/>
                </a:cubicBezTo>
                <a:cubicBezTo>
                  <a:pt x="2848" y="194"/>
                  <a:pt x="2847" y="194"/>
                  <a:pt x="2846" y="194"/>
                </a:cubicBezTo>
                <a:cubicBezTo>
                  <a:pt x="2846" y="195"/>
                  <a:pt x="2845" y="195"/>
                  <a:pt x="2845" y="195"/>
                </a:cubicBezTo>
                <a:cubicBezTo>
                  <a:pt x="2844" y="196"/>
                  <a:pt x="2844" y="195"/>
                  <a:pt x="2843" y="196"/>
                </a:cubicBezTo>
                <a:cubicBezTo>
                  <a:pt x="2842" y="196"/>
                  <a:pt x="2842" y="197"/>
                  <a:pt x="2843" y="197"/>
                </a:cubicBezTo>
                <a:cubicBezTo>
                  <a:pt x="2843" y="198"/>
                  <a:pt x="2843" y="198"/>
                  <a:pt x="2843" y="198"/>
                </a:cubicBezTo>
                <a:cubicBezTo>
                  <a:pt x="2843" y="199"/>
                  <a:pt x="2843" y="199"/>
                  <a:pt x="2844" y="200"/>
                </a:cubicBezTo>
                <a:cubicBezTo>
                  <a:pt x="2844" y="200"/>
                  <a:pt x="2844" y="201"/>
                  <a:pt x="2845" y="201"/>
                </a:cubicBezTo>
                <a:cubicBezTo>
                  <a:pt x="2845" y="201"/>
                  <a:pt x="2845" y="203"/>
                  <a:pt x="2844" y="203"/>
                </a:cubicBezTo>
                <a:cubicBezTo>
                  <a:pt x="2844" y="203"/>
                  <a:pt x="2843" y="202"/>
                  <a:pt x="2843" y="202"/>
                </a:cubicBezTo>
                <a:cubicBezTo>
                  <a:pt x="2843" y="202"/>
                  <a:pt x="2842" y="203"/>
                  <a:pt x="2842" y="203"/>
                </a:cubicBezTo>
                <a:cubicBezTo>
                  <a:pt x="2840" y="203"/>
                  <a:pt x="2839" y="202"/>
                  <a:pt x="2838" y="203"/>
                </a:cubicBezTo>
                <a:cubicBezTo>
                  <a:pt x="2838" y="204"/>
                  <a:pt x="2836" y="205"/>
                  <a:pt x="2836" y="206"/>
                </a:cubicBezTo>
                <a:cubicBezTo>
                  <a:pt x="2836" y="207"/>
                  <a:pt x="2836" y="208"/>
                  <a:pt x="2835" y="208"/>
                </a:cubicBezTo>
                <a:cubicBezTo>
                  <a:pt x="2835" y="209"/>
                  <a:pt x="2834" y="209"/>
                  <a:pt x="2835" y="210"/>
                </a:cubicBezTo>
                <a:cubicBezTo>
                  <a:pt x="2836" y="210"/>
                  <a:pt x="2835" y="209"/>
                  <a:pt x="2836" y="209"/>
                </a:cubicBezTo>
                <a:cubicBezTo>
                  <a:pt x="2836" y="209"/>
                  <a:pt x="2837" y="209"/>
                  <a:pt x="2837" y="209"/>
                </a:cubicBezTo>
                <a:cubicBezTo>
                  <a:pt x="2839" y="209"/>
                  <a:pt x="2838" y="211"/>
                  <a:pt x="2839" y="212"/>
                </a:cubicBezTo>
                <a:cubicBezTo>
                  <a:pt x="2839" y="212"/>
                  <a:pt x="2839" y="213"/>
                  <a:pt x="2840" y="213"/>
                </a:cubicBezTo>
                <a:cubicBezTo>
                  <a:pt x="2840" y="214"/>
                  <a:pt x="2840" y="214"/>
                  <a:pt x="2839" y="214"/>
                </a:cubicBezTo>
                <a:cubicBezTo>
                  <a:pt x="2839" y="215"/>
                  <a:pt x="2839" y="215"/>
                  <a:pt x="2838" y="215"/>
                </a:cubicBezTo>
                <a:cubicBezTo>
                  <a:pt x="2838" y="215"/>
                  <a:pt x="2837" y="215"/>
                  <a:pt x="2837" y="216"/>
                </a:cubicBezTo>
                <a:cubicBezTo>
                  <a:pt x="2837" y="216"/>
                  <a:pt x="2838" y="217"/>
                  <a:pt x="2838" y="217"/>
                </a:cubicBezTo>
                <a:cubicBezTo>
                  <a:pt x="2839" y="218"/>
                  <a:pt x="2840" y="218"/>
                  <a:pt x="2840" y="219"/>
                </a:cubicBezTo>
                <a:cubicBezTo>
                  <a:pt x="2841" y="220"/>
                  <a:pt x="2840" y="221"/>
                  <a:pt x="2838" y="221"/>
                </a:cubicBezTo>
                <a:cubicBezTo>
                  <a:pt x="2837" y="220"/>
                  <a:pt x="2836" y="219"/>
                  <a:pt x="2835" y="219"/>
                </a:cubicBezTo>
                <a:cubicBezTo>
                  <a:pt x="2835" y="218"/>
                  <a:pt x="2834" y="218"/>
                  <a:pt x="2833" y="218"/>
                </a:cubicBezTo>
                <a:cubicBezTo>
                  <a:pt x="2832" y="219"/>
                  <a:pt x="2833" y="222"/>
                  <a:pt x="2834" y="223"/>
                </a:cubicBezTo>
                <a:cubicBezTo>
                  <a:pt x="2834" y="225"/>
                  <a:pt x="2837" y="227"/>
                  <a:pt x="2839" y="229"/>
                </a:cubicBezTo>
                <a:close/>
                <a:moveTo>
                  <a:pt x="3658" y="389"/>
                </a:moveTo>
                <a:cubicBezTo>
                  <a:pt x="3658" y="390"/>
                  <a:pt x="3657" y="391"/>
                  <a:pt x="3657" y="392"/>
                </a:cubicBezTo>
                <a:cubicBezTo>
                  <a:pt x="3657" y="393"/>
                  <a:pt x="3658" y="393"/>
                  <a:pt x="3659" y="393"/>
                </a:cubicBezTo>
                <a:cubicBezTo>
                  <a:pt x="3659" y="393"/>
                  <a:pt x="3660" y="392"/>
                  <a:pt x="3661" y="392"/>
                </a:cubicBezTo>
                <a:cubicBezTo>
                  <a:pt x="3662" y="392"/>
                  <a:pt x="3662" y="392"/>
                  <a:pt x="3663" y="392"/>
                </a:cubicBezTo>
                <a:cubicBezTo>
                  <a:pt x="3663" y="392"/>
                  <a:pt x="3664" y="392"/>
                  <a:pt x="3664" y="391"/>
                </a:cubicBezTo>
                <a:cubicBezTo>
                  <a:pt x="3665" y="391"/>
                  <a:pt x="3666" y="391"/>
                  <a:pt x="3666" y="390"/>
                </a:cubicBezTo>
                <a:cubicBezTo>
                  <a:pt x="3667" y="390"/>
                  <a:pt x="3667" y="390"/>
                  <a:pt x="3667" y="389"/>
                </a:cubicBezTo>
                <a:cubicBezTo>
                  <a:pt x="3668" y="389"/>
                  <a:pt x="3669" y="389"/>
                  <a:pt x="3669" y="389"/>
                </a:cubicBezTo>
                <a:cubicBezTo>
                  <a:pt x="3670" y="388"/>
                  <a:pt x="3671" y="388"/>
                  <a:pt x="3672" y="388"/>
                </a:cubicBezTo>
                <a:cubicBezTo>
                  <a:pt x="3673" y="389"/>
                  <a:pt x="3673" y="389"/>
                  <a:pt x="3674" y="388"/>
                </a:cubicBezTo>
                <a:cubicBezTo>
                  <a:pt x="3675" y="388"/>
                  <a:pt x="3675" y="387"/>
                  <a:pt x="3675" y="387"/>
                </a:cubicBezTo>
                <a:cubicBezTo>
                  <a:pt x="3675" y="386"/>
                  <a:pt x="3676" y="386"/>
                  <a:pt x="3677" y="386"/>
                </a:cubicBezTo>
                <a:cubicBezTo>
                  <a:pt x="3678" y="386"/>
                  <a:pt x="3679" y="386"/>
                  <a:pt x="3679" y="385"/>
                </a:cubicBezTo>
                <a:cubicBezTo>
                  <a:pt x="3680" y="385"/>
                  <a:pt x="3681" y="384"/>
                  <a:pt x="3682" y="384"/>
                </a:cubicBezTo>
                <a:cubicBezTo>
                  <a:pt x="3683" y="384"/>
                  <a:pt x="3684" y="384"/>
                  <a:pt x="3684" y="384"/>
                </a:cubicBezTo>
                <a:cubicBezTo>
                  <a:pt x="3685" y="385"/>
                  <a:pt x="3684" y="386"/>
                  <a:pt x="3685" y="386"/>
                </a:cubicBezTo>
                <a:cubicBezTo>
                  <a:pt x="3685" y="387"/>
                  <a:pt x="3688" y="386"/>
                  <a:pt x="3689" y="386"/>
                </a:cubicBezTo>
                <a:cubicBezTo>
                  <a:pt x="3690" y="386"/>
                  <a:pt x="3690" y="388"/>
                  <a:pt x="3691" y="388"/>
                </a:cubicBezTo>
                <a:cubicBezTo>
                  <a:pt x="3692" y="388"/>
                  <a:pt x="3693" y="388"/>
                  <a:pt x="3693" y="388"/>
                </a:cubicBezTo>
                <a:cubicBezTo>
                  <a:pt x="3694" y="388"/>
                  <a:pt x="3694" y="388"/>
                  <a:pt x="3695" y="387"/>
                </a:cubicBezTo>
                <a:cubicBezTo>
                  <a:pt x="3696" y="386"/>
                  <a:pt x="3697" y="387"/>
                  <a:pt x="3699" y="388"/>
                </a:cubicBezTo>
                <a:cubicBezTo>
                  <a:pt x="3700" y="389"/>
                  <a:pt x="3701" y="388"/>
                  <a:pt x="3703" y="387"/>
                </a:cubicBezTo>
                <a:cubicBezTo>
                  <a:pt x="3704" y="386"/>
                  <a:pt x="3707" y="386"/>
                  <a:pt x="3709" y="386"/>
                </a:cubicBezTo>
                <a:cubicBezTo>
                  <a:pt x="3710" y="386"/>
                  <a:pt x="3710" y="385"/>
                  <a:pt x="3711" y="385"/>
                </a:cubicBezTo>
                <a:cubicBezTo>
                  <a:pt x="3712" y="384"/>
                  <a:pt x="3713" y="384"/>
                  <a:pt x="3714" y="384"/>
                </a:cubicBezTo>
                <a:cubicBezTo>
                  <a:pt x="3716" y="383"/>
                  <a:pt x="3718" y="383"/>
                  <a:pt x="3719" y="383"/>
                </a:cubicBezTo>
                <a:cubicBezTo>
                  <a:pt x="3721" y="383"/>
                  <a:pt x="3722" y="383"/>
                  <a:pt x="3723" y="382"/>
                </a:cubicBezTo>
                <a:cubicBezTo>
                  <a:pt x="3724" y="382"/>
                  <a:pt x="3725" y="381"/>
                  <a:pt x="3726" y="381"/>
                </a:cubicBezTo>
                <a:cubicBezTo>
                  <a:pt x="3726" y="380"/>
                  <a:pt x="3728" y="378"/>
                  <a:pt x="3728" y="378"/>
                </a:cubicBezTo>
                <a:cubicBezTo>
                  <a:pt x="3729" y="377"/>
                  <a:pt x="3730" y="378"/>
                  <a:pt x="3730" y="377"/>
                </a:cubicBezTo>
                <a:cubicBezTo>
                  <a:pt x="3731" y="376"/>
                  <a:pt x="3731" y="376"/>
                  <a:pt x="3731" y="375"/>
                </a:cubicBezTo>
                <a:cubicBezTo>
                  <a:pt x="3730" y="374"/>
                  <a:pt x="3729" y="373"/>
                  <a:pt x="3728" y="373"/>
                </a:cubicBezTo>
                <a:cubicBezTo>
                  <a:pt x="3726" y="373"/>
                  <a:pt x="3725" y="372"/>
                  <a:pt x="3724" y="372"/>
                </a:cubicBezTo>
                <a:cubicBezTo>
                  <a:pt x="3723" y="371"/>
                  <a:pt x="3723" y="370"/>
                  <a:pt x="3722" y="369"/>
                </a:cubicBezTo>
                <a:cubicBezTo>
                  <a:pt x="3721" y="368"/>
                  <a:pt x="3719" y="368"/>
                  <a:pt x="3717" y="367"/>
                </a:cubicBezTo>
                <a:cubicBezTo>
                  <a:pt x="3717" y="367"/>
                  <a:pt x="3717" y="366"/>
                  <a:pt x="3716" y="365"/>
                </a:cubicBezTo>
                <a:cubicBezTo>
                  <a:pt x="3716" y="365"/>
                  <a:pt x="3715" y="365"/>
                  <a:pt x="3715" y="364"/>
                </a:cubicBezTo>
                <a:cubicBezTo>
                  <a:pt x="3713" y="364"/>
                  <a:pt x="3712" y="364"/>
                  <a:pt x="3710" y="364"/>
                </a:cubicBezTo>
                <a:cubicBezTo>
                  <a:pt x="3709" y="364"/>
                  <a:pt x="3707" y="363"/>
                  <a:pt x="3706" y="363"/>
                </a:cubicBezTo>
                <a:cubicBezTo>
                  <a:pt x="3705" y="363"/>
                  <a:pt x="3704" y="364"/>
                  <a:pt x="3703" y="364"/>
                </a:cubicBezTo>
                <a:cubicBezTo>
                  <a:pt x="3702" y="364"/>
                  <a:pt x="3701" y="365"/>
                  <a:pt x="3700" y="365"/>
                </a:cubicBezTo>
                <a:cubicBezTo>
                  <a:pt x="3698" y="365"/>
                  <a:pt x="3696" y="365"/>
                  <a:pt x="3694" y="365"/>
                </a:cubicBezTo>
                <a:cubicBezTo>
                  <a:pt x="3693" y="365"/>
                  <a:pt x="3691" y="365"/>
                  <a:pt x="3689" y="365"/>
                </a:cubicBezTo>
                <a:cubicBezTo>
                  <a:pt x="3688" y="365"/>
                  <a:pt x="3686" y="364"/>
                  <a:pt x="3685" y="364"/>
                </a:cubicBezTo>
                <a:cubicBezTo>
                  <a:pt x="3682" y="364"/>
                  <a:pt x="3680" y="366"/>
                  <a:pt x="3678" y="368"/>
                </a:cubicBezTo>
                <a:cubicBezTo>
                  <a:pt x="3676" y="368"/>
                  <a:pt x="3675" y="369"/>
                  <a:pt x="3673" y="369"/>
                </a:cubicBezTo>
                <a:cubicBezTo>
                  <a:pt x="3672" y="370"/>
                  <a:pt x="3671" y="371"/>
                  <a:pt x="3669" y="372"/>
                </a:cubicBezTo>
                <a:cubicBezTo>
                  <a:pt x="3668" y="373"/>
                  <a:pt x="3667" y="374"/>
                  <a:pt x="3665" y="374"/>
                </a:cubicBezTo>
                <a:cubicBezTo>
                  <a:pt x="3663" y="375"/>
                  <a:pt x="3662" y="375"/>
                  <a:pt x="3660" y="376"/>
                </a:cubicBezTo>
                <a:cubicBezTo>
                  <a:pt x="3659" y="377"/>
                  <a:pt x="3658" y="378"/>
                  <a:pt x="3657" y="378"/>
                </a:cubicBezTo>
                <a:cubicBezTo>
                  <a:pt x="3656" y="380"/>
                  <a:pt x="3656" y="381"/>
                  <a:pt x="3656" y="383"/>
                </a:cubicBezTo>
                <a:cubicBezTo>
                  <a:pt x="3656" y="384"/>
                  <a:pt x="3656" y="385"/>
                  <a:pt x="3657" y="387"/>
                </a:cubicBezTo>
                <a:cubicBezTo>
                  <a:pt x="3657" y="387"/>
                  <a:pt x="3658" y="388"/>
                  <a:pt x="3658" y="389"/>
                </a:cubicBezTo>
                <a:close/>
                <a:moveTo>
                  <a:pt x="3443" y="428"/>
                </a:moveTo>
                <a:cubicBezTo>
                  <a:pt x="3444" y="428"/>
                  <a:pt x="3445" y="429"/>
                  <a:pt x="3446" y="429"/>
                </a:cubicBezTo>
                <a:cubicBezTo>
                  <a:pt x="3448" y="430"/>
                  <a:pt x="3448" y="431"/>
                  <a:pt x="3450" y="431"/>
                </a:cubicBezTo>
                <a:cubicBezTo>
                  <a:pt x="3450" y="431"/>
                  <a:pt x="3451" y="431"/>
                  <a:pt x="3452" y="432"/>
                </a:cubicBezTo>
                <a:cubicBezTo>
                  <a:pt x="3452" y="432"/>
                  <a:pt x="3453" y="432"/>
                  <a:pt x="3453" y="433"/>
                </a:cubicBezTo>
                <a:cubicBezTo>
                  <a:pt x="3455" y="434"/>
                  <a:pt x="3456" y="434"/>
                  <a:pt x="3457" y="434"/>
                </a:cubicBezTo>
                <a:cubicBezTo>
                  <a:pt x="3459" y="434"/>
                  <a:pt x="3460" y="434"/>
                  <a:pt x="3461" y="435"/>
                </a:cubicBezTo>
                <a:cubicBezTo>
                  <a:pt x="3463" y="435"/>
                  <a:pt x="3464" y="435"/>
                  <a:pt x="3466" y="435"/>
                </a:cubicBezTo>
                <a:cubicBezTo>
                  <a:pt x="3467" y="435"/>
                  <a:pt x="3469" y="435"/>
                  <a:pt x="3470" y="434"/>
                </a:cubicBezTo>
                <a:cubicBezTo>
                  <a:pt x="3471" y="434"/>
                  <a:pt x="3471" y="433"/>
                  <a:pt x="3472" y="431"/>
                </a:cubicBezTo>
                <a:cubicBezTo>
                  <a:pt x="3472" y="430"/>
                  <a:pt x="3472" y="430"/>
                  <a:pt x="3472" y="429"/>
                </a:cubicBezTo>
                <a:cubicBezTo>
                  <a:pt x="3473" y="428"/>
                  <a:pt x="3473" y="428"/>
                  <a:pt x="3473" y="427"/>
                </a:cubicBezTo>
                <a:cubicBezTo>
                  <a:pt x="3473" y="426"/>
                  <a:pt x="3473" y="424"/>
                  <a:pt x="3472" y="424"/>
                </a:cubicBezTo>
                <a:cubicBezTo>
                  <a:pt x="3471" y="423"/>
                  <a:pt x="3469" y="423"/>
                  <a:pt x="3468" y="423"/>
                </a:cubicBezTo>
                <a:cubicBezTo>
                  <a:pt x="3467" y="423"/>
                  <a:pt x="3467" y="423"/>
                  <a:pt x="3466" y="423"/>
                </a:cubicBezTo>
                <a:cubicBezTo>
                  <a:pt x="3465" y="423"/>
                  <a:pt x="3465" y="422"/>
                  <a:pt x="3464" y="422"/>
                </a:cubicBezTo>
                <a:cubicBezTo>
                  <a:pt x="3463" y="422"/>
                  <a:pt x="3462" y="422"/>
                  <a:pt x="3461" y="421"/>
                </a:cubicBezTo>
                <a:cubicBezTo>
                  <a:pt x="3459" y="421"/>
                  <a:pt x="3458" y="421"/>
                  <a:pt x="3457" y="420"/>
                </a:cubicBezTo>
                <a:cubicBezTo>
                  <a:pt x="3455" y="419"/>
                  <a:pt x="3451" y="419"/>
                  <a:pt x="3449" y="420"/>
                </a:cubicBezTo>
                <a:cubicBezTo>
                  <a:pt x="3448" y="420"/>
                  <a:pt x="3447" y="421"/>
                  <a:pt x="3446" y="421"/>
                </a:cubicBezTo>
                <a:cubicBezTo>
                  <a:pt x="3445" y="422"/>
                  <a:pt x="3444" y="422"/>
                  <a:pt x="3443" y="423"/>
                </a:cubicBezTo>
                <a:cubicBezTo>
                  <a:pt x="3443" y="424"/>
                  <a:pt x="3441" y="425"/>
                  <a:pt x="3441" y="426"/>
                </a:cubicBezTo>
                <a:cubicBezTo>
                  <a:pt x="3440" y="428"/>
                  <a:pt x="3442" y="428"/>
                  <a:pt x="3443" y="428"/>
                </a:cubicBezTo>
                <a:close/>
                <a:moveTo>
                  <a:pt x="3016" y="226"/>
                </a:moveTo>
                <a:cubicBezTo>
                  <a:pt x="3018" y="227"/>
                  <a:pt x="3019" y="228"/>
                  <a:pt x="3020" y="228"/>
                </a:cubicBezTo>
                <a:cubicBezTo>
                  <a:pt x="3021" y="229"/>
                  <a:pt x="3022" y="229"/>
                  <a:pt x="3023" y="229"/>
                </a:cubicBezTo>
                <a:cubicBezTo>
                  <a:pt x="3024" y="229"/>
                  <a:pt x="3025" y="230"/>
                  <a:pt x="3026" y="230"/>
                </a:cubicBezTo>
                <a:cubicBezTo>
                  <a:pt x="3028" y="231"/>
                  <a:pt x="3030" y="231"/>
                  <a:pt x="3032" y="232"/>
                </a:cubicBezTo>
                <a:cubicBezTo>
                  <a:pt x="3034" y="234"/>
                  <a:pt x="3036" y="234"/>
                  <a:pt x="3039" y="235"/>
                </a:cubicBezTo>
                <a:cubicBezTo>
                  <a:pt x="3040" y="235"/>
                  <a:pt x="3041" y="236"/>
                  <a:pt x="3042" y="236"/>
                </a:cubicBezTo>
                <a:cubicBezTo>
                  <a:pt x="3044" y="237"/>
                  <a:pt x="3045" y="238"/>
                  <a:pt x="3046" y="238"/>
                </a:cubicBezTo>
                <a:cubicBezTo>
                  <a:pt x="3048" y="239"/>
                  <a:pt x="3050" y="239"/>
                  <a:pt x="3051" y="240"/>
                </a:cubicBezTo>
                <a:cubicBezTo>
                  <a:pt x="3053" y="241"/>
                  <a:pt x="3055" y="241"/>
                  <a:pt x="3057" y="241"/>
                </a:cubicBezTo>
                <a:cubicBezTo>
                  <a:pt x="3059" y="241"/>
                  <a:pt x="3061" y="242"/>
                  <a:pt x="3063" y="243"/>
                </a:cubicBezTo>
                <a:cubicBezTo>
                  <a:pt x="3064" y="243"/>
                  <a:pt x="3066" y="243"/>
                  <a:pt x="3068" y="243"/>
                </a:cubicBezTo>
                <a:cubicBezTo>
                  <a:pt x="3070" y="242"/>
                  <a:pt x="3072" y="242"/>
                  <a:pt x="3074" y="242"/>
                </a:cubicBezTo>
                <a:cubicBezTo>
                  <a:pt x="3076" y="242"/>
                  <a:pt x="3077" y="242"/>
                  <a:pt x="3079" y="243"/>
                </a:cubicBezTo>
                <a:cubicBezTo>
                  <a:pt x="3081" y="244"/>
                  <a:pt x="3082" y="244"/>
                  <a:pt x="3084" y="244"/>
                </a:cubicBezTo>
                <a:cubicBezTo>
                  <a:pt x="3086" y="244"/>
                  <a:pt x="3087" y="243"/>
                  <a:pt x="3088" y="242"/>
                </a:cubicBezTo>
                <a:cubicBezTo>
                  <a:pt x="3089" y="241"/>
                  <a:pt x="3091" y="240"/>
                  <a:pt x="3093" y="239"/>
                </a:cubicBezTo>
                <a:cubicBezTo>
                  <a:pt x="3095" y="239"/>
                  <a:pt x="3097" y="239"/>
                  <a:pt x="3098" y="239"/>
                </a:cubicBezTo>
                <a:cubicBezTo>
                  <a:pt x="3100" y="239"/>
                  <a:pt x="3103" y="239"/>
                  <a:pt x="3104" y="238"/>
                </a:cubicBezTo>
                <a:cubicBezTo>
                  <a:pt x="3104" y="237"/>
                  <a:pt x="3105" y="235"/>
                  <a:pt x="3105" y="234"/>
                </a:cubicBezTo>
                <a:cubicBezTo>
                  <a:pt x="3106" y="233"/>
                  <a:pt x="3106" y="232"/>
                  <a:pt x="3106" y="232"/>
                </a:cubicBezTo>
                <a:cubicBezTo>
                  <a:pt x="3106" y="230"/>
                  <a:pt x="3106" y="231"/>
                  <a:pt x="3107" y="230"/>
                </a:cubicBezTo>
                <a:cubicBezTo>
                  <a:pt x="3108" y="230"/>
                  <a:pt x="3109" y="230"/>
                  <a:pt x="3108" y="229"/>
                </a:cubicBezTo>
                <a:cubicBezTo>
                  <a:pt x="3108" y="228"/>
                  <a:pt x="3107" y="229"/>
                  <a:pt x="3106" y="229"/>
                </a:cubicBezTo>
                <a:cubicBezTo>
                  <a:pt x="3105" y="228"/>
                  <a:pt x="3103" y="229"/>
                  <a:pt x="3102" y="229"/>
                </a:cubicBezTo>
                <a:cubicBezTo>
                  <a:pt x="3100" y="229"/>
                  <a:pt x="3099" y="229"/>
                  <a:pt x="3097" y="228"/>
                </a:cubicBezTo>
                <a:cubicBezTo>
                  <a:pt x="3095" y="228"/>
                  <a:pt x="3095" y="227"/>
                  <a:pt x="3094" y="226"/>
                </a:cubicBezTo>
                <a:cubicBezTo>
                  <a:pt x="3093" y="225"/>
                  <a:pt x="3091" y="224"/>
                  <a:pt x="3090" y="224"/>
                </a:cubicBezTo>
                <a:cubicBezTo>
                  <a:pt x="3089" y="224"/>
                  <a:pt x="3088" y="224"/>
                  <a:pt x="3087" y="224"/>
                </a:cubicBezTo>
                <a:cubicBezTo>
                  <a:pt x="3086" y="224"/>
                  <a:pt x="3085" y="224"/>
                  <a:pt x="3084" y="224"/>
                </a:cubicBezTo>
                <a:cubicBezTo>
                  <a:pt x="3082" y="224"/>
                  <a:pt x="3080" y="223"/>
                  <a:pt x="3079" y="222"/>
                </a:cubicBezTo>
                <a:cubicBezTo>
                  <a:pt x="3078" y="222"/>
                  <a:pt x="3077" y="222"/>
                  <a:pt x="3076" y="222"/>
                </a:cubicBezTo>
                <a:cubicBezTo>
                  <a:pt x="3075" y="223"/>
                  <a:pt x="3074" y="223"/>
                  <a:pt x="3074" y="224"/>
                </a:cubicBezTo>
                <a:cubicBezTo>
                  <a:pt x="3073" y="224"/>
                  <a:pt x="3072" y="224"/>
                  <a:pt x="3072" y="224"/>
                </a:cubicBezTo>
                <a:cubicBezTo>
                  <a:pt x="3071" y="224"/>
                  <a:pt x="3070" y="224"/>
                  <a:pt x="3069" y="225"/>
                </a:cubicBezTo>
                <a:cubicBezTo>
                  <a:pt x="3068" y="225"/>
                  <a:pt x="3068" y="225"/>
                  <a:pt x="3067" y="225"/>
                </a:cubicBezTo>
                <a:cubicBezTo>
                  <a:pt x="3066" y="225"/>
                  <a:pt x="3064" y="225"/>
                  <a:pt x="3063" y="225"/>
                </a:cubicBezTo>
                <a:cubicBezTo>
                  <a:pt x="3062" y="225"/>
                  <a:pt x="3062" y="224"/>
                  <a:pt x="3062" y="224"/>
                </a:cubicBezTo>
                <a:cubicBezTo>
                  <a:pt x="3061" y="223"/>
                  <a:pt x="3061" y="223"/>
                  <a:pt x="3061" y="222"/>
                </a:cubicBezTo>
                <a:cubicBezTo>
                  <a:pt x="3061" y="222"/>
                  <a:pt x="3062" y="221"/>
                  <a:pt x="3062" y="221"/>
                </a:cubicBezTo>
                <a:cubicBezTo>
                  <a:pt x="3064" y="217"/>
                  <a:pt x="3057" y="217"/>
                  <a:pt x="3055" y="217"/>
                </a:cubicBezTo>
                <a:cubicBezTo>
                  <a:pt x="3054" y="217"/>
                  <a:pt x="3052" y="218"/>
                  <a:pt x="3050" y="217"/>
                </a:cubicBezTo>
                <a:cubicBezTo>
                  <a:pt x="3049" y="217"/>
                  <a:pt x="3048" y="218"/>
                  <a:pt x="3047" y="217"/>
                </a:cubicBezTo>
                <a:cubicBezTo>
                  <a:pt x="3046" y="217"/>
                  <a:pt x="3046" y="217"/>
                  <a:pt x="3045" y="216"/>
                </a:cubicBezTo>
                <a:cubicBezTo>
                  <a:pt x="3043" y="215"/>
                  <a:pt x="3042" y="216"/>
                  <a:pt x="3040" y="217"/>
                </a:cubicBezTo>
                <a:cubicBezTo>
                  <a:pt x="3038" y="218"/>
                  <a:pt x="3036" y="219"/>
                  <a:pt x="3035" y="220"/>
                </a:cubicBezTo>
                <a:cubicBezTo>
                  <a:pt x="3034" y="221"/>
                  <a:pt x="3032" y="221"/>
                  <a:pt x="3031" y="221"/>
                </a:cubicBezTo>
                <a:cubicBezTo>
                  <a:pt x="3029" y="220"/>
                  <a:pt x="3028" y="220"/>
                  <a:pt x="3027" y="219"/>
                </a:cubicBezTo>
                <a:cubicBezTo>
                  <a:pt x="3026" y="219"/>
                  <a:pt x="3025" y="218"/>
                  <a:pt x="3025" y="217"/>
                </a:cubicBezTo>
                <a:cubicBezTo>
                  <a:pt x="3025" y="216"/>
                  <a:pt x="3026" y="216"/>
                  <a:pt x="3026" y="215"/>
                </a:cubicBezTo>
                <a:cubicBezTo>
                  <a:pt x="3027" y="215"/>
                  <a:pt x="3026" y="214"/>
                  <a:pt x="3026" y="213"/>
                </a:cubicBezTo>
                <a:cubicBezTo>
                  <a:pt x="3025" y="213"/>
                  <a:pt x="3025" y="212"/>
                  <a:pt x="3024" y="211"/>
                </a:cubicBezTo>
                <a:cubicBezTo>
                  <a:pt x="3024" y="210"/>
                  <a:pt x="3022" y="209"/>
                  <a:pt x="3021" y="210"/>
                </a:cubicBezTo>
                <a:cubicBezTo>
                  <a:pt x="3020" y="211"/>
                  <a:pt x="3020" y="213"/>
                  <a:pt x="3019" y="214"/>
                </a:cubicBezTo>
                <a:cubicBezTo>
                  <a:pt x="3019" y="215"/>
                  <a:pt x="3019" y="216"/>
                  <a:pt x="3018" y="216"/>
                </a:cubicBezTo>
                <a:cubicBezTo>
                  <a:pt x="3017" y="216"/>
                  <a:pt x="3017" y="217"/>
                  <a:pt x="3017" y="217"/>
                </a:cubicBezTo>
                <a:cubicBezTo>
                  <a:pt x="3016" y="219"/>
                  <a:pt x="3015" y="221"/>
                  <a:pt x="3015" y="222"/>
                </a:cubicBezTo>
                <a:cubicBezTo>
                  <a:pt x="3015" y="224"/>
                  <a:pt x="3014" y="223"/>
                  <a:pt x="3013" y="224"/>
                </a:cubicBezTo>
                <a:cubicBezTo>
                  <a:pt x="3013" y="225"/>
                  <a:pt x="3015" y="226"/>
                  <a:pt x="3016" y="226"/>
                </a:cubicBezTo>
                <a:close/>
                <a:moveTo>
                  <a:pt x="2042" y="18"/>
                </a:moveTo>
                <a:cubicBezTo>
                  <a:pt x="2041" y="19"/>
                  <a:pt x="2039" y="18"/>
                  <a:pt x="2038" y="18"/>
                </a:cubicBezTo>
                <a:cubicBezTo>
                  <a:pt x="2036" y="19"/>
                  <a:pt x="2036" y="20"/>
                  <a:pt x="2034" y="19"/>
                </a:cubicBezTo>
                <a:cubicBezTo>
                  <a:pt x="2033" y="19"/>
                  <a:pt x="2033" y="19"/>
                  <a:pt x="2032" y="19"/>
                </a:cubicBezTo>
                <a:cubicBezTo>
                  <a:pt x="2031" y="19"/>
                  <a:pt x="2031" y="19"/>
                  <a:pt x="2030" y="20"/>
                </a:cubicBezTo>
                <a:cubicBezTo>
                  <a:pt x="2029" y="20"/>
                  <a:pt x="2028" y="19"/>
                  <a:pt x="2026" y="19"/>
                </a:cubicBezTo>
                <a:cubicBezTo>
                  <a:pt x="2025" y="19"/>
                  <a:pt x="2023" y="19"/>
                  <a:pt x="2022" y="19"/>
                </a:cubicBezTo>
                <a:cubicBezTo>
                  <a:pt x="2020" y="19"/>
                  <a:pt x="2019" y="19"/>
                  <a:pt x="2017" y="19"/>
                </a:cubicBezTo>
                <a:cubicBezTo>
                  <a:pt x="2016" y="19"/>
                  <a:pt x="2015" y="20"/>
                  <a:pt x="2014" y="21"/>
                </a:cubicBezTo>
                <a:cubicBezTo>
                  <a:pt x="2013" y="21"/>
                  <a:pt x="2013" y="23"/>
                  <a:pt x="2011" y="22"/>
                </a:cubicBezTo>
                <a:cubicBezTo>
                  <a:pt x="2010" y="22"/>
                  <a:pt x="2009" y="20"/>
                  <a:pt x="2008" y="20"/>
                </a:cubicBezTo>
                <a:cubicBezTo>
                  <a:pt x="2006" y="20"/>
                  <a:pt x="2005" y="20"/>
                  <a:pt x="2004" y="21"/>
                </a:cubicBezTo>
                <a:cubicBezTo>
                  <a:pt x="2003" y="22"/>
                  <a:pt x="2003" y="22"/>
                  <a:pt x="2002" y="23"/>
                </a:cubicBezTo>
                <a:cubicBezTo>
                  <a:pt x="2002" y="23"/>
                  <a:pt x="2001" y="24"/>
                  <a:pt x="2001" y="24"/>
                </a:cubicBezTo>
                <a:cubicBezTo>
                  <a:pt x="1999" y="25"/>
                  <a:pt x="1998" y="25"/>
                  <a:pt x="1997" y="25"/>
                </a:cubicBezTo>
                <a:cubicBezTo>
                  <a:pt x="1996" y="25"/>
                  <a:pt x="1995" y="25"/>
                  <a:pt x="1995" y="25"/>
                </a:cubicBezTo>
                <a:cubicBezTo>
                  <a:pt x="1994" y="25"/>
                  <a:pt x="1994" y="26"/>
                  <a:pt x="1994" y="26"/>
                </a:cubicBezTo>
                <a:cubicBezTo>
                  <a:pt x="1993" y="27"/>
                  <a:pt x="1992" y="27"/>
                  <a:pt x="1992" y="28"/>
                </a:cubicBezTo>
                <a:cubicBezTo>
                  <a:pt x="1992" y="29"/>
                  <a:pt x="1993" y="29"/>
                  <a:pt x="1994" y="29"/>
                </a:cubicBezTo>
                <a:cubicBezTo>
                  <a:pt x="1994" y="30"/>
                  <a:pt x="1994" y="30"/>
                  <a:pt x="1995" y="31"/>
                </a:cubicBezTo>
                <a:cubicBezTo>
                  <a:pt x="1995" y="31"/>
                  <a:pt x="1996" y="31"/>
                  <a:pt x="1996" y="32"/>
                </a:cubicBezTo>
                <a:cubicBezTo>
                  <a:pt x="1997" y="33"/>
                  <a:pt x="1996" y="33"/>
                  <a:pt x="1995" y="33"/>
                </a:cubicBezTo>
                <a:cubicBezTo>
                  <a:pt x="1995" y="33"/>
                  <a:pt x="1994" y="33"/>
                  <a:pt x="1993" y="33"/>
                </a:cubicBezTo>
                <a:cubicBezTo>
                  <a:pt x="1992" y="33"/>
                  <a:pt x="1992" y="34"/>
                  <a:pt x="1991" y="34"/>
                </a:cubicBezTo>
                <a:cubicBezTo>
                  <a:pt x="1990" y="34"/>
                  <a:pt x="1990" y="34"/>
                  <a:pt x="1989" y="35"/>
                </a:cubicBezTo>
                <a:cubicBezTo>
                  <a:pt x="1988" y="35"/>
                  <a:pt x="1987" y="36"/>
                  <a:pt x="1986" y="36"/>
                </a:cubicBezTo>
                <a:cubicBezTo>
                  <a:pt x="1984" y="37"/>
                  <a:pt x="1983" y="38"/>
                  <a:pt x="1982" y="39"/>
                </a:cubicBezTo>
                <a:cubicBezTo>
                  <a:pt x="1979" y="41"/>
                  <a:pt x="1977" y="43"/>
                  <a:pt x="1974" y="44"/>
                </a:cubicBezTo>
                <a:cubicBezTo>
                  <a:pt x="1972" y="44"/>
                  <a:pt x="1971" y="44"/>
                  <a:pt x="1969" y="44"/>
                </a:cubicBezTo>
                <a:cubicBezTo>
                  <a:pt x="1969" y="44"/>
                  <a:pt x="1966" y="42"/>
                  <a:pt x="1966" y="43"/>
                </a:cubicBezTo>
                <a:cubicBezTo>
                  <a:pt x="1964" y="44"/>
                  <a:pt x="1968" y="45"/>
                  <a:pt x="1968" y="45"/>
                </a:cubicBezTo>
                <a:cubicBezTo>
                  <a:pt x="1969" y="46"/>
                  <a:pt x="1969" y="47"/>
                  <a:pt x="1969" y="47"/>
                </a:cubicBezTo>
                <a:cubicBezTo>
                  <a:pt x="1970" y="48"/>
                  <a:pt x="1970" y="48"/>
                  <a:pt x="1971" y="48"/>
                </a:cubicBezTo>
                <a:cubicBezTo>
                  <a:pt x="1972" y="49"/>
                  <a:pt x="1972" y="49"/>
                  <a:pt x="1972" y="49"/>
                </a:cubicBezTo>
                <a:cubicBezTo>
                  <a:pt x="1973" y="48"/>
                  <a:pt x="1974" y="48"/>
                  <a:pt x="1974" y="47"/>
                </a:cubicBezTo>
                <a:cubicBezTo>
                  <a:pt x="1975" y="46"/>
                  <a:pt x="1976" y="45"/>
                  <a:pt x="1978" y="44"/>
                </a:cubicBezTo>
                <a:cubicBezTo>
                  <a:pt x="1978" y="44"/>
                  <a:pt x="1979" y="44"/>
                  <a:pt x="1979" y="43"/>
                </a:cubicBezTo>
                <a:cubicBezTo>
                  <a:pt x="1980" y="43"/>
                  <a:pt x="1981" y="42"/>
                  <a:pt x="1981" y="42"/>
                </a:cubicBezTo>
                <a:cubicBezTo>
                  <a:pt x="1982" y="42"/>
                  <a:pt x="1983" y="42"/>
                  <a:pt x="1983" y="43"/>
                </a:cubicBezTo>
                <a:cubicBezTo>
                  <a:pt x="1983" y="43"/>
                  <a:pt x="1984" y="43"/>
                  <a:pt x="1984" y="44"/>
                </a:cubicBezTo>
                <a:cubicBezTo>
                  <a:pt x="1984" y="44"/>
                  <a:pt x="1984" y="44"/>
                  <a:pt x="1984" y="45"/>
                </a:cubicBezTo>
                <a:cubicBezTo>
                  <a:pt x="1984" y="45"/>
                  <a:pt x="1986" y="46"/>
                  <a:pt x="1986" y="47"/>
                </a:cubicBezTo>
                <a:cubicBezTo>
                  <a:pt x="1985" y="48"/>
                  <a:pt x="1983" y="46"/>
                  <a:pt x="1983" y="48"/>
                </a:cubicBezTo>
                <a:cubicBezTo>
                  <a:pt x="1982" y="49"/>
                  <a:pt x="1985" y="48"/>
                  <a:pt x="1986" y="49"/>
                </a:cubicBezTo>
                <a:cubicBezTo>
                  <a:pt x="1986" y="49"/>
                  <a:pt x="1987" y="49"/>
                  <a:pt x="1988" y="49"/>
                </a:cubicBezTo>
                <a:cubicBezTo>
                  <a:pt x="1988" y="49"/>
                  <a:pt x="1989" y="50"/>
                  <a:pt x="1990" y="49"/>
                </a:cubicBezTo>
                <a:cubicBezTo>
                  <a:pt x="1991" y="49"/>
                  <a:pt x="1992" y="49"/>
                  <a:pt x="1993" y="49"/>
                </a:cubicBezTo>
                <a:cubicBezTo>
                  <a:pt x="1994" y="49"/>
                  <a:pt x="1994" y="50"/>
                  <a:pt x="1994" y="51"/>
                </a:cubicBezTo>
                <a:cubicBezTo>
                  <a:pt x="1994" y="51"/>
                  <a:pt x="1993" y="51"/>
                  <a:pt x="1993" y="52"/>
                </a:cubicBezTo>
                <a:cubicBezTo>
                  <a:pt x="1993" y="52"/>
                  <a:pt x="1994" y="53"/>
                  <a:pt x="1994" y="53"/>
                </a:cubicBezTo>
                <a:cubicBezTo>
                  <a:pt x="1994" y="54"/>
                  <a:pt x="1994" y="55"/>
                  <a:pt x="1994" y="56"/>
                </a:cubicBezTo>
                <a:cubicBezTo>
                  <a:pt x="1994" y="57"/>
                  <a:pt x="1994" y="58"/>
                  <a:pt x="1995" y="58"/>
                </a:cubicBezTo>
                <a:cubicBezTo>
                  <a:pt x="1996" y="59"/>
                  <a:pt x="1997" y="58"/>
                  <a:pt x="1997" y="58"/>
                </a:cubicBezTo>
                <a:cubicBezTo>
                  <a:pt x="1998" y="58"/>
                  <a:pt x="1999" y="58"/>
                  <a:pt x="1999" y="58"/>
                </a:cubicBezTo>
                <a:cubicBezTo>
                  <a:pt x="2000" y="59"/>
                  <a:pt x="2000" y="60"/>
                  <a:pt x="2000" y="60"/>
                </a:cubicBezTo>
                <a:cubicBezTo>
                  <a:pt x="2000" y="61"/>
                  <a:pt x="1999" y="62"/>
                  <a:pt x="2000" y="63"/>
                </a:cubicBezTo>
                <a:cubicBezTo>
                  <a:pt x="2000" y="63"/>
                  <a:pt x="2001" y="64"/>
                  <a:pt x="2002" y="64"/>
                </a:cubicBezTo>
                <a:cubicBezTo>
                  <a:pt x="2003" y="64"/>
                  <a:pt x="2003" y="64"/>
                  <a:pt x="2004" y="65"/>
                </a:cubicBezTo>
                <a:cubicBezTo>
                  <a:pt x="2005" y="65"/>
                  <a:pt x="2005" y="65"/>
                  <a:pt x="2006" y="66"/>
                </a:cubicBezTo>
                <a:cubicBezTo>
                  <a:pt x="2007" y="66"/>
                  <a:pt x="2008" y="66"/>
                  <a:pt x="2008" y="66"/>
                </a:cubicBezTo>
                <a:cubicBezTo>
                  <a:pt x="2009" y="66"/>
                  <a:pt x="2010" y="66"/>
                  <a:pt x="2010" y="67"/>
                </a:cubicBezTo>
                <a:cubicBezTo>
                  <a:pt x="2012" y="67"/>
                  <a:pt x="2013" y="66"/>
                  <a:pt x="2014" y="66"/>
                </a:cubicBezTo>
                <a:cubicBezTo>
                  <a:pt x="2016" y="66"/>
                  <a:pt x="2017" y="65"/>
                  <a:pt x="2018" y="65"/>
                </a:cubicBezTo>
                <a:cubicBezTo>
                  <a:pt x="2020" y="65"/>
                  <a:pt x="2019" y="67"/>
                  <a:pt x="2021" y="68"/>
                </a:cubicBezTo>
                <a:cubicBezTo>
                  <a:pt x="2022" y="68"/>
                  <a:pt x="2022" y="68"/>
                  <a:pt x="2023" y="68"/>
                </a:cubicBezTo>
                <a:cubicBezTo>
                  <a:pt x="2024" y="68"/>
                  <a:pt x="2024" y="69"/>
                  <a:pt x="2025" y="69"/>
                </a:cubicBezTo>
                <a:cubicBezTo>
                  <a:pt x="2026" y="69"/>
                  <a:pt x="2028" y="68"/>
                  <a:pt x="2029" y="68"/>
                </a:cubicBezTo>
                <a:cubicBezTo>
                  <a:pt x="2031" y="67"/>
                  <a:pt x="2032" y="66"/>
                  <a:pt x="2033" y="68"/>
                </a:cubicBezTo>
                <a:cubicBezTo>
                  <a:pt x="2034" y="69"/>
                  <a:pt x="2036" y="69"/>
                  <a:pt x="2037" y="69"/>
                </a:cubicBezTo>
                <a:cubicBezTo>
                  <a:pt x="2039" y="68"/>
                  <a:pt x="2041" y="68"/>
                  <a:pt x="2042" y="69"/>
                </a:cubicBezTo>
                <a:cubicBezTo>
                  <a:pt x="2043" y="70"/>
                  <a:pt x="2044" y="71"/>
                  <a:pt x="2045" y="72"/>
                </a:cubicBezTo>
                <a:cubicBezTo>
                  <a:pt x="2047" y="72"/>
                  <a:pt x="2048" y="71"/>
                  <a:pt x="2049" y="73"/>
                </a:cubicBezTo>
                <a:cubicBezTo>
                  <a:pt x="2050" y="74"/>
                  <a:pt x="2051" y="74"/>
                  <a:pt x="2052" y="74"/>
                </a:cubicBezTo>
                <a:cubicBezTo>
                  <a:pt x="2053" y="74"/>
                  <a:pt x="2054" y="74"/>
                  <a:pt x="2055" y="74"/>
                </a:cubicBezTo>
                <a:cubicBezTo>
                  <a:pt x="2055" y="75"/>
                  <a:pt x="2056" y="75"/>
                  <a:pt x="2056" y="76"/>
                </a:cubicBezTo>
                <a:cubicBezTo>
                  <a:pt x="2058" y="76"/>
                  <a:pt x="2059" y="76"/>
                  <a:pt x="2061" y="76"/>
                </a:cubicBezTo>
                <a:cubicBezTo>
                  <a:pt x="2063" y="77"/>
                  <a:pt x="2064" y="77"/>
                  <a:pt x="2066" y="77"/>
                </a:cubicBezTo>
                <a:cubicBezTo>
                  <a:pt x="2067" y="77"/>
                  <a:pt x="2069" y="77"/>
                  <a:pt x="2070" y="78"/>
                </a:cubicBezTo>
                <a:cubicBezTo>
                  <a:pt x="2071" y="78"/>
                  <a:pt x="2073" y="78"/>
                  <a:pt x="2074" y="78"/>
                </a:cubicBezTo>
                <a:cubicBezTo>
                  <a:pt x="2076" y="78"/>
                  <a:pt x="2078" y="78"/>
                  <a:pt x="2080" y="78"/>
                </a:cubicBezTo>
                <a:cubicBezTo>
                  <a:pt x="2082" y="78"/>
                  <a:pt x="2083" y="77"/>
                  <a:pt x="2085" y="77"/>
                </a:cubicBezTo>
                <a:cubicBezTo>
                  <a:pt x="2088" y="77"/>
                  <a:pt x="2091" y="76"/>
                  <a:pt x="2094" y="76"/>
                </a:cubicBezTo>
                <a:cubicBezTo>
                  <a:pt x="2096" y="75"/>
                  <a:pt x="2099" y="74"/>
                  <a:pt x="2101" y="73"/>
                </a:cubicBezTo>
                <a:cubicBezTo>
                  <a:pt x="2103" y="72"/>
                  <a:pt x="2105" y="70"/>
                  <a:pt x="2105" y="68"/>
                </a:cubicBezTo>
                <a:cubicBezTo>
                  <a:pt x="2105" y="67"/>
                  <a:pt x="2104" y="67"/>
                  <a:pt x="2104" y="66"/>
                </a:cubicBezTo>
                <a:cubicBezTo>
                  <a:pt x="2103" y="65"/>
                  <a:pt x="2103" y="64"/>
                  <a:pt x="2102" y="64"/>
                </a:cubicBezTo>
                <a:cubicBezTo>
                  <a:pt x="2101" y="63"/>
                  <a:pt x="2099" y="62"/>
                  <a:pt x="2098" y="62"/>
                </a:cubicBezTo>
                <a:cubicBezTo>
                  <a:pt x="2095" y="61"/>
                  <a:pt x="2093" y="60"/>
                  <a:pt x="2091" y="58"/>
                </a:cubicBezTo>
                <a:cubicBezTo>
                  <a:pt x="2090" y="57"/>
                  <a:pt x="2090" y="57"/>
                  <a:pt x="2090" y="56"/>
                </a:cubicBezTo>
                <a:cubicBezTo>
                  <a:pt x="2090" y="55"/>
                  <a:pt x="2091" y="55"/>
                  <a:pt x="2092" y="55"/>
                </a:cubicBezTo>
                <a:cubicBezTo>
                  <a:pt x="2093" y="56"/>
                  <a:pt x="2094" y="57"/>
                  <a:pt x="2095" y="57"/>
                </a:cubicBezTo>
                <a:cubicBezTo>
                  <a:pt x="2097" y="58"/>
                  <a:pt x="2097" y="56"/>
                  <a:pt x="2098" y="55"/>
                </a:cubicBezTo>
                <a:cubicBezTo>
                  <a:pt x="2099" y="54"/>
                  <a:pt x="2101" y="54"/>
                  <a:pt x="2101" y="52"/>
                </a:cubicBezTo>
                <a:cubicBezTo>
                  <a:pt x="2101" y="51"/>
                  <a:pt x="2101" y="50"/>
                  <a:pt x="2101" y="49"/>
                </a:cubicBezTo>
                <a:cubicBezTo>
                  <a:pt x="2100" y="49"/>
                  <a:pt x="2100" y="48"/>
                  <a:pt x="2100" y="47"/>
                </a:cubicBezTo>
                <a:cubicBezTo>
                  <a:pt x="2101" y="46"/>
                  <a:pt x="2101" y="46"/>
                  <a:pt x="2102" y="45"/>
                </a:cubicBezTo>
                <a:cubicBezTo>
                  <a:pt x="2102" y="45"/>
                  <a:pt x="2102" y="44"/>
                  <a:pt x="2102" y="43"/>
                </a:cubicBezTo>
                <a:cubicBezTo>
                  <a:pt x="2102" y="42"/>
                  <a:pt x="2101" y="41"/>
                  <a:pt x="2102" y="39"/>
                </a:cubicBezTo>
                <a:cubicBezTo>
                  <a:pt x="2103" y="39"/>
                  <a:pt x="2104" y="38"/>
                  <a:pt x="2104" y="37"/>
                </a:cubicBezTo>
                <a:cubicBezTo>
                  <a:pt x="2104" y="37"/>
                  <a:pt x="2104" y="36"/>
                  <a:pt x="2104" y="36"/>
                </a:cubicBezTo>
                <a:cubicBezTo>
                  <a:pt x="2105" y="35"/>
                  <a:pt x="2106" y="35"/>
                  <a:pt x="2107" y="34"/>
                </a:cubicBezTo>
                <a:cubicBezTo>
                  <a:pt x="2107" y="32"/>
                  <a:pt x="2105" y="31"/>
                  <a:pt x="2104" y="30"/>
                </a:cubicBezTo>
                <a:cubicBezTo>
                  <a:pt x="2103" y="29"/>
                  <a:pt x="2102" y="29"/>
                  <a:pt x="2101" y="28"/>
                </a:cubicBezTo>
                <a:cubicBezTo>
                  <a:pt x="2100" y="28"/>
                  <a:pt x="2099" y="27"/>
                  <a:pt x="2099" y="27"/>
                </a:cubicBezTo>
                <a:cubicBezTo>
                  <a:pt x="2098" y="27"/>
                  <a:pt x="2098" y="26"/>
                  <a:pt x="2097" y="25"/>
                </a:cubicBezTo>
                <a:cubicBezTo>
                  <a:pt x="2097" y="25"/>
                  <a:pt x="2096" y="25"/>
                  <a:pt x="2095" y="25"/>
                </a:cubicBezTo>
                <a:cubicBezTo>
                  <a:pt x="2095" y="24"/>
                  <a:pt x="2094" y="24"/>
                  <a:pt x="2094" y="24"/>
                </a:cubicBezTo>
                <a:cubicBezTo>
                  <a:pt x="2091" y="21"/>
                  <a:pt x="2089" y="22"/>
                  <a:pt x="2086" y="23"/>
                </a:cubicBezTo>
                <a:cubicBezTo>
                  <a:pt x="2084" y="24"/>
                  <a:pt x="2082" y="23"/>
                  <a:pt x="2080" y="24"/>
                </a:cubicBezTo>
                <a:cubicBezTo>
                  <a:pt x="2078" y="24"/>
                  <a:pt x="2076" y="26"/>
                  <a:pt x="2074" y="26"/>
                </a:cubicBezTo>
                <a:cubicBezTo>
                  <a:pt x="2072" y="26"/>
                  <a:pt x="2070" y="26"/>
                  <a:pt x="2068" y="27"/>
                </a:cubicBezTo>
                <a:cubicBezTo>
                  <a:pt x="2068" y="27"/>
                  <a:pt x="2067" y="28"/>
                  <a:pt x="2067" y="28"/>
                </a:cubicBezTo>
                <a:cubicBezTo>
                  <a:pt x="2066" y="29"/>
                  <a:pt x="2065" y="29"/>
                  <a:pt x="2064" y="30"/>
                </a:cubicBezTo>
                <a:cubicBezTo>
                  <a:pt x="2062" y="32"/>
                  <a:pt x="2060" y="36"/>
                  <a:pt x="2056" y="36"/>
                </a:cubicBezTo>
                <a:cubicBezTo>
                  <a:pt x="2055" y="36"/>
                  <a:pt x="2053" y="37"/>
                  <a:pt x="2053" y="35"/>
                </a:cubicBezTo>
                <a:cubicBezTo>
                  <a:pt x="2053" y="34"/>
                  <a:pt x="2055" y="33"/>
                  <a:pt x="2056" y="32"/>
                </a:cubicBezTo>
                <a:cubicBezTo>
                  <a:pt x="2057" y="31"/>
                  <a:pt x="2057" y="29"/>
                  <a:pt x="2059" y="28"/>
                </a:cubicBezTo>
                <a:cubicBezTo>
                  <a:pt x="2060" y="27"/>
                  <a:pt x="2061" y="27"/>
                  <a:pt x="2062" y="26"/>
                </a:cubicBezTo>
                <a:cubicBezTo>
                  <a:pt x="2063" y="25"/>
                  <a:pt x="2064" y="24"/>
                  <a:pt x="2065" y="24"/>
                </a:cubicBezTo>
                <a:cubicBezTo>
                  <a:pt x="2065" y="23"/>
                  <a:pt x="2069" y="22"/>
                  <a:pt x="2067" y="20"/>
                </a:cubicBezTo>
                <a:cubicBezTo>
                  <a:pt x="2067" y="20"/>
                  <a:pt x="2066" y="20"/>
                  <a:pt x="2065" y="20"/>
                </a:cubicBezTo>
                <a:cubicBezTo>
                  <a:pt x="2065" y="19"/>
                  <a:pt x="2064" y="19"/>
                  <a:pt x="2064" y="19"/>
                </a:cubicBezTo>
                <a:cubicBezTo>
                  <a:pt x="2063" y="18"/>
                  <a:pt x="2062" y="17"/>
                  <a:pt x="2061" y="17"/>
                </a:cubicBezTo>
                <a:cubicBezTo>
                  <a:pt x="2058" y="17"/>
                  <a:pt x="2056" y="16"/>
                  <a:pt x="2053" y="16"/>
                </a:cubicBezTo>
                <a:cubicBezTo>
                  <a:pt x="2051" y="16"/>
                  <a:pt x="2050" y="16"/>
                  <a:pt x="2048" y="16"/>
                </a:cubicBezTo>
                <a:cubicBezTo>
                  <a:pt x="2046" y="17"/>
                  <a:pt x="2044" y="18"/>
                  <a:pt x="2042" y="18"/>
                </a:cubicBezTo>
                <a:close/>
                <a:moveTo>
                  <a:pt x="2102" y="100"/>
                </a:moveTo>
                <a:cubicBezTo>
                  <a:pt x="2101" y="100"/>
                  <a:pt x="2101" y="101"/>
                  <a:pt x="2100" y="102"/>
                </a:cubicBezTo>
                <a:cubicBezTo>
                  <a:pt x="2099" y="103"/>
                  <a:pt x="2097" y="103"/>
                  <a:pt x="2096" y="105"/>
                </a:cubicBezTo>
                <a:cubicBezTo>
                  <a:pt x="2096" y="106"/>
                  <a:pt x="2094" y="107"/>
                  <a:pt x="2094" y="109"/>
                </a:cubicBezTo>
                <a:cubicBezTo>
                  <a:pt x="2093" y="111"/>
                  <a:pt x="2095" y="111"/>
                  <a:pt x="2096" y="111"/>
                </a:cubicBezTo>
                <a:cubicBezTo>
                  <a:pt x="2097" y="112"/>
                  <a:pt x="2098" y="113"/>
                  <a:pt x="2099" y="113"/>
                </a:cubicBezTo>
                <a:cubicBezTo>
                  <a:pt x="2101" y="114"/>
                  <a:pt x="2102" y="113"/>
                  <a:pt x="2104" y="113"/>
                </a:cubicBezTo>
                <a:cubicBezTo>
                  <a:pt x="2105" y="113"/>
                  <a:pt x="2106" y="112"/>
                  <a:pt x="2108" y="112"/>
                </a:cubicBezTo>
                <a:cubicBezTo>
                  <a:pt x="2109" y="111"/>
                  <a:pt x="2111" y="111"/>
                  <a:pt x="2112" y="110"/>
                </a:cubicBezTo>
                <a:cubicBezTo>
                  <a:pt x="2114" y="110"/>
                  <a:pt x="2115" y="109"/>
                  <a:pt x="2116" y="108"/>
                </a:cubicBezTo>
                <a:cubicBezTo>
                  <a:pt x="2119" y="107"/>
                  <a:pt x="2122" y="107"/>
                  <a:pt x="2125" y="106"/>
                </a:cubicBezTo>
                <a:cubicBezTo>
                  <a:pt x="2128" y="104"/>
                  <a:pt x="2130" y="102"/>
                  <a:pt x="2134" y="102"/>
                </a:cubicBezTo>
                <a:cubicBezTo>
                  <a:pt x="2134" y="102"/>
                  <a:pt x="2135" y="102"/>
                  <a:pt x="2136" y="102"/>
                </a:cubicBezTo>
                <a:cubicBezTo>
                  <a:pt x="2137" y="102"/>
                  <a:pt x="2137" y="103"/>
                  <a:pt x="2138" y="103"/>
                </a:cubicBezTo>
                <a:cubicBezTo>
                  <a:pt x="2140" y="103"/>
                  <a:pt x="2141" y="102"/>
                  <a:pt x="2142" y="102"/>
                </a:cubicBezTo>
                <a:cubicBezTo>
                  <a:pt x="2143" y="102"/>
                  <a:pt x="2144" y="103"/>
                  <a:pt x="2145" y="103"/>
                </a:cubicBezTo>
                <a:cubicBezTo>
                  <a:pt x="2146" y="103"/>
                  <a:pt x="2147" y="103"/>
                  <a:pt x="2148" y="102"/>
                </a:cubicBezTo>
                <a:cubicBezTo>
                  <a:pt x="2149" y="102"/>
                  <a:pt x="2150" y="102"/>
                  <a:pt x="2152" y="102"/>
                </a:cubicBezTo>
                <a:cubicBezTo>
                  <a:pt x="2154" y="102"/>
                  <a:pt x="2159" y="102"/>
                  <a:pt x="2160" y="104"/>
                </a:cubicBezTo>
                <a:cubicBezTo>
                  <a:pt x="2161" y="104"/>
                  <a:pt x="2162" y="104"/>
                  <a:pt x="2162" y="103"/>
                </a:cubicBezTo>
                <a:cubicBezTo>
                  <a:pt x="2164" y="102"/>
                  <a:pt x="2165" y="100"/>
                  <a:pt x="2167" y="100"/>
                </a:cubicBezTo>
                <a:cubicBezTo>
                  <a:pt x="2168" y="100"/>
                  <a:pt x="2169" y="101"/>
                  <a:pt x="2171" y="101"/>
                </a:cubicBezTo>
                <a:cubicBezTo>
                  <a:pt x="2172" y="101"/>
                  <a:pt x="2174" y="100"/>
                  <a:pt x="2175" y="99"/>
                </a:cubicBezTo>
                <a:cubicBezTo>
                  <a:pt x="2177" y="99"/>
                  <a:pt x="2179" y="99"/>
                  <a:pt x="2181" y="99"/>
                </a:cubicBezTo>
                <a:cubicBezTo>
                  <a:pt x="2182" y="99"/>
                  <a:pt x="2185" y="100"/>
                  <a:pt x="2186" y="99"/>
                </a:cubicBezTo>
                <a:cubicBezTo>
                  <a:pt x="2187" y="99"/>
                  <a:pt x="2188" y="98"/>
                  <a:pt x="2189" y="97"/>
                </a:cubicBezTo>
                <a:cubicBezTo>
                  <a:pt x="2190" y="97"/>
                  <a:pt x="2190" y="97"/>
                  <a:pt x="2191" y="97"/>
                </a:cubicBezTo>
                <a:cubicBezTo>
                  <a:pt x="2193" y="97"/>
                  <a:pt x="2196" y="95"/>
                  <a:pt x="2197" y="96"/>
                </a:cubicBezTo>
                <a:cubicBezTo>
                  <a:pt x="2199" y="96"/>
                  <a:pt x="2200" y="97"/>
                  <a:pt x="2201" y="97"/>
                </a:cubicBezTo>
                <a:cubicBezTo>
                  <a:pt x="2203" y="97"/>
                  <a:pt x="2204" y="96"/>
                  <a:pt x="2205" y="96"/>
                </a:cubicBezTo>
                <a:cubicBezTo>
                  <a:pt x="2207" y="95"/>
                  <a:pt x="2208" y="93"/>
                  <a:pt x="2209" y="92"/>
                </a:cubicBezTo>
                <a:cubicBezTo>
                  <a:pt x="2211" y="90"/>
                  <a:pt x="2213" y="90"/>
                  <a:pt x="2215" y="89"/>
                </a:cubicBezTo>
                <a:cubicBezTo>
                  <a:pt x="2216" y="87"/>
                  <a:pt x="2215" y="86"/>
                  <a:pt x="2214" y="84"/>
                </a:cubicBezTo>
                <a:cubicBezTo>
                  <a:pt x="2214" y="84"/>
                  <a:pt x="2214" y="83"/>
                  <a:pt x="2213" y="82"/>
                </a:cubicBezTo>
                <a:cubicBezTo>
                  <a:pt x="2213" y="82"/>
                  <a:pt x="2212" y="81"/>
                  <a:pt x="2212" y="80"/>
                </a:cubicBezTo>
                <a:cubicBezTo>
                  <a:pt x="2211" y="79"/>
                  <a:pt x="2212" y="77"/>
                  <a:pt x="2211" y="76"/>
                </a:cubicBezTo>
                <a:cubicBezTo>
                  <a:pt x="2210" y="75"/>
                  <a:pt x="2208" y="75"/>
                  <a:pt x="2207" y="75"/>
                </a:cubicBezTo>
                <a:cubicBezTo>
                  <a:pt x="2204" y="75"/>
                  <a:pt x="2201" y="74"/>
                  <a:pt x="2198" y="74"/>
                </a:cubicBezTo>
                <a:cubicBezTo>
                  <a:pt x="2197" y="74"/>
                  <a:pt x="2197" y="74"/>
                  <a:pt x="2197" y="73"/>
                </a:cubicBezTo>
                <a:cubicBezTo>
                  <a:pt x="2197" y="72"/>
                  <a:pt x="2198" y="73"/>
                  <a:pt x="2197" y="71"/>
                </a:cubicBezTo>
                <a:cubicBezTo>
                  <a:pt x="2197" y="70"/>
                  <a:pt x="2197" y="69"/>
                  <a:pt x="2195" y="68"/>
                </a:cubicBezTo>
                <a:cubicBezTo>
                  <a:pt x="2193" y="68"/>
                  <a:pt x="2191" y="69"/>
                  <a:pt x="2189" y="68"/>
                </a:cubicBezTo>
                <a:cubicBezTo>
                  <a:pt x="2188" y="68"/>
                  <a:pt x="2185" y="67"/>
                  <a:pt x="2186" y="65"/>
                </a:cubicBezTo>
                <a:cubicBezTo>
                  <a:pt x="2186" y="65"/>
                  <a:pt x="2187" y="65"/>
                  <a:pt x="2187" y="64"/>
                </a:cubicBezTo>
                <a:cubicBezTo>
                  <a:pt x="2187" y="63"/>
                  <a:pt x="2186" y="63"/>
                  <a:pt x="2186" y="62"/>
                </a:cubicBezTo>
                <a:cubicBezTo>
                  <a:pt x="2183" y="61"/>
                  <a:pt x="2179" y="62"/>
                  <a:pt x="2175" y="61"/>
                </a:cubicBezTo>
                <a:cubicBezTo>
                  <a:pt x="2173" y="61"/>
                  <a:pt x="2172" y="61"/>
                  <a:pt x="2170" y="62"/>
                </a:cubicBezTo>
                <a:cubicBezTo>
                  <a:pt x="2168" y="63"/>
                  <a:pt x="2167" y="63"/>
                  <a:pt x="2165" y="63"/>
                </a:cubicBezTo>
                <a:cubicBezTo>
                  <a:pt x="2164" y="63"/>
                  <a:pt x="2162" y="65"/>
                  <a:pt x="2161" y="64"/>
                </a:cubicBezTo>
                <a:cubicBezTo>
                  <a:pt x="2160" y="63"/>
                  <a:pt x="2161" y="60"/>
                  <a:pt x="2161" y="60"/>
                </a:cubicBezTo>
                <a:cubicBezTo>
                  <a:pt x="2162" y="59"/>
                  <a:pt x="2162" y="58"/>
                  <a:pt x="2162" y="58"/>
                </a:cubicBezTo>
                <a:cubicBezTo>
                  <a:pt x="2163" y="57"/>
                  <a:pt x="2164" y="57"/>
                  <a:pt x="2164" y="57"/>
                </a:cubicBezTo>
                <a:cubicBezTo>
                  <a:pt x="2165" y="56"/>
                  <a:pt x="2165" y="56"/>
                  <a:pt x="2166" y="55"/>
                </a:cubicBezTo>
                <a:cubicBezTo>
                  <a:pt x="2167" y="55"/>
                  <a:pt x="2167" y="55"/>
                  <a:pt x="2168" y="55"/>
                </a:cubicBezTo>
                <a:cubicBezTo>
                  <a:pt x="2170" y="54"/>
                  <a:pt x="2168" y="53"/>
                  <a:pt x="2167" y="53"/>
                </a:cubicBezTo>
                <a:cubicBezTo>
                  <a:pt x="2166" y="53"/>
                  <a:pt x="2164" y="52"/>
                  <a:pt x="2163" y="52"/>
                </a:cubicBezTo>
                <a:cubicBezTo>
                  <a:pt x="2162" y="51"/>
                  <a:pt x="2161" y="50"/>
                  <a:pt x="2159" y="50"/>
                </a:cubicBezTo>
                <a:cubicBezTo>
                  <a:pt x="2158" y="50"/>
                  <a:pt x="2157" y="50"/>
                  <a:pt x="2155" y="50"/>
                </a:cubicBezTo>
                <a:cubicBezTo>
                  <a:pt x="2154" y="49"/>
                  <a:pt x="2154" y="49"/>
                  <a:pt x="2153" y="49"/>
                </a:cubicBezTo>
                <a:cubicBezTo>
                  <a:pt x="2152" y="50"/>
                  <a:pt x="2152" y="50"/>
                  <a:pt x="2152" y="51"/>
                </a:cubicBezTo>
                <a:cubicBezTo>
                  <a:pt x="2152" y="52"/>
                  <a:pt x="2151" y="53"/>
                  <a:pt x="2151" y="53"/>
                </a:cubicBezTo>
                <a:cubicBezTo>
                  <a:pt x="2150" y="54"/>
                  <a:pt x="2151" y="54"/>
                  <a:pt x="2150" y="55"/>
                </a:cubicBezTo>
                <a:cubicBezTo>
                  <a:pt x="2150" y="56"/>
                  <a:pt x="2149" y="57"/>
                  <a:pt x="2149" y="57"/>
                </a:cubicBezTo>
                <a:cubicBezTo>
                  <a:pt x="2148" y="58"/>
                  <a:pt x="2148" y="57"/>
                  <a:pt x="2147" y="57"/>
                </a:cubicBezTo>
                <a:cubicBezTo>
                  <a:pt x="2145" y="57"/>
                  <a:pt x="2145" y="56"/>
                  <a:pt x="2144" y="54"/>
                </a:cubicBezTo>
                <a:cubicBezTo>
                  <a:pt x="2143" y="53"/>
                  <a:pt x="2142" y="52"/>
                  <a:pt x="2140" y="52"/>
                </a:cubicBezTo>
                <a:cubicBezTo>
                  <a:pt x="2139" y="52"/>
                  <a:pt x="2139" y="52"/>
                  <a:pt x="2138" y="52"/>
                </a:cubicBezTo>
                <a:cubicBezTo>
                  <a:pt x="2136" y="53"/>
                  <a:pt x="2134" y="54"/>
                  <a:pt x="2133" y="56"/>
                </a:cubicBezTo>
                <a:cubicBezTo>
                  <a:pt x="2132" y="57"/>
                  <a:pt x="2132" y="58"/>
                  <a:pt x="2131" y="58"/>
                </a:cubicBezTo>
                <a:cubicBezTo>
                  <a:pt x="2130" y="59"/>
                  <a:pt x="2128" y="61"/>
                  <a:pt x="2128" y="63"/>
                </a:cubicBezTo>
                <a:cubicBezTo>
                  <a:pt x="2129" y="63"/>
                  <a:pt x="2129" y="63"/>
                  <a:pt x="2129" y="64"/>
                </a:cubicBezTo>
                <a:cubicBezTo>
                  <a:pt x="2129" y="64"/>
                  <a:pt x="2129" y="64"/>
                  <a:pt x="2129" y="64"/>
                </a:cubicBezTo>
                <a:cubicBezTo>
                  <a:pt x="2130" y="65"/>
                  <a:pt x="2130" y="65"/>
                  <a:pt x="2130" y="66"/>
                </a:cubicBezTo>
                <a:cubicBezTo>
                  <a:pt x="2130" y="68"/>
                  <a:pt x="2128" y="67"/>
                  <a:pt x="2127" y="67"/>
                </a:cubicBezTo>
                <a:cubicBezTo>
                  <a:pt x="2125" y="68"/>
                  <a:pt x="2124" y="70"/>
                  <a:pt x="2124" y="72"/>
                </a:cubicBezTo>
                <a:cubicBezTo>
                  <a:pt x="2124" y="72"/>
                  <a:pt x="2124" y="72"/>
                  <a:pt x="2124" y="73"/>
                </a:cubicBezTo>
                <a:cubicBezTo>
                  <a:pt x="2124" y="73"/>
                  <a:pt x="2123" y="74"/>
                  <a:pt x="2123" y="74"/>
                </a:cubicBezTo>
                <a:cubicBezTo>
                  <a:pt x="2122" y="75"/>
                  <a:pt x="2122" y="76"/>
                  <a:pt x="2123" y="76"/>
                </a:cubicBezTo>
                <a:cubicBezTo>
                  <a:pt x="2124" y="77"/>
                  <a:pt x="2124" y="77"/>
                  <a:pt x="2125" y="78"/>
                </a:cubicBezTo>
                <a:cubicBezTo>
                  <a:pt x="2126" y="78"/>
                  <a:pt x="2126" y="78"/>
                  <a:pt x="2127" y="79"/>
                </a:cubicBezTo>
                <a:cubicBezTo>
                  <a:pt x="2127" y="79"/>
                  <a:pt x="2127" y="79"/>
                  <a:pt x="2127" y="79"/>
                </a:cubicBezTo>
                <a:cubicBezTo>
                  <a:pt x="2127" y="79"/>
                  <a:pt x="2125" y="79"/>
                  <a:pt x="2125" y="78"/>
                </a:cubicBezTo>
                <a:cubicBezTo>
                  <a:pt x="2124" y="78"/>
                  <a:pt x="2124" y="78"/>
                  <a:pt x="2123" y="78"/>
                </a:cubicBezTo>
                <a:cubicBezTo>
                  <a:pt x="2123" y="77"/>
                  <a:pt x="2122" y="77"/>
                  <a:pt x="2121" y="77"/>
                </a:cubicBezTo>
                <a:cubicBezTo>
                  <a:pt x="2120" y="77"/>
                  <a:pt x="2120" y="77"/>
                  <a:pt x="2119" y="77"/>
                </a:cubicBezTo>
                <a:cubicBezTo>
                  <a:pt x="2118" y="77"/>
                  <a:pt x="2116" y="78"/>
                  <a:pt x="2115" y="78"/>
                </a:cubicBezTo>
                <a:cubicBezTo>
                  <a:pt x="2113" y="79"/>
                  <a:pt x="2113" y="81"/>
                  <a:pt x="2112" y="82"/>
                </a:cubicBezTo>
                <a:cubicBezTo>
                  <a:pt x="2111" y="83"/>
                  <a:pt x="2111" y="83"/>
                  <a:pt x="2110" y="84"/>
                </a:cubicBezTo>
                <a:cubicBezTo>
                  <a:pt x="2110" y="85"/>
                  <a:pt x="2109" y="86"/>
                  <a:pt x="2109" y="87"/>
                </a:cubicBezTo>
                <a:cubicBezTo>
                  <a:pt x="2108" y="88"/>
                  <a:pt x="2108" y="89"/>
                  <a:pt x="2108" y="90"/>
                </a:cubicBezTo>
                <a:cubicBezTo>
                  <a:pt x="2107" y="91"/>
                  <a:pt x="2107" y="92"/>
                  <a:pt x="2107" y="92"/>
                </a:cubicBezTo>
                <a:cubicBezTo>
                  <a:pt x="2106" y="94"/>
                  <a:pt x="2106" y="96"/>
                  <a:pt x="2104" y="98"/>
                </a:cubicBezTo>
                <a:cubicBezTo>
                  <a:pt x="2104" y="99"/>
                  <a:pt x="2103" y="99"/>
                  <a:pt x="2102" y="100"/>
                </a:cubicBezTo>
                <a:close/>
                <a:moveTo>
                  <a:pt x="1237" y="19"/>
                </a:moveTo>
                <a:cubicBezTo>
                  <a:pt x="1237" y="19"/>
                  <a:pt x="1237" y="19"/>
                  <a:pt x="1238" y="19"/>
                </a:cubicBezTo>
                <a:cubicBezTo>
                  <a:pt x="1239" y="20"/>
                  <a:pt x="1238" y="20"/>
                  <a:pt x="1239" y="20"/>
                </a:cubicBezTo>
                <a:cubicBezTo>
                  <a:pt x="1240" y="20"/>
                  <a:pt x="1241" y="20"/>
                  <a:pt x="1242" y="20"/>
                </a:cubicBezTo>
                <a:cubicBezTo>
                  <a:pt x="1244" y="19"/>
                  <a:pt x="1247" y="19"/>
                  <a:pt x="1249" y="20"/>
                </a:cubicBezTo>
                <a:cubicBezTo>
                  <a:pt x="1250" y="20"/>
                  <a:pt x="1251" y="21"/>
                  <a:pt x="1252" y="21"/>
                </a:cubicBezTo>
                <a:cubicBezTo>
                  <a:pt x="1253" y="21"/>
                  <a:pt x="1254" y="21"/>
                  <a:pt x="1255" y="21"/>
                </a:cubicBezTo>
                <a:cubicBezTo>
                  <a:pt x="1256" y="21"/>
                  <a:pt x="1259" y="21"/>
                  <a:pt x="1260" y="20"/>
                </a:cubicBezTo>
                <a:cubicBezTo>
                  <a:pt x="1260" y="20"/>
                  <a:pt x="1260" y="19"/>
                  <a:pt x="1260" y="19"/>
                </a:cubicBezTo>
                <a:cubicBezTo>
                  <a:pt x="1260" y="19"/>
                  <a:pt x="1260" y="18"/>
                  <a:pt x="1261" y="18"/>
                </a:cubicBezTo>
                <a:cubicBezTo>
                  <a:pt x="1261" y="17"/>
                  <a:pt x="1261" y="17"/>
                  <a:pt x="1261" y="16"/>
                </a:cubicBezTo>
                <a:cubicBezTo>
                  <a:pt x="1261" y="15"/>
                  <a:pt x="1261" y="11"/>
                  <a:pt x="1262" y="12"/>
                </a:cubicBezTo>
                <a:cubicBezTo>
                  <a:pt x="1262" y="13"/>
                  <a:pt x="1263" y="14"/>
                  <a:pt x="1264" y="15"/>
                </a:cubicBezTo>
                <a:cubicBezTo>
                  <a:pt x="1265" y="16"/>
                  <a:pt x="1266" y="16"/>
                  <a:pt x="1266" y="16"/>
                </a:cubicBezTo>
                <a:cubicBezTo>
                  <a:pt x="1267" y="17"/>
                  <a:pt x="1267" y="17"/>
                  <a:pt x="1268" y="18"/>
                </a:cubicBezTo>
                <a:cubicBezTo>
                  <a:pt x="1269" y="18"/>
                  <a:pt x="1271" y="17"/>
                  <a:pt x="1272" y="19"/>
                </a:cubicBezTo>
                <a:cubicBezTo>
                  <a:pt x="1273" y="19"/>
                  <a:pt x="1273" y="20"/>
                  <a:pt x="1274" y="20"/>
                </a:cubicBezTo>
                <a:cubicBezTo>
                  <a:pt x="1275" y="20"/>
                  <a:pt x="1276" y="20"/>
                  <a:pt x="1277" y="20"/>
                </a:cubicBezTo>
                <a:cubicBezTo>
                  <a:pt x="1277" y="19"/>
                  <a:pt x="1277" y="19"/>
                  <a:pt x="1277" y="19"/>
                </a:cubicBezTo>
                <a:cubicBezTo>
                  <a:pt x="1277" y="18"/>
                  <a:pt x="1277" y="18"/>
                  <a:pt x="1278" y="18"/>
                </a:cubicBezTo>
                <a:cubicBezTo>
                  <a:pt x="1278" y="18"/>
                  <a:pt x="1279" y="18"/>
                  <a:pt x="1279" y="17"/>
                </a:cubicBezTo>
                <a:cubicBezTo>
                  <a:pt x="1279" y="16"/>
                  <a:pt x="1278" y="15"/>
                  <a:pt x="1279" y="15"/>
                </a:cubicBezTo>
                <a:cubicBezTo>
                  <a:pt x="1279" y="15"/>
                  <a:pt x="1280" y="15"/>
                  <a:pt x="1280" y="15"/>
                </a:cubicBezTo>
                <a:cubicBezTo>
                  <a:pt x="1281" y="15"/>
                  <a:pt x="1281" y="15"/>
                  <a:pt x="1281" y="15"/>
                </a:cubicBezTo>
                <a:cubicBezTo>
                  <a:pt x="1283" y="14"/>
                  <a:pt x="1284" y="16"/>
                  <a:pt x="1286" y="16"/>
                </a:cubicBezTo>
                <a:cubicBezTo>
                  <a:pt x="1288" y="16"/>
                  <a:pt x="1286" y="14"/>
                  <a:pt x="1286" y="13"/>
                </a:cubicBezTo>
                <a:cubicBezTo>
                  <a:pt x="1285" y="12"/>
                  <a:pt x="1285" y="12"/>
                  <a:pt x="1284" y="11"/>
                </a:cubicBezTo>
                <a:cubicBezTo>
                  <a:pt x="1284" y="11"/>
                  <a:pt x="1283" y="11"/>
                  <a:pt x="1283" y="10"/>
                </a:cubicBezTo>
                <a:cubicBezTo>
                  <a:pt x="1285" y="10"/>
                  <a:pt x="1286" y="10"/>
                  <a:pt x="1287" y="9"/>
                </a:cubicBezTo>
                <a:cubicBezTo>
                  <a:pt x="1288" y="9"/>
                  <a:pt x="1288" y="9"/>
                  <a:pt x="1288" y="8"/>
                </a:cubicBezTo>
                <a:cubicBezTo>
                  <a:pt x="1289" y="8"/>
                  <a:pt x="1290" y="9"/>
                  <a:pt x="1290" y="9"/>
                </a:cubicBezTo>
                <a:cubicBezTo>
                  <a:pt x="1293" y="9"/>
                  <a:pt x="1296" y="7"/>
                  <a:pt x="1299" y="8"/>
                </a:cubicBezTo>
                <a:cubicBezTo>
                  <a:pt x="1299" y="9"/>
                  <a:pt x="1303" y="10"/>
                  <a:pt x="1302" y="8"/>
                </a:cubicBezTo>
                <a:cubicBezTo>
                  <a:pt x="1302" y="7"/>
                  <a:pt x="1300" y="6"/>
                  <a:pt x="1299" y="6"/>
                </a:cubicBezTo>
                <a:cubicBezTo>
                  <a:pt x="1298" y="5"/>
                  <a:pt x="1296" y="5"/>
                  <a:pt x="1295" y="4"/>
                </a:cubicBezTo>
                <a:cubicBezTo>
                  <a:pt x="1293" y="4"/>
                  <a:pt x="1292" y="3"/>
                  <a:pt x="1290" y="3"/>
                </a:cubicBezTo>
                <a:cubicBezTo>
                  <a:pt x="1288" y="3"/>
                  <a:pt x="1286" y="3"/>
                  <a:pt x="1283" y="2"/>
                </a:cubicBezTo>
                <a:cubicBezTo>
                  <a:pt x="1281" y="2"/>
                  <a:pt x="1280" y="2"/>
                  <a:pt x="1278" y="2"/>
                </a:cubicBezTo>
                <a:cubicBezTo>
                  <a:pt x="1275" y="2"/>
                  <a:pt x="1272" y="2"/>
                  <a:pt x="1269" y="2"/>
                </a:cubicBezTo>
                <a:cubicBezTo>
                  <a:pt x="1261" y="2"/>
                  <a:pt x="1261" y="2"/>
                  <a:pt x="1261" y="2"/>
                </a:cubicBezTo>
                <a:cubicBezTo>
                  <a:pt x="1260" y="2"/>
                  <a:pt x="1260" y="2"/>
                  <a:pt x="1259" y="2"/>
                </a:cubicBezTo>
                <a:cubicBezTo>
                  <a:pt x="1258" y="2"/>
                  <a:pt x="1259" y="3"/>
                  <a:pt x="1259" y="3"/>
                </a:cubicBezTo>
                <a:cubicBezTo>
                  <a:pt x="1260" y="4"/>
                  <a:pt x="1259" y="4"/>
                  <a:pt x="1259" y="5"/>
                </a:cubicBezTo>
                <a:cubicBezTo>
                  <a:pt x="1259" y="6"/>
                  <a:pt x="1260" y="6"/>
                  <a:pt x="1260" y="6"/>
                </a:cubicBezTo>
                <a:cubicBezTo>
                  <a:pt x="1261" y="7"/>
                  <a:pt x="1260" y="8"/>
                  <a:pt x="1259" y="8"/>
                </a:cubicBezTo>
                <a:cubicBezTo>
                  <a:pt x="1258" y="8"/>
                  <a:pt x="1257" y="7"/>
                  <a:pt x="1255" y="7"/>
                </a:cubicBezTo>
                <a:cubicBezTo>
                  <a:pt x="1254" y="7"/>
                  <a:pt x="1252" y="7"/>
                  <a:pt x="1251" y="7"/>
                </a:cubicBezTo>
                <a:cubicBezTo>
                  <a:pt x="1249" y="7"/>
                  <a:pt x="1248" y="8"/>
                  <a:pt x="1246" y="8"/>
                </a:cubicBezTo>
                <a:cubicBezTo>
                  <a:pt x="1246" y="9"/>
                  <a:pt x="1245" y="8"/>
                  <a:pt x="1244" y="8"/>
                </a:cubicBezTo>
                <a:cubicBezTo>
                  <a:pt x="1244" y="8"/>
                  <a:pt x="1243" y="9"/>
                  <a:pt x="1242" y="9"/>
                </a:cubicBezTo>
                <a:cubicBezTo>
                  <a:pt x="1240" y="10"/>
                  <a:pt x="1240" y="11"/>
                  <a:pt x="1239" y="13"/>
                </a:cubicBezTo>
                <a:cubicBezTo>
                  <a:pt x="1238" y="14"/>
                  <a:pt x="1237" y="15"/>
                  <a:pt x="1237" y="16"/>
                </a:cubicBezTo>
                <a:cubicBezTo>
                  <a:pt x="1236" y="16"/>
                  <a:pt x="1235" y="18"/>
                  <a:pt x="1236" y="19"/>
                </a:cubicBezTo>
                <a:cubicBezTo>
                  <a:pt x="1236" y="20"/>
                  <a:pt x="1236" y="19"/>
                  <a:pt x="1237" y="19"/>
                </a:cubicBezTo>
                <a:close/>
                <a:moveTo>
                  <a:pt x="1313" y="4"/>
                </a:moveTo>
                <a:cubicBezTo>
                  <a:pt x="1315" y="4"/>
                  <a:pt x="1316" y="4"/>
                  <a:pt x="1318" y="4"/>
                </a:cubicBezTo>
                <a:cubicBezTo>
                  <a:pt x="1308" y="2"/>
                  <a:pt x="1308" y="2"/>
                  <a:pt x="1308" y="2"/>
                </a:cubicBezTo>
                <a:cubicBezTo>
                  <a:pt x="1309" y="2"/>
                  <a:pt x="1309" y="3"/>
                  <a:pt x="1310" y="4"/>
                </a:cubicBezTo>
                <a:cubicBezTo>
                  <a:pt x="1311" y="5"/>
                  <a:pt x="1312" y="4"/>
                  <a:pt x="1313" y="4"/>
                </a:cubicBezTo>
                <a:close/>
                <a:moveTo>
                  <a:pt x="1938" y="10"/>
                </a:moveTo>
                <a:cubicBezTo>
                  <a:pt x="1939" y="10"/>
                  <a:pt x="1941" y="10"/>
                  <a:pt x="1942" y="10"/>
                </a:cubicBezTo>
                <a:cubicBezTo>
                  <a:pt x="1948" y="9"/>
                  <a:pt x="1954" y="10"/>
                  <a:pt x="1960" y="10"/>
                </a:cubicBezTo>
                <a:cubicBezTo>
                  <a:pt x="1961" y="10"/>
                  <a:pt x="1963" y="9"/>
                  <a:pt x="1964" y="9"/>
                </a:cubicBezTo>
                <a:cubicBezTo>
                  <a:pt x="1966" y="9"/>
                  <a:pt x="1967" y="10"/>
                  <a:pt x="1969" y="10"/>
                </a:cubicBezTo>
                <a:cubicBezTo>
                  <a:pt x="1970" y="10"/>
                  <a:pt x="1973" y="9"/>
                  <a:pt x="1973" y="10"/>
                </a:cubicBezTo>
                <a:cubicBezTo>
                  <a:pt x="1974" y="11"/>
                  <a:pt x="1970" y="11"/>
                  <a:pt x="1969" y="11"/>
                </a:cubicBezTo>
                <a:cubicBezTo>
                  <a:pt x="1968" y="11"/>
                  <a:pt x="1967" y="11"/>
                  <a:pt x="1965" y="11"/>
                </a:cubicBezTo>
                <a:cubicBezTo>
                  <a:pt x="1964" y="11"/>
                  <a:pt x="1962" y="12"/>
                  <a:pt x="1961" y="12"/>
                </a:cubicBezTo>
                <a:cubicBezTo>
                  <a:pt x="1959" y="11"/>
                  <a:pt x="1955" y="10"/>
                  <a:pt x="1952" y="11"/>
                </a:cubicBezTo>
                <a:cubicBezTo>
                  <a:pt x="1952" y="12"/>
                  <a:pt x="1954" y="12"/>
                  <a:pt x="1955" y="13"/>
                </a:cubicBezTo>
                <a:cubicBezTo>
                  <a:pt x="1955" y="13"/>
                  <a:pt x="1955" y="13"/>
                  <a:pt x="1956" y="14"/>
                </a:cubicBezTo>
                <a:cubicBezTo>
                  <a:pt x="1956" y="14"/>
                  <a:pt x="1957" y="14"/>
                  <a:pt x="1957" y="14"/>
                </a:cubicBezTo>
                <a:cubicBezTo>
                  <a:pt x="1958" y="14"/>
                  <a:pt x="1959" y="14"/>
                  <a:pt x="1960" y="15"/>
                </a:cubicBezTo>
                <a:cubicBezTo>
                  <a:pt x="1961" y="15"/>
                  <a:pt x="1962" y="15"/>
                  <a:pt x="1963" y="15"/>
                </a:cubicBezTo>
                <a:cubicBezTo>
                  <a:pt x="1964" y="16"/>
                  <a:pt x="1963" y="16"/>
                  <a:pt x="1963" y="16"/>
                </a:cubicBezTo>
                <a:cubicBezTo>
                  <a:pt x="1962" y="16"/>
                  <a:pt x="1961" y="16"/>
                  <a:pt x="1961" y="16"/>
                </a:cubicBezTo>
                <a:cubicBezTo>
                  <a:pt x="1959" y="15"/>
                  <a:pt x="1958" y="15"/>
                  <a:pt x="1957" y="15"/>
                </a:cubicBezTo>
                <a:cubicBezTo>
                  <a:pt x="1956" y="15"/>
                  <a:pt x="1955" y="15"/>
                  <a:pt x="1956" y="16"/>
                </a:cubicBezTo>
                <a:cubicBezTo>
                  <a:pt x="1956" y="16"/>
                  <a:pt x="1957" y="16"/>
                  <a:pt x="1957" y="16"/>
                </a:cubicBezTo>
                <a:cubicBezTo>
                  <a:pt x="1959" y="16"/>
                  <a:pt x="1960" y="16"/>
                  <a:pt x="1962" y="17"/>
                </a:cubicBezTo>
                <a:cubicBezTo>
                  <a:pt x="1964" y="19"/>
                  <a:pt x="1968" y="17"/>
                  <a:pt x="1970" y="20"/>
                </a:cubicBezTo>
                <a:cubicBezTo>
                  <a:pt x="1970" y="20"/>
                  <a:pt x="1970" y="21"/>
                  <a:pt x="1971" y="21"/>
                </a:cubicBezTo>
                <a:cubicBezTo>
                  <a:pt x="1971" y="22"/>
                  <a:pt x="1972" y="22"/>
                  <a:pt x="1973" y="22"/>
                </a:cubicBezTo>
                <a:cubicBezTo>
                  <a:pt x="1974" y="22"/>
                  <a:pt x="1976" y="23"/>
                  <a:pt x="1977" y="23"/>
                </a:cubicBezTo>
                <a:cubicBezTo>
                  <a:pt x="1980" y="24"/>
                  <a:pt x="1983" y="24"/>
                  <a:pt x="1986" y="23"/>
                </a:cubicBezTo>
                <a:cubicBezTo>
                  <a:pt x="1989" y="23"/>
                  <a:pt x="1992" y="21"/>
                  <a:pt x="1994" y="21"/>
                </a:cubicBezTo>
                <a:cubicBezTo>
                  <a:pt x="1996" y="21"/>
                  <a:pt x="1997" y="21"/>
                  <a:pt x="1998" y="21"/>
                </a:cubicBezTo>
                <a:cubicBezTo>
                  <a:pt x="1999" y="20"/>
                  <a:pt x="2000" y="19"/>
                  <a:pt x="2002" y="19"/>
                </a:cubicBezTo>
                <a:cubicBezTo>
                  <a:pt x="2003" y="19"/>
                  <a:pt x="2005" y="19"/>
                  <a:pt x="2006" y="19"/>
                </a:cubicBezTo>
                <a:cubicBezTo>
                  <a:pt x="2009" y="18"/>
                  <a:pt x="2012" y="16"/>
                  <a:pt x="2015" y="16"/>
                </a:cubicBezTo>
                <a:cubicBezTo>
                  <a:pt x="2017" y="16"/>
                  <a:pt x="2019" y="16"/>
                  <a:pt x="2021" y="15"/>
                </a:cubicBezTo>
                <a:cubicBezTo>
                  <a:pt x="2022" y="15"/>
                  <a:pt x="2024" y="14"/>
                  <a:pt x="2026" y="14"/>
                </a:cubicBezTo>
                <a:cubicBezTo>
                  <a:pt x="2030" y="13"/>
                  <a:pt x="2034" y="13"/>
                  <a:pt x="2038" y="14"/>
                </a:cubicBezTo>
                <a:cubicBezTo>
                  <a:pt x="2039" y="14"/>
                  <a:pt x="2041" y="14"/>
                  <a:pt x="2042" y="14"/>
                </a:cubicBezTo>
                <a:cubicBezTo>
                  <a:pt x="2044" y="13"/>
                  <a:pt x="2046" y="14"/>
                  <a:pt x="2047" y="13"/>
                </a:cubicBezTo>
                <a:cubicBezTo>
                  <a:pt x="2049" y="13"/>
                  <a:pt x="2050" y="12"/>
                  <a:pt x="2050" y="10"/>
                </a:cubicBezTo>
                <a:cubicBezTo>
                  <a:pt x="2051" y="9"/>
                  <a:pt x="2051" y="7"/>
                  <a:pt x="2051" y="5"/>
                </a:cubicBezTo>
                <a:cubicBezTo>
                  <a:pt x="2051" y="4"/>
                  <a:pt x="2050" y="4"/>
                  <a:pt x="2050" y="3"/>
                </a:cubicBezTo>
                <a:cubicBezTo>
                  <a:pt x="1949" y="2"/>
                  <a:pt x="1949" y="2"/>
                  <a:pt x="1949" y="2"/>
                </a:cubicBezTo>
                <a:cubicBezTo>
                  <a:pt x="1948" y="3"/>
                  <a:pt x="1948" y="2"/>
                  <a:pt x="1947" y="2"/>
                </a:cubicBezTo>
                <a:cubicBezTo>
                  <a:pt x="1946" y="2"/>
                  <a:pt x="1947" y="3"/>
                  <a:pt x="1947" y="3"/>
                </a:cubicBezTo>
                <a:cubicBezTo>
                  <a:pt x="1947" y="3"/>
                  <a:pt x="1947" y="4"/>
                  <a:pt x="1947" y="4"/>
                </a:cubicBezTo>
                <a:cubicBezTo>
                  <a:pt x="1948" y="4"/>
                  <a:pt x="1948" y="4"/>
                  <a:pt x="1948" y="5"/>
                </a:cubicBezTo>
                <a:cubicBezTo>
                  <a:pt x="1949" y="5"/>
                  <a:pt x="1949" y="6"/>
                  <a:pt x="1948" y="6"/>
                </a:cubicBezTo>
                <a:cubicBezTo>
                  <a:pt x="1947" y="6"/>
                  <a:pt x="1946" y="6"/>
                  <a:pt x="1946" y="6"/>
                </a:cubicBezTo>
                <a:cubicBezTo>
                  <a:pt x="1945" y="6"/>
                  <a:pt x="1944" y="6"/>
                  <a:pt x="1944" y="6"/>
                </a:cubicBezTo>
                <a:cubicBezTo>
                  <a:pt x="1942" y="7"/>
                  <a:pt x="1941" y="7"/>
                  <a:pt x="1940" y="8"/>
                </a:cubicBezTo>
                <a:cubicBezTo>
                  <a:pt x="1939" y="8"/>
                  <a:pt x="1939" y="9"/>
                  <a:pt x="1938" y="9"/>
                </a:cubicBezTo>
                <a:cubicBezTo>
                  <a:pt x="1937" y="9"/>
                  <a:pt x="1937" y="9"/>
                  <a:pt x="1936" y="10"/>
                </a:cubicBezTo>
                <a:cubicBezTo>
                  <a:pt x="1936" y="11"/>
                  <a:pt x="1938" y="11"/>
                  <a:pt x="1938" y="10"/>
                </a:cubicBezTo>
                <a:close/>
                <a:moveTo>
                  <a:pt x="1167" y="14"/>
                </a:moveTo>
                <a:cubicBezTo>
                  <a:pt x="1168" y="15"/>
                  <a:pt x="1169" y="15"/>
                  <a:pt x="1170" y="15"/>
                </a:cubicBezTo>
                <a:cubicBezTo>
                  <a:pt x="1171" y="15"/>
                  <a:pt x="1172" y="16"/>
                  <a:pt x="1173" y="17"/>
                </a:cubicBezTo>
                <a:cubicBezTo>
                  <a:pt x="1174" y="17"/>
                  <a:pt x="1175" y="16"/>
                  <a:pt x="1176" y="16"/>
                </a:cubicBezTo>
                <a:cubicBezTo>
                  <a:pt x="1178" y="15"/>
                  <a:pt x="1179" y="16"/>
                  <a:pt x="1181" y="15"/>
                </a:cubicBezTo>
                <a:cubicBezTo>
                  <a:pt x="1182" y="15"/>
                  <a:pt x="1184" y="15"/>
                  <a:pt x="1186" y="16"/>
                </a:cubicBezTo>
                <a:cubicBezTo>
                  <a:pt x="1186" y="16"/>
                  <a:pt x="1187" y="17"/>
                  <a:pt x="1187" y="17"/>
                </a:cubicBezTo>
                <a:cubicBezTo>
                  <a:pt x="1188" y="16"/>
                  <a:pt x="1189" y="16"/>
                  <a:pt x="1190" y="15"/>
                </a:cubicBezTo>
                <a:cubicBezTo>
                  <a:pt x="1190" y="15"/>
                  <a:pt x="1190" y="14"/>
                  <a:pt x="1190" y="14"/>
                </a:cubicBezTo>
                <a:cubicBezTo>
                  <a:pt x="1191" y="13"/>
                  <a:pt x="1192" y="13"/>
                  <a:pt x="1193" y="13"/>
                </a:cubicBezTo>
                <a:cubicBezTo>
                  <a:pt x="1193" y="13"/>
                  <a:pt x="1194" y="13"/>
                  <a:pt x="1195" y="13"/>
                </a:cubicBezTo>
                <a:cubicBezTo>
                  <a:pt x="1196" y="13"/>
                  <a:pt x="1197" y="13"/>
                  <a:pt x="1196" y="12"/>
                </a:cubicBezTo>
                <a:cubicBezTo>
                  <a:pt x="1196" y="11"/>
                  <a:pt x="1194" y="11"/>
                  <a:pt x="1193" y="10"/>
                </a:cubicBezTo>
                <a:cubicBezTo>
                  <a:pt x="1192" y="10"/>
                  <a:pt x="1191" y="9"/>
                  <a:pt x="1191" y="9"/>
                </a:cubicBezTo>
                <a:cubicBezTo>
                  <a:pt x="1190" y="9"/>
                  <a:pt x="1189" y="9"/>
                  <a:pt x="1189" y="9"/>
                </a:cubicBezTo>
                <a:cubicBezTo>
                  <a:pt x="1187" y="8"/>
                  <a:pt x="1187" y="7"/>
                  <a:pt x="1186" y="6"/>
                </a:cubicBezTo>
                <a:cubicBezTo>
                  <a:pt x="1184" y="5"/>
                  <a:pt x="1183" y="5"/>
                  <a:pt x="1182" y="5"/>
                </a:cubicBezTo>
                <a:cubicBezTo>
                  <a:pt x="1181" y="5"/>
                  <a:pt x="1180" y="5"/>
                  <a:pt x="1180" y="6"/>
                </a:cubicBezTo>
                <a:cubicBezTo>
                  <a:pt x="1179" y="6"/>
                  <a:pt x="1178" y="6"/>
                  <a:pt x="1178" y="6"/>
                </a:cubicBezTo>
                <a:cubicBezTo>
                  <a:pt x="1176" y="6"/>
                  <a:pt x="1175" y="7"/>
                  <a:pt x="1174" y="8"/>
                </a:cubicBezTo>
                <a:cubicBezTo>
                  <a:pt x="1173" y="9"/>
                  <a:pt x="1172" y="10"/>
                  <a:pt x="1172" y="10"/>
                </a:cubicBezTo>
                <a:cubicBezTo>
                  <a:pt x="1171" y="11"/>
                  <a:pt x="1171" y="11"/>
                  <a:pt x="1170" y="11"/>
                </a:cubicBezTo>
                <a:cubicBezTo>
                  <a:pt x="1170" y="12"/>
                  <a:pt x="1169" y="12"/>
                  <a:pt x="1169" y="12"/>
                </a:cubicBezTo>
                <a:cubicBezTo>
                  <a:pt x="1168" y="12"/>
                  <a:pt x="1166" y="14"/>
                  <a:pt x="1167" y="14"/>
                </a:cubicBezTo>
                <a:close/>
                <a:moveTo>
                  <a:pt x="1150" y="359"/>
                </a:moveTo>
                <a:cubicBezTo>
                  <a:pt x="1150" y="359"/>
                  <a:pt x="1151" y="360"/>
                  <a:pt x="1151" y="360"/>
                </a:cubicBezTo>
                <a:cubicBezTo>
                  <a:pt x="1152" y="361"/>
                  <a:pt x="1151" y="362"/>
                  <a:pt x="1151" y="363"/>
                </a:cubicBezTo>
                <a:cubicBezTo>
                  <a:pt x="1151" y="364"/>
                  <a:pt x="1154" y="364"/>
                  <a:pt x="1155" y="364"/>
                </a:cubicBezTo>
                <a:cubicBezTo>
                  <a:pt x="1156" y="364"/>
                  <a:pt x="1156" y="364"/>
                  <a:pt x="1157" y="364"/>
                </a:cubicBezTo>
                <a:cubicBezTo>
                  <a:pt x="1158" y="364"/>
                  <a:pt x="1159" y="364"/>
                  <a:pt x="1159" y="364"/>
                </a:cubicBezTo>
                <a:cubicBezTo>
                  <a:pt x="1161" y="364"/>
                  <a:pt x="1162" y="364"/>
                  <a:pt x="1164" y="364"/>
                </a:cubicBezTo>
                <a:cubicBezTo>
                  <a:pt x="1165" y="363"/>
                  <a:pt x="1166" y="365"/>
                  <a:pt x="1168" y="364"/>
                </a:cubicBezTo>
                <a:cubicBezTo>
                  <a:pt x="1168" y="364"/>
                  <a:pt x="1169" y="364"/>
                  <a:pt x="1169" y="364"/>
                </a:cubicBezTo>
                <a:cubicBezTo>
                  <a:pt x="1169" y="364"/>
                  <a:pt x="1169" y="363"/>
                  <a:pt x="1169" y="363"/>
                </a:cubicBezTo>
                <a:cubicBezTo>
                  <a:pt x="1170" y="362"/>
                  <a:pt x="1171" y="362"/>
                  <a:pt x="1171" y="363"/>
                </a:cubicBezTo>
                <a:cubicBezTo>
                  <a:pt x="1172" y="363"/>
                  <a:pt x="1171" y="365"/>
                  <a:pt x="1171" y="365"/>
                </a:cubicBezTo>
                <a:cubicBezTo>
                  <a:pt x="1171" y="366"/>
                  <a:pt x="1171" y="366"/>
                  <a:pt x="1171" y="367"/>
                </a:cubicBezTo>
                <a:cubicBezTo>
                  <a:pt x="1172" y="367"/>
                  <a:pt x="1172" y="367"/>
                  <a:pt x="1172" y="367"/>
                </a:cubicBezTo>
                <a:cubicBezTo>
                  <a:pt x="1173" y="368"/>
                  <a:pt x="1173" y="369"/>
                  <a:pt x="1174" y="369"/>
                </a:cubicBezTo>
                <a:cubicBezTo>
                  <a:pt x="1175" y="369"/>
                  <a:pt x="1176" y="369"/>
                  <a:pt x="1176" y="369"/>
                </a:cubicBezTo>
                <a:cubicBezTo>
                  <a:pt x="1178" y="370"/>
                  <a:pt x="1179" y="370"/>
                  <a:pt x="1179" y="368"/>
                </a:cubicBezTo>
                <a:cubicBezTo>
                  <a:pt x="1180" y="367"/>
                  <a:pt x="1179" y="367"/>
                  <a:pt x="1180" y="367"/>
                </a:cubicBezTo>
                <a:cubicBezTo>
                  <a:pt x="1181" y="367"/>
                  <a:pt x="1182" y="367"/>
                  <a:pt x="1183" y="367"/>
                </a:cubicBezTo>
                <a:cubicBezTo>
                  <a:pt x="1184" y="367"/>
                  <a:pt x="1184" y="367"/>
                  <a:pt x="1185" y="366"/>
                </a:cubicBezTo>
                <a:cubicBezTo>
                  <a:pt x="1185" y="365"/>
                  <a:pt x="1185" y="364"/>
                  <a:pt x="1186" y="364"/>
                </a:cubicBezTo>
                <a:cubicBezTo>
                  <a:pt x="1187" y="364"/>
                  <a:pt x="1187" y="366"/>
                  <a:pt x="1186" y="367"/>
                </a:cubicBezTo>
                <a:cubicBezTo>
                  <a:pt x="1186" y="367"/>
                  <a:pt x="1185" y="367"/>
                  <a:pt x="1185" y="368"/>
                </a:cubicBezTo>
                <a:cubicBezTo>
                  <a:pt x="1185" y="369"/>
                  <a:pt x="1185" y="369"/>
                  <a:pt x="1185" y="370"/>
                </a:cubicBezTo>
                <a:cubicBezTo>
                  <a:pt x="1186" y="371"/>
                  <a:pt x="1186" y="371"/>
                  <a:pt x="1186" y="371"/>
                </a:cubicBezTo>
                <a:cubicBezTo>
                  <a:pt x="1187" y="372"/>
                  <a:pt x="1186" y="373"/>
                  <a:pt x="1187" y="373"/>
                </a:cubicBezTo>
                <a:cubicBezTo>
                  <a:pt x="1189" y="373"/>
                  <a:pt x="1191" y="372"/>
                  <a:pt x="1191" y="371"/>
                </a:cubicBezTo>
                <a:cubicBezTo>
                  <a:pt x="1192" y="371"/>
                  <a:pt x="1192" y="370"/>
                  <a:pt x="1193" y="370"/>
                </a:cubicBezTo>
                <a:cubicBezTo>
                  <a:pt x="1194" y="370"/>
                  <a:pt x="1193" y="371"/>
                  <a:pt x="1192" y="371"/>
                </a:cubicBezTo>
                <a:cubicBezTo>
                  <a:pt x="1192" y="372"/>
                  <a:pt x="1191" y="373"/>
                  <a:pt x="1191" y="373"/>
                </a:cubicBezTo>
                <a:cubicBezTo>
                  <a:pt x="1190" y="374"/>
                  <a:pt x="1190" y="374"/>
                  <a:pt x="1189" y="374"/>
                </a:cubicBezTo>
                <a:cubicBezTo>
                  <a:pt x="1188" y="375"/>
                  <a:pt x="1190" y="376"/>
                  <a:pt x="1191" y="377"/>
                </a:cubicBezTo>
                <a:cubicBezTo>
                  <a:pt x="1192" y="379"/>
                  <a:pt x="1193" y="378"/>
                  <a:pt x="1195" y="379"/>
                </a:cubicBezTo>
                <a:cubicBezTo>
                  <a:pt x="1196" y="380"/>
                  <a:pt x="1196" y="380"/>
                  <a:pt x="1196" y="381"/>
                </a:cubicBezTo>
                <a:cubicBezTo>
                  <a:pt x="1197" y="382"/>
                  <a:pt x="1197" y="381"/>
                  <a:pt x="1198" y="382"/>
                </a:cubicBezTo>
                <a:cubicBezTo>
                  <a:pt x="1198" y="382"/>
                  <a:pt x="1198" y="383"/>
                  <a:pt x="1197" y="383"/>
                </a:cubicBezTo>
                <a:cubicBezTo>
                  <a:pt x="1196" y="383"/>
                  <a:pt x="1196" y="382"/>
                  <a:pt x="1195" y="382"/>
                </a:cubicBezTo>
                <a:cubicBezTo>
                  <a:pt x="1195" y="382"/>
                  <a:pt x="1194" y="382"/>
                  <a:pt x="1193" y="382"/>
                </a:cubicBezTo>
                <a:cubicBezTo>
                  <a:pt x="1192" y="382"/>
                  <a:pt x="1192" y="382"/>
                  <a:pt x="1191" y="381"/>
                </a:cubicBezTo>
                <a:cubicBezTo>
                  <a:pt x="1190" y="381"/>
                  <a:pt x="1190" y="381"/>
                  <a:pt x="1190" y="382"/>
                </a:cubicBezTo>
                <a:cubicBezTo>
                  <a:pt x="1190" y="383"/>
                  <a:pt x="1191" y="383"/>
                  <a:pt x="1191" y="383"/>
                </a:cubicBezTo>
                <a:cubicBezTo>
                  <a:pt x="1193" y="384"/>
                  <a:pt x="1194" y="384"/>
                  <a:pt x="1194" y="385"/>
                </a:cubicBezTo>
                <a:cubicBezTo>
                  <a:pt x="1195" y="386"/>
                  <a:pt x="1194" y="386"/>
                  <a:pt x="1194" y="387"/>
                </a:cubicBezTo>
                <a:cubicBezTo>
                  <a:pt x="1193" y="388"/>
                  <a:pt x="1193" y="388"/>
                  <a:pt x="1193" y="389"/>
                </a:cubicBezTo>
                <a:cubicBezTo>
                  <a:pt x="1193" y="390"/>
                  <a:pt x="1193" y="390"/>
                  <a:pt x="1192" y="390"/>
                </a:cubicBezTo>
                <a:cubicBezTo>
                  <a:pt x="1191" y="390"/>
                  <a:pt x="1191" y="390"/>
                  <a:pt x="1190" y="389"/>
                </a:cubicBezTo>
                <a:cubicBezTo>
                  <a:pt x="1190" y="389"/>
                  <a:pt x="1186" y="389"/>
                  <a:pt x="1186" y="389"/>
                </a:cubicBezTo>
                <a:cubicBezTo>
                  <a:pt x="1186" y="390"/>
                  <a:pt x="1187" y="390"/>
                  <a:pt x="1188" y="390"/>
                </a:cubicBezTo>
                <a:cubicBezTo>
                  <a:pt x="1188" y="390"/>
                  <a:pt x="1189" y="391"/>
                  <a:pt x="1189" y="391"/>
                </a:cubicBezTo>
                <a:cubicBezTo>
                  <a:pt x="1191" y="392"/>
                  <a:pt x="1195" y="392"/>
                  <a:pt x="1197" y="393"/>
                </a:cubicBezTo>
                <a:cubicBezTo>
                  <a:pt x="1199" y="393"/>
                  <a:pt x="1200" y="393"/>
                  <a:pt x="1201" y="394"/>
                </a:cubicBezTo>
                <a:cubicBezTo>
                  <a:pt x="1202" y="394"/>
                  <a:pt x="1203" y="394"/>
                  <a:pt x="1204" y="394"/>
                </a:cubicBezTo>
                <a:cubicBezTo>
                  <a:pt x="1205" y="395"/>
                  <a:pt x="1206" y="395"/>
                  <a:pt x="1208" y="395"/>
                </a:cubicBezTo>
                <a:cubicBezTo>
                  <a:pt x="1209" y="395"/>
                  <a:pt x="1209" y="396"/>
                  <a:pt x="1210" y="396"/>
                </a:cubicBezTo>
                <a:cubicBezTo>
                  <a:pt x="1211" y="397"/>
                  <a:pt x="1212" y="398"/>
                  <a:pt x="1213" y="397"/>
                </a:cubicBezTo>
                <a:cubicBezTo>
                  <a:pt x="1213" y="396"/>
                  <a:pt x="1210" y="394"/>
                  <a:pt x="1210" y="393"/>
                </a:cubicBezTo>
                <a:cubicBezTo>
                  <a:pt x="1208" y="392"/>
                  <a:pt x="1212" y="393"/>
                  <a:pt x="1212" y="394"/>
                </a:cubicBezTo>
                <a:cubicBezTo>
                  <a:pt x="1213" y="394"/>
                  <a:pt x="1213" y="395"/>
                  <a:pt x="1214" y="395"/>
                </a:cubicBezTo>
                <a:cubicBezTo>
                  <a:pt x="1214" y="396"/>
                  <a:pt x="1215" y="396"/>
                  <a:pt x="1216" y="396"/>
                </a:cubicBezTo>
                <a:cubicBezTo>
                  <a:pt x="1217" y="396"/>
                  <a:pt x="1219" y="397"/>
                  <a:pt x="1219" y="398"/>
                </a:cubicBezTo>
                <a:cubicBezTo>
                  <a:pt x="1220" y="398"/>
                  <a:pt x="1219" y="399"/>
                  <a:pt x="1220" y="399"/>
                </a:cubicBezTo>
                <a:cubicBezTo>
                  <a:pt x="1221" y="400"/>
                  <a:pt x="1222" y="400"/>
                  <a:pt x="1222" y="399"/>
                </a:cubicBezTo>
                <a:cubicBezTo>
                  <a:pt x="1224" y="398"/>
                  <a:pt x="1223" y="397"/>
                  <a:pt x="1224" y="396"/>
                </a:cubicBezTo>
                <a:cubicBezTo>
                  <a:pt x="1225" y="394"/>
                  <a:pt x="1226" y="394"/>
                  <a:pt x="1228" y="395"/>
                </a:cubicBezTo>
                <a:cubicBezTo>
                  <a:pt x="1229" y="395"/>
                  <a:pt x="1231" y="395"/>
                  <a:pt x="1232" y="396"/>
                </a:cubicBezTo>
                <a:cubicBezTo>
                  <a:pt x="1233" y="396"/>
                  <a:pt x="1234" y="396"/>
                  <a:pt x="1233" y="397"/>
                </a:cubicBezTo>
                <a:cubicBezTo>
                  <a:pt x="1233" y="397"/>
                  <a:pt x="1232" y="397"/>
                  <a:pt x="1232" y="398"/>
                </a:cubicBezTo>
                <a:cubicBezTo>
                  <a:pt x="1232" y="398"/>
                  <a:pt x="1232" y="398"/>
                  <a:pt x="1233" y="398"/>
                </a:cubicBezTo>
                <a:cubicBezTo>
                  <a:pt x="1234" y="399"/>
                  <a:pt x="1235" y="398"/>
                  <a:pt x="1237" y="399"/>
                </a:cubicBezTo>
                <a:cubicBezTo>
                  <a:pt x="1237" y="399"/>
                  <a:pt x="1238" y="400"/>
                  <a:pt x="1238" y="400"/>
                </a:cubicBezTo>
                <a:cubicBezTo>
                  <a:pt x="1239" y="400"/>
                  <a:pt x="1239" y="399"/>
                  <a:pt x="1239" y="398"/>
                </a:cubicBezTo>
                <a:cubicBezTo>
                  <a:pt x="1238" y="398"/>
                  <a:pt x="1237" y="398"/>
                  <a:pt x="1237" y="398"/>
                </a:cubicBezTo>
                <a:cubicBezTo>
                  <a:pt x="1236" y="397"/>
                  <a:pt x="1236" y="397"/>
                  <a:pt x="1237" y="396"/>
                </a:cubicBezTo>
                <a:cubicBezTo>
                  <a:pt x="1239" y="396"/>
                  <a:pt x="1239" y="398"/>
                  <a:pt x="1240" y="398"/>
                </a:cubicBezTo>
                <a:cubicBezTo>
                  <a:pt x="1242" y="399"/>
                  <a:pt x="1242" y="399"/>
                  <a:pt x="1244" y="399"/>
                </a:cubicBezTo>
                <a:cubicBezTo>
                  <a:pt x="1245" y="398"/>
                  <a:pt x="1246" y="398"/>
                  <a:pt x="1246" y="399"/>
                </a:cubicBezTo>
                <a:cubicBezTo>
                  <a:pt x="1247" y="399"/>
                  <a:pt x="1247" y="400"/>
                  <a:pt x="1248" y="400"/>
                </a:cubicBezTo>
                <a:cubicBezTo>
                  <a:pt x="1250" y="400"/>
                  <a:pt x="1247" y="397"/>
                  <a:pt x="1247" y="397"/>
                </a:cubicBezTo>
                <a:cubicBezTo>
                  <a:pt x="1246" y="396"/>
                  <a:pt x="1246" y="396"/>
                  <a:pt x="1245" y="395"/>
                </a:cubicBezTo>
                <a:cubicBezTo>
                  <a:pt x="1245" y="395"/>
                  <a:pt x="1243" y="396"/>
                  <a:pt x="1243" y="395"/>
                </a:cubicBezTo>
                <a:cubicBezTo>
                  <a:pt x="1245" y="394"/>
                  <a:pt x="1247" y="396"/>
                  <a:pt x="1249" y="396"/>
                </a:cubicBezTo>
                <a:cubicBezTo>
                  <a:pt x="1250" y="397"/>
                  <a:pt x="1253" y="396"/>
                  <a:pt x="1254" y="398"/>
                </a:cubicBezTo>
                <a:cubicBezTo>
                  <a:pt x="1255" y="398"/>
                  <a:pt x="1255" y="398"/>
                  <a:pt x="1256" y="398"/>
                </a:cubicBezTo>
                <a:cubicBezTo>
                  <a:pt x="1256" y="399"/>
                  <a:pt x="1257" y="398"/>
                  <a:pt x="1258" y="399"/>
                </a:cubicBezTo>
                <a:cubicBezTo>
                  <a:pt x="1259" y="399"/>
                  <a:pt x="1260" y="400"/>
                  <a:pt x="1261" y="400"/>
                </a:cubicBezTo>
                <a:cubicBezTo>
                  <a:pt x="1261" y="400"/>
                  <a:pt x="1264" y="401"/>
                  <a:pt x="1263" y="399"/>
                </a:cubicBezTo>
                <a:cubicBezTo>
                  <a:pt x="1262" y="398"/>
                  <a:pt x="1261" y="398"/>
                  <a:pt x="1260" y="398"/>
                </a:cubicBezTo>
                <a:cubicBezTo>
                  <a:pt x="1259" y="398"/>
                  <a:pt x="1256" y="398"/>
                  <a:pt x="1256" y="397"/>
                </a:cubicBezTo>
                <a:cubicBezTo>
                  <a:pt x="1255" y="396"/>
                  <a:pt x="1256" y="396"/>
                  <a:pt x="1257" y="397"/>
                </a:cubicBezTo>
                <a:cubicBezTo>
                  <a:pt x="1257" y="397"/>
                  <a:pt x="1258" y="397"/>
                  <a:pt x="1259" y="397"/>
                </a:cubicBezTo>
                <a:cubicBezTo>
                  <a:pt x="1260" y="397"/>
                  <a:pt x="1261" y="397"/>
                  <a:pt x="1263" y="398"/>
                </a:cubicBezTo>
                <a:cubicBezTo>
                  <a:pt x="1263" y="398"/>
                  <a:pt x="1263" y="398"/>
                  <a:pt x="1264" y="398"/>
                </a:cubicBezTo>
                <a:cubicBezTo>
                  <a:pt x="1264" y="398"/>
                  <a:pt x="1264" y="398"/>
                  <a:pt x="1264" y="398"/>
                </a:cubicBezTo>
                <a:cubicBezTo>
                  <a:pt x="1267" y="399"/>
                  <a:pt x="1266" y="397"/>
                  <a:pt x="1267" y="395"/>
                </a:cubicBezTo>
                <a:cubicBezTo>
                  <a:pt x="1268" y="394"/>
                  <a:pt x="1269" y="394"/>
                  <a:pt x="1269" y="395"/>
                </a:cubicBezTo>
                <a:cubicBezTo>
                  <a:pt x="1270" y="395"/>
                  <a:pt x="1271" y="395"/>
                  <a:pt x="1271" y="394"/>
                </a:cubicBezTo>
                <a:cubicBezTo>
                  <a:pt x="1271" y="393"/>
                  <a:pt x="1269" y="393"/>
                  <a:pt x="1268" y="393"/>
                </a:cubicBezTo>
                <a:cubicBezTo>
                  <a:pt x="1266" y="392"/>
                  <a:pt x="1265" y="392"/>
                  <a:pt x="1264" y="391"/>
                </a:cubicBezTo>
                <a:cubicBezTo>
                  <a:pt x="1262" y="391"/>
                  <a:pt x="1260" y="390"/>
                  <a:pt x="1259" y="389"/>
                </a:cubicBezTo>
                <a:cubicBezTo>
                  <a:pt x="1257" y="388"/>
                  <a:pt x="1256" y="387"/>
                  <a:pt x="1254" y="386"/>
                </a:cubicBezTo>
                <a:cubicBezTo>
                  <a:pt x="1253" y="386"/>
                  <a:pt x="1251" y="384"/>
                  <a:pt x="1250" y="383"/>
                </a:cubicBezTo>
                <a:cubicBezTo>
                  <a:pt x="1249" y="382"/>
                  <a:pt x="1248" y="380"/>
                  <a:pt x="1246" y="379"/>
                </a:cubicBezTo>
                <a:cubicBezTo>
                  <a:pt x="1244" y="378"/>
                  <a:pt x="1242" y="377"/>
                  <a:pt x="1241" y="375"/>
                </a:cubicBezTo>
                <a:cubicBezTo>
                  <a:pt x="1241" y="374"/>
                  <a:pt x="1240" y="372"/>
                  <a:pt x="1239" y="371"/>
                </a:cubicBezTo>
                <a:cubicBezTo>
                  <a:pt x="1238" y="369"/>
                  <a:pt x="1236" y="369"/>
                  <a:pt x="1235" y="366"/>
                </a:cubicBezTo>
                <a:cubicBezTo>
                  <a:pt x="1234" y="365"/>
                  <a:pt x="1234" y="363"/>
                  <a:pt x="1232" y="362"/>
                </a:cubicBezTo>
                <a:cubicBezTo>
                  <a:pt x="1232" y="361"/>
                  <a:pt x="1231" y="360"/>
                  <a:pt x="1231" y="359"/>
                </a:cubicBezTo>
                <a:cubicBezTo>
                  <a:pt x="1230" y="359"/>
                  <a:pt x="1230" y="358"/>
                  <a:pt x="1230" y="357"/>
                </a:cubicBezTo>
                <a:cubicBezTo>
                  <a:pt x="1229" y="354"/>
                  <a:pt x="1228" y="353"/>
                  <a:pt x="1227" y="352"/>
                </a:cubicBezTo>
                <a:cubicBezTo>
                  <a:pt x="1226" y="351"/>
                  <a:pt x="1226" y="350"/>
                  <a:pt x="1226" y="350"/>
                </a:cubicBezTo>
                <a:cubicBezTo>
                  <a:pt x="1228" y="350"/>
                  <a:pt x="1227" y="348"/>
                  <a:pt x="1227" y="347"/>
                </a:cubicBezTo>
                <a:cubicBezTo>
                  <a:pt x="1227" y="346"/>
                  <a:pt x="1228" y="346"/>
                  <a:pt x="1228" y="345"/>
                </a:cubicBezTo>
                <a:cubicBezTo>
                  <a:pt x="1228" y="345"/>
                  <a:pt x="1228" y="344"/>
                  <a:pt x="1228" y="344"/>
                </a:cubicBezTo>
                <a:cubicBezTo>
                  <a:pt x="1228" y="343"/>
                  <a:pt x="1231" y="342"/>
                  <a:pt x="1230" y="341"/>
                </a:cubicBezTo>
                <a:cubicBezTo>
                  <a:pt x="1230" y="340"/>
                  <a:pt x="1229" y="340"/>
                  <a:pt x="1229" y="340"/>
                </a:cubicBezTo>
                <a:cubicBezTo>
                  <a:pt x="1229" y="340"/>
                  <a:pt x="1229" y="339"/>
                  <a:pt x="1229" y="339"/>
                </a:cubicBezTo>
                <a:cubicBezTo>
                  <a:pt x="1228" y="338"/>
                  <a:pt x="1228" y="338"/>
                  <a:pt x="1227" y="338"/>
                </a:cubicBezTo>
                <a:cubicBezTo>
                  <a:pt x="1226" y="336"/>
                  <a:pt x="1229" y="336"/>
                  <a:pt x="1228" y="334"/>
                </a:cubicBezTo>
                <a:cubicBezTo>
                  <a:pt x="1228" y="334"/>
                  <a:pt x="1228" y="334"/>
                  <a:pt x="1228" y="334"/>
                </a:cubicBezTo>
                <a:cubicBezTo>
                  <a:pt x="1227" y="333"/>
                  <a:pt x="1227" y="333"/>
                  <a:pt x="1227" y="333"/>
                </a:cubicBezTo>
                <a:cubicBezTo>
                  <a:pt x="1227" y="332"/>
                  <a:pt x="1226" y="332"/>
                  <a:pt x="1225" y="332"/>
                </a:cubicBezTo>
                <a:cubicBezTo>
                  <a:pt x="1225" y="331"/>
                  <a:pt x="1226" y="331"/>
                  <a:pt x="1227" y="331"/>
                </a:cubicBezTo>
                <a:cubicBezTo>
                  <a:pt x="1228" y="331"/>
                  <a:pt x="1228" y="331"/>
                  <a:pt x="1229" y="331"/>
                </a:cubicBezTo>
                <a:cubicBezTo>
                  <a:pt x="1229" y="331"/>
                  <a:pt x="1230" y="331"/>
                  <a:pt x="1230" y="330"/>
                </a:cubicBezTo>
                <a:cubicBezTo>
                  <a:pt x="1230" y="329"/>
                  <a:pt x="1229" y="329"/>
                  <a:pt x="1228" y="329"/>
                </a:cubicBezTo>
                <a:cubicBezTo>
                  <a:pt x="1228" y="328"/>
                  <a:pt x="1230" y="328"/>
                  <a:pt x="1230" y="328"/>
                </a:cubicBezTo>
                <a:cubicBezTo>
                  <a:pt x="1232" y="328"/>
                  <a:pt x="1233" y="327"/>
                  <a:pt x="1233" y="326"/>
                </a:cubicBezTo>
                <a:cubicBezTo>
                  <a:pt x="1233" y="325"/>
                  <a:pt x="1234" y="324"/>
                  <a:pt x="1235" y="324"/>
                </a:cubicBezTo>
                <a:cubicBezTo>
                  <a:pt x="1235" y="323"/>
                  <a:pt x="1236" y="324"/>
                  <a:pt x="1236" y="323"/>
                </a:cubicBezTo>
                <a:cubicBezTo>
                  <a:pt x="1237" y="323"/>
                  <a:pt x="1236" y="322"/>
                  <a:pt x="1236" y="321"/>
                </a:cubicBezTo>
                <a:cubicBezTo>
                  <a:pt x="1236" y="320"/>
                  <a:pt x="1236" y="320"/>
                  <a:pt x="1235" y="320"/>
                </a:cubicBezTo>
                <a:cubicBezTo>
                  <a:pt x="1234" y="320"/>
                  <a:pt x="1233" y="320"/>
                  <a:pt x="1233" y="319"/>
                </a:cubicBezTo>
                <a:cubicBezTo>
                  <a:pt x="1233" y="319"/>
                  <a:pt x="1235" y="318"/>
                  <a:pt x="1235" y="318"/>
                </a:cubicBezTo>
                <a:cubicBezTo>
                  <a:pt x="1235" y="318"/>
                  <a:pt x="1236" y="319"/>
                  <a:pt x="1237" y="319"/>
                </a:cubicBezTo>
                <a:cubicBezTo>
                  <a:pt x="1238" y="319"/>
                  <a:pt x="1240" y="320"/>
                  <a:pt x="1241" y="319"/>
                </a:cubicBezTo>
                <a:cubicBezTo>
                  <a:pt x="1242" y="319"/>
                  <a:pt x="1242" y="319"/>
                  <a:pt x="1243" y="318"/>
                </a:cubicBezTo>
                <a:cubicBezTo>
                  <a:pt x="1243" y="317"/>
                  <a:pt x="1243" y="316"/>
                  <a:pt x="1243" y="316"/>
                </a:cubicBezTo>
                <a:cubicBezTo>
                  <a:pt x="1243" y="315"/>
                  <a:pt x="1244" y="315"/>
                  <a:pt x="1244" y="314"/>
                </a:cubicBezTo>
                <a:cubicBezTo>
                  <a:pt x="1245" y="313"/>
                  <a:pt x="1244" y="313"/>
                  <a:pt x="1243" y="313"/>
                </a:cubicBezTo>
                <a:cubicBezTo>
                  <a:pt x="1242" y="313"/>
                  <a:pt x="1242" y="314"/>
                  <a:pt x="1241" y="313"/>
                </a:cubicBezTo>
                <a:cubicBezTo>
                  <a:pt x="1240" y="313"/>
                  <a:pt x="1239" y="313"/>
                  <a:pt x="1239" y="313"/>
                </a:cubicBezTo>
                <a:cubicBezTo>
                  <a:pt x="1237" y="313"/>
                  <a:pt x="1235" y="313"/>
                  <a:pt x="1234" y="313"/>
                </a:cubicBezTo>
                <a:cubicBezTo>
                  <a:pt x="1234" y="312"/>
                  <a:pt x="1235" y="312"/>
                  <a:pt x="1236" y="312"/>
                </a:cubicBezTo>
                <a:cubicBezTo>
                  <a:pt x="1237" y="311"/>
                  <a:pt x="1237" y="311"/>
                  <a:pt x="1238" y="311"/>
                </a:cubicBezTo>
                <a:cubicBezTo>
                  <a:pt x="1240" y="311"/>
                  <a:pt x="1241" y="311"/>
                  <a:pt x="1242" y="311"/>
                </a:cubicBezTo>
                <a:cubicBezTo>
                  <a:pt x="1243" y="311"/>
                  <a:pt x="1244" y="311"/>
                  <a:pt x="1245" y="310"/>
                </a:cubicBezTo>
                <a:cubicBezTo>
                  <a:pt x="1245" y="310"/>
                  <a:pt x="1247" y="310"/>
                  <a:pt x="1247" y="310"/>
                </a:cubicBezTo>
                <a:cubicBezTo>
                  <a:pt x="1248" y="308"/>
                  <a:pt x="1244" y="309"/>
                  <a:pt x="1243" y="308"/>
                </a:cubicBezTo>
                <a:cubicBezTo>
                  <a:pt x="1244" y="307"/>
                  <a:pt x="1244" y="307"/>
                  <a:pt x="1245" y="307"/>
                </a:cubicBezTo>
                <a:cubicBezTo>
                  <a:pt x="1246" y="307"/>
                  <a:pt x="1246" y="307"/>
                  <a:pt x="1247" y="307"/>
                </a:cubicBezTo>
                <a:cubicBezTo>
                  <a:pt x="1248" y="307"/>
                  <a:pt x="1248" y="306"/>
                  <a:pt x="1249" y="306"/>
                </a:cubicBezTo>
                <a:cubicBezTo>
                  <a:pt x="1250" y="307"/>
                  <a:pt x="1251" y="307"/>
                  <a:pt x="1251" y="306"/>
                </a:cubicBezTo>
                <a:cubicBezTo>
                  <a:pt x="1251" y="305"/>
                  <a:pt x="1248" y="305"/>
                  <a:pt x="1247" y="304"/>
                </a:cubicBezTo>
                <a:cubicBezTo>
                  <a:pt x="1246" y="304"/>
                  <a:pt x="1244" y="304"/>
                  <a:pt x="1243" y="303"/>
                </a:cubicBezTo>
                <a:cubicBezTo>
                  <a:pt x="1242" y="303"/>
                  <a:pt x="1240" y="302"/>
                  <a:pt x="1239" y="302"/>
                </a:cubicBezTo>
                <a:cubicBezTo>
                  <a:pt x="1238" y="302"/>
                  <a:pt x="1237" y="301"/>
                  <a:pt x="1235" y="301"/>
                </a:cubicBezTo>
                <a:cubicBezTo>
                  <a:pt x="1234" y="301"/>
                  <a:pt x="1234" y="301"/>
                  <a:pt x="1233" y="301"/>
                </a:cubicBezTo>
                <a:cubicBezTo>
                  <a:pt x="1232" y="300"/>
                  <a:pt x="1232" y="300"/>
                  <a:pt x="1232" y="299"/>
                </a:cubicBezTo>
                <a:cubicBezTo>
                  <a:pt x="1231" y="299"/>
                  <a:pt x="1230" y="299"/>
                  <a:pt x="1229" y="299"/>
                </a:cubicBezTo>
                <a:cubicBezTo>
                  <a:pt x="1229" y="298"/>
                  <a:pt x="1230" y="298"/>
                  <a:pt x="1231" y="298"/>
                </a:cubicBezTo>
                <a:cubicBezTo>
                  <a:pt x="1232" y="299"/>
                  <a:pt x="1233" y="298"/>
                  <a:pt x="1235" y="299"/>
                </a:cubicBezTo>
                <a:cubicBezTo>
                  <a:pt x="1235" y="299"/>
                  <a:pt x="1236" y="300"/>
                  <a:pt x="1236" y="300"/>
                </a:cubicBezTo>
                <a:cubicBezTo>
                  <a:pt x="1237" y="300"/>
                  <a:pt x="1237" y="298"/>
                  <a:pt x="1237" y="298"/>
                </a:cubicBezTo>
                <a:cubicBezTo>
                  <a:pt x="1237" y="297"/>
                  <a:pt x="1236" y="296"/>
                  <a:pt x="1237" y="296"/>
                </a:cubicBezTo>
                <a:cubicBezTo>
                  <a:pt x="1238" y="296"/>
                  <a:pt x="1239" y="296"/>
                  <a:pt x="1239" y="297"/>
                </a:cubicBezTo>
                <a:cubicBezTo>
                  <a:pt x="1239" y="298"/>
                  <a:pt x="1239" y="298"/>
                  <a:pt x="1240" y="299"/>
                </a:cubicBezTo>
                <a:cubicBezTo>
                  <a:pt x="1240" y="299"/>
                  <a:pt x="1241" y="300"/>
                  <a:pt x="1242" y="300"/>
                </a:cubicBezTo>
                <a:cubicBezTo>
                  <a:pt x="1243" y="300"/>
                  <a:pt x="1244" y="300"/>
                  <a:pt x="1246" y="300"/>
                </a:cubicBezTo>
                <a:cubicBezTo>
                  <a:pt x="1247" y="300"/>
                  <a:pt x="1248" y="300"/>
                  <a:pt x="1248" y="300"/>
                </a:cubicBezTo>
                <a:cubicBezTo>
                  <a:pt x="1249" y="300"/>
                  <a:pt x="1249" y="301"/>
                  <a:pt x="1250" y="301"/>
                </a:cubicBezTo>
                <a:cubicBezTo>
                  <a:pt x="1251" y="302"/>
                  <a:pt x="1253" y="302"/>
                  <a:pt x="1253" y="301"/>
                </a:cubicBezTo>
                <a:cubicBezTo>
                  <a:pt x="1254" y="300"/>
                  <a:pt x="1254" y="300"/>
                  <a:pt x="1254" y="299"/>
                </a:cubicBezTo>
                <a:cubicBezTo>
                  <a:pt x="1254" y="298"/>
                  <a:pt x="1255" y="298"/>
                  <a:pt x="1255" y="297"/>
                </a:cubicBezTo>
                <a:cubicBezTo>
                  <a:pt x="1255" y="297"/>
                  <a:pt x="1256" y="296"/>
                  <a:pt x="1256" y="295"/>
                </a:cubicBezTo>
                <a:cubicBezTo>
                  <a:pt x="1257" y="295"/>
                  <a:pt x="1257" y="295"/>
                  <a:pt x="1258" y="295"/>
                </a:cubicBezTo>
                <a:cubicBezTo>
                  <a:pt x="1259" y="295"/>
                  <a:pt x="1259" y="294"/>
                  <a:pt x="1260" y="293"/>
                </a:cubicBezTo>
                <a:cubicBezTo>
                  <a:pt x="1261" y="293"/>
                  <a:pt x="1263" y="293"/>
                  <a:pt x="1262" y="291"/>
                </a:cubicBezTo>
                <a:cubicBezTo>
                  <a:pt x="1262" y="291"/>
                  <a:pt x="1261" y="291"/>
                  <a:pt x="1261" y="290"/>
                </a:cubicBezTo>
                <a:cubicBezTo>
                  <a:pt x="1260" y="290"/>
                  <a:pt x="1260" y="289"/>
                  <a:pt x="1259" y="289"/>
                </a:cubicBezTo>
                <a:cubicBezTo>
                  <a:pt x="1258" y="289"/>
                  <a:pt x="1257" y="289"/>
                  <a:pt x="1257" y="288"/>
                </a:cubicBezTo>
                <a:cubicBezTo>
                  <a:pt x="1256" y="287"/>
                  <a:pt x="1255" y="287"/>
                  <a:pt x="1255" y="287"/>
                </a:cubicBezTo>
                <a:cubicBezTo>
                  <a:pt x="1255" y="286"/>
                  <a:pt x="1256" y="287"/>
                  <a:pt x="1256" y="287"/>
                </a:cubicBezTo>
                <a:cubicBezTo>
                  <a:pt x="1257" y="287"/>
                  <a:pt x="1258" y="287"/>
                  <a:pt x="1258" y="287"/>
                </a:cubicBezTo>
                <a:cubicBezTo>
                  <a:pt x="1260" y="288"/>
                  <a:pt x="1260" y="289"/>
                  <a:pt x="1262" y="290"/>
                </a:cubicBezTo>
                <a:cubicBezTo>
                  <a:pt x="1263" y="290"/>
                  <a:pt x="1265" y="290"/>
                  <a:pt x="1266" y="289"/>
                </a:cubicBezTo>
                <a:cubicBezTo>
                  <a:pt x="1266" y="288"/>
                  <a:pt x="1266" y="288"/>
                  <a:pt x="1267" y="287"/>
                </a:cubicBezTo>
                <a:cubicBezTo>
                  <a:pt x="1267" y="287"/>
                  <a:pt x="1268" y="286"/>
                  <a:pt x="1268" y="286"/>
                </a:cubicBezTo>
                <a:cubicBezTo>
                  <a:pt x="1269" y="284"/>
                  <a:pt x="1269" y="283"/>
                  <a:pt x="1268" y="282"/>
                </a:cubicBezTo>
                <a:cubicBezTo>
                  <a:pt x="1267" y="281"/>
                  <a:pt x="1266" y="280"/>
                  <a:pt x="1265" y="280"/>
                </a:cubicBezTo>
                <a:cubicBezTo>
                  <a:pt x="1263" y="279"/>
                  <a:pt x="1262" y="279"/>
                  <a:pt x="1260" y="279"/>
                </a:cubicBezTo>
                <a:cubicBezTo>
                  <a:pt x="1259" y="279"/>
                  <a:pt x="1257" y="279"/>
                  <a:pt x="1256" y="278"/>
                </a:cubicBezTo>
                <a:cubicBezTo>
                  <a:pt x="1257" y="277"/>
                  <a:pt x="1260" y="278"/>
                  <a:pt x="1261" y="278"/>
                </a:cubicBezTo>
                <a:cubicBezTo>
                  <a:pt x="1262" y="278"/>
                  <a:pt x="1263" y="278"/>
                  <a:pt x="1264" y="278"/>
                </a:cubicBezTo>
                <a:cubicBezTo>
                  <a:pt x="1265" y="279"/>
                  <a:pt x="1267" y="279"/>
                  <a:pt x="1268" y="280"/>
                </a:cubicBezTo>
                <a:cubicBezTo>
                  <a:pt x="1269" y="281"/>
                  <a:pt x="1270" y="282"/>
                  <a:pt x="1271" y="283"/>
                </a:cubicBezTo>
                <a:cubicBezTo>
                  <a:pt x="1271" y="283"/>
                  <a:pt x="1271" y="284"/>
                  <a:pt x="1272" y="284"/>
                </a:cubicBezTo>
                <a:cubicBezTo>
                  <a:pt x="1273" y="284"/>
                  <a:pt x="1273" y="283"/>
                  <a:pt x="1274" y="283"/>
                </a:cubicBezTo>
                <a:cubicBezTo>
                  <a:pt x="1274" y="282"/>
                  <a:pt x="1275" y="282"/>
                  <a:pt x="1275" y="281"/>
                </a:cubicBezTo>
                <a:cubicBezTo>
                  <a:pt x="1275" y="281"/>
                  <a:pt x="1275" y="280"/>
                  <a:pt x="1275" y="279"/>
                </a:cubicBezTo>
                <a:cubicBezTo>
                  <a:pt x="1275" y="278"/>
                  <a:pt x="1276" y="276"/>
                  <a:pt x="1275" y="275"/>
                </a:cubicBezTo>
                <a:cubicBezTo>
                  <a:pt x="1275" y="275"/>
                  <a:pt x="1274" y="275"/>
                  <a:pt x="1274" y="274"/>
                </a:cubicBezTo>
                <a:cubicBezTo>
                  <a:pt x="1273" y="274"/>
                  <a:pt x="1273" y="274"/>
                  <a:pt x="1272" y="273"/>
                </a:cubicBezTo>
                <a:cubicBezTo>
                  <a:pt x="1272" y="273"/>
                  <a:pt x="1271" y="272"/>
                  <a:pt x="1271" y="272"/>
                </a:cubicBezTo>
                <a:cubicBezTo>
                  <a:pt x="1270" y="271"/>
                  <a:pt x="1270" y="271"/>
                  <a:pt x="1269" y="271"/>
                </a:cubicBezTo>
                <a:cubicBezTo>
                  <a:pt x="1269" y="270"/>
                  <a:pt x="1265" y="271"/>
                  <a:pt x="1266" y="270"/>
                </a:cubicBezTo>
                <a:cubicBezTo>
                  <a:pt x="1266" y="269"/>
                  <a:pt x="1267" y="269"/>
                  <a:pt x="1267" y="268"/>
                </a:cubicBezTo>
                <a:cubicBezTo>
                  <a:pt x="1267" y="267"/>
                  <a:pt x="1267" y="266"/>
                  <a:pt x="1268" y="267"/>
                </a:cubicBezTo>
                <a:cubicBezTo>
                  <a:pt x="1269" y="267"/>
                  <a:pt x="1270" y="268"/>
                  <a:pt x="1271" y="269"/>
                </a:cubicBezTo>
                <a:cubicBezTo>
                  <a:pt x="1272" y="270"/>
                  <a:pt x="1273" y="271"/>
                  <a:pt x="1274" y="272"/>
                </a:cubicBezTo>
                <a:cubicBezTo>
                  <a:pt x="1275" y="272"/>
                  <a:pt x="1277" y="272"/>
                  <a:pt x="1278" y="273"/>
                </a:cubicBezTo>
                <a:cubicBezTo>
                  <a:pt x="1279" y="274"/>
                  <a:pt x="1280" y="274"/>
                  <a:pt x="1281" y="273"/>
                </a:cubicBezTo>
                <a:cubicBezTo>
                  <a:pt x="1281" y="272"/>
                  <a:pt x="1281" y="270"/>
                  <a:pt x="1281" y="269"/>
                </a:cubicBezTo>
                <a:cubicBezTo>
                  <a:pt x="1281" y="268"/>
                  <a:pt x="1282" y="268"/>
                  <a:pt x="1282" y="267"/>
                </a:cubicBezTo>
                <a:cubicBezTo>
                  <a:pt x="1283" y="266"/>
                  <a:pt x="1283" y="265"/>
                  <a:pt x="1285" y="265"/>
                </a:cubicBezTo>
                <a:cubicBezTo>
                  <a:pt x="1286" y="265"/>
                  <a:pt x="1286" y="265"/>
                  <a:pt x="1287" y="266"/>
                </a:cubicBezTo>
                <a:cubicBezTo>
                  <a:pt x="1287" y="267"/>
                  <a:pt x="1288" y="267"/>
                  <a:pt x="1289" y="266"/>
                </a:cubicBezTo>
                <a:cubicBezTo>
                  <a:pt x="1289" y="266"/>
                  <a:pt x="1290" y="266"/>
                  <a:pt x="1290" y="265"/>
                </a:cubicBezTo>
                <a:cubicBezTo>
                  <a:pt x="1291" y="265"/>
                  <a:pt x="1291" y="264"/>
                  <a:pt x="1291" y="263"/>
                </a:cubicBezTo>
                <a:cubicBezTo>
                  <a:pt x="1291" y="262"/>
                  <a:pt x="1292" y="261"/>
                  <a:pt x="1292" y="260"/>
                </a:cubicBezTo>
                <a:cubicBezTo>
                  <a:pt x="1291" y="259"/>
                  <a:pt x="1290" y="259"/>
                  <a:pt x="1290" y="259"/>
                </a:cubicBezTo>
                <a:cubicBezTo>
                  <a:pt x="1290" y="258"/>
                  <a:pt x="1291" y="257"/>
                  <a:pt x="1290" y="256"/>
                </a:cubicBezTo>
                <a:cubicBezTo>
                  <a:pt x="1290" y="255"/>
                  <a:pt x="1289" y="255"/>
                  <a:pt x="1288" y="255"/>
                </a:cubicBezTo>
                <a:cubicBezTo>
                  <a:pt x="1288" y="254"/>
                  <a:pt x="1288" y="254"/>
                  <a:pt x="1287" y="253"/>
                </a:cubicBezTo>
                <a:cubicBezTo>
                  <a:pt x="1286" y="253"/>
                  <a:pt x="1285" y="253"/>
                  <a:pt x="1285" y="253"/>
                </a:cubicBezTo>
                <a:cubicBezTo>
                  <a:pt x="1284" y="252"/>
                  <a:pt x="1283" y="252"/>
                  <a:pt x="1283" y="252"/>
                </a:cubicBezTo>
                <a:cubicBezTo>
                  <a:pt x="1282" y="251"/>
                  <a:pt x="1283" y="251"/>
                  <a:pt x="1284" y="251"/>
                </a:cubicBezTo>
                <a:cubicBezTo>
                  <a:pt x="1285" y="251"/>
                  <a:pt x="1286" y="252"/>
                  <a:pt x="1286" y="252"/>
                </a:cubicBezTo>
                <a:cubicBezTo>
                  <a:pt x="1287" y="252"/>
                  <a:pt x="1288" y="252"/>
                  <a:pt x="1288" y="252"/>
                </a:cubicBezTo>
                <a:cubicBezTo>
                  <a:pt x="1289" y="252"/>
                  <a:pt x="1289" y="253"/>
                  <a:pt x="1290" y="253"/>
                </a:cubicBezTo>
                <a:cubicBezTo>
                  <a:pt x="1291" y="254"/>
                  <a:pt x="1292" y="254"/>
                  <a:pt x="1294" y="254"/>
                </a:cubicBezTo>
                <a:cubicBezTo>
                  <a:pt x="1295" y="255"/>
                  <a:pt x="1295" y="255"/>
                  <a:pt x="1296" y="256"/>
                </a:cubicBezTo>
                <a:cubicBezTo>
                  <a:pt x="1297" y="256"/>
                  <a:pt x="1299" y="257"/>
                  <a:pt x="1299" y="256"/>
                </a:cubicBezTo>
                <a:cubicBezTo>
                  <a:pt x="1301" y="256"/>
                  <a:pt x="1300" y="253"/>
                  <a:pt x="1301" y="252"/>
                </a:cubicBezTo>
                <a:cubicBezTo>
                  <a:pt x="1301" y="251"/>
                  <a:pt x="1302" y="250"/>
                  <a:pt x="1302" y="250"/>
                </a:cubicBezTo>
                <a:cubicBezTo>
                  <a:pt x="1302" y="249"/>
                  <a:pt x="1302" y="249"/>
                  <a:pt x="1302" y="249"/>
                </a:cubicBezTo>
                <a:cubicBezTo>
                  <a:pt x="1302" y="248"/>
                  <a:pt x="1301" y="248"/>
                  <a:pt x="1301" y="248"/>
                </a:cubicBezTo>
                <a:cubicBezTo>
                  <a:pt x="1301" y="247"/>
                  <a:pt x="1302" y="247"/>
                  <a:pt x="1302" y="246"/>
                </a:cubicBezTo>
                <a:cubicBezTo>
                  <a:pt x="1302" y="246"/>
                  <a:pt x="1301" y="245"/>
                  <a:pt x="1302" y="245"/>
                </a:cubicBezTo>
                <a:cubicBezTo>
                  <a:pt x="1303" y="245"/>
                  <a:pt x="1303" y="246"/>
                  <a:pt x="1304" y="246"/>
                </a:cubicBezTo>
                <a:cubicBezTo>
                  <a:pt x="1304" y="247"/>
                  <a:pt x="1305" y="247"/>
                  <a:pt x="1305" y="247"/>
                </a:cubicBezTo>
                <a:cubicBezTo>
                  <a:pt x="1306" y="248"/>
                  <a:pt x="1306" y="248"/>
                  <a:pt x="1307" y="248"/>
                </a:cubicBezTo>
                <a:cubicBezTo>
                  <a:pt x="1308" y="248"/>
                  <a:pt x="1308" y="248"/>
                  <a:pt x="1309" y="249"/>
                </a:cubicBezTo>
                <a:cubicBezTo>
                  <a:pt x="1309" y="249"/>
                  <a:pt x="1310" y="250"/>
                  <a:pt x="1310" y="250"/>
                </a:cubicBezTo>
                <a:cubicBezTo>
                  <a:pt x="1312" y="251"/>
                  <a:pt x="1312" y="249"/>
                  <a:pt x="1313" y="248"/>
                </a:cubicBezTo>
                <a:cubicBezTo>
                  <a:pt x="1313" y="248"/>
                  <a:pt x="1314" y="247"/>
                  <a:pt x="1314" y="246"/>
                </a:cubicBezTo>
                <a:cubicBezTo>
                  <a:pt x="1314" y="246"/>
                  <a:pt x="1313" y="246"/>
                  <a:pt x="1312" y="245"/>
                </a:cubicBezTo>
                <a:cubicBezTo>
                  <a:pt x="1312" y="245"/>
                  <a:pt x="1312" y="244"/>
                  <a:pt x="1311" y="244"/>
                </a:cubicBezTo>
                <a:cubicBezTo>
                  <a:pt x="1311" y="244"/>
                  <a:pt x="1309" y="244"/>
                  <a:pt x="1309" y="243"/>
                </a:cubicBezTo>
                <a:cubicBezTo>
                  <a:pt x="1311" y="243"/>
                  <a:pt x="1311" y="244"/>
                  <a:pt x="1313" y="244"/>
                </a:cubicBezTo>
                <a:cubicBezTo>
                  <a:pt x="1314" y="244"/>
                  <a:pt x="1315" y="244"/>
                  <a:pt x="1316" y="244"/>
                </a:cubicBezTo>
                <a:cubicBezTo>
                  <a:pt x="1317" y="245"/>
                  <a:pt x="1318" y="245"/>
                  <a:pt x="1319" y="245"/>
                </a:cubicBezTo>
                <a:cubicBezTo>
                  <a:pt x="1320" y="245"/>
                  <a:pt x="1320" y="245"/>
                  <a:pt x="1321" y="245"/>
                </a:cubicBezTo>
                <a:cubicBezTo>
                  <a:pt x="1322" y="244"/>
                  <a:pt x="1322" y="242"/>
                  <a:pt x="1322" y="241"/>
                </a:cubicBezTo>
                <a:cubicBezTo>
                  <a:pt x="1322" y="239"/>
                  <a:pt x="1324" y="239"/>
                  <a:pt x="1325" y="238"/>
                </a:cubicBezTo>
                <a:cubicBezTo>
                  <a:pt x="1326" y="238"/>
                  <a:pt x="1326" y="237"/>
                  <a:pt x="1327" y="237"/>
                </a:cubicBezTo>
                <a:cubicBezTo>
                  <a:pt x="1327" y="237"/>
                  <a:pt x="1328" y="237"/>
                  <a:pt x="1329" y="236"/>
                </a:cubicBezTo>
                <a:cubicBezTo>
                  <a:pt x="1329" y="235"/>
                  <a:pt x="1328" y="235"/>
                  <a:pt x="1327" y="236"/>
                </a:cubicBezTo>
                <a:cubicBezTo>
                  <a:pt x="1326" y="236"/>
                  <a:pt x="1324" y="236"/>
                  <a:pt x="1324" y="235"/>
                </a:cubicBezTo>
                <a:cubicBezTo>
                  <a:pt x="1323" y="235"/>
                  <a:pt x="1323" y="235"/>
                  <a:pt x="1323" y="234"/>
                </a:cubicBezTo>
                <a:cubicBezTo>
                  <a:pt x="1323" y="234"/>
                  <a:pt x="1322" y="234"/>
                  <a:pt x="1321" y="234"/>
                </a:cubicBezTo>
                <a:cubicBezTo>
                  <a:pt x="1321" y="234"/>
                  <a:pt x="1319" y="234"/>
                  <a:pt x="1319" y="234"/>
                </a:cubicBezTo>
                <a:cubicBezTo>
                  <a:pt x="1321" y="233"/>
                  <a:pt x="1323" y="233"/>
                  <a:pt x="1326" y="233"/>
                </a:cubicBezTo>
                <a:cubicBezTo>
                  <a:pt x="1327" y="233"/>
                  <a:pt x="1329" y="234"/>
                  <a:pt x="1330" y="233"/>
                </a:cubicBezTo>
                <a:cubicBezTo>
                  <a:pt x="1331" y="233"/>
                  <a:pt x="1331" y="232"/>
                  <a:pt x="1331" y="232"/>
                </a:cubicBezTo>
                <a:cubicBezTo>
                  <a:pt x="1332" y="231"/>
                  <a:pt x="1332" y="230"/>
                  <a:pt x="1333" y="230"/>
                </a:cubicBezTo>
                <a:cubicBezTo>
                  <a:pt x="1334" y="229"/>
                  <a:pt x="1334" y="229"/>
                  <a:pt x="1335" y="228"/>
                </a:cubicBezTo>
                <a:cubicBezTo>
                  <a:pt x="1336" y="228"/>
                  <a:pt x="1336" y="227"/>
                  <a:pt x="1337" y="227"/>
                </a:cubicBezTo>
                <a:cubicBezTo>
                  <a:pt x="1338" y="226"/>
                  <a:pt x="1340" y="226"/>
                  <a:pt x="1341" y="225"/>
                </a:cubicBezTo>
                <a:cubicBezTo>
                  <a:pt x="1342" y="225"/>
                  <a:pt x="1342" y="223"/>
                  <a:pt x="1343" y="223"/>
                </a:cubicBezTo>
                <a:cubicBezTo>
                  <a:pt x="1344" y="222"/>
                  <a:pt x="1344" y="223"/>
                  <a:pt x="1344" y="224"/>
                </a:cubicBezTo>
                <a:cubicBezTo>
                  <a:pt x="1345" y="224"/>
                  <a:pt x="1345" y="224"/>
                  <a:pt x="1346" y="225"/>
                </a:cubicBezTo>
                <a:cubicBezTo>
                  <a:pt x="1346" y="225"/>
                  <a:pt x="1346" y="225"/>
                  <a:pt x="1346" y="226"/>
                </a:cubicBezTo>
                <a:cubicBezTo>
                  <a:pt x="1348" y="226"/>
                  <a:pt x="1348" y="224"/>
                  <a:pt x="1348" y="223"/>
                </a:cubicBezTo>
                <a:cubicBezTo>
                  <a:pt x="1349" y="222"/>
                  <a:pt x="1349" y="221"/>
                  <a:pt x="1350" y="220"/>
                </a:cubicBezTo>
                <a:cubicBezTo>
                  <a:pt x="1351" y="219"/>
                  <a:pt x="1352" y="219"/>
                  <a:pt x="1353" y="218"/>
                </a:cubicBezTo>
                <a:cubicBezTo>
                  <a:pt x="1354" y="217"/>
                  <a:pt x="1356" y="217"/>
                  <a:pt x="1357" y="216"/>
                </a:cubicBezTo>
                <a:cubicBezTo>
                  <a:pt x="1358" y="216"/>
                  <a:pt x="1360" y="215"/>
                  <a:pt x="1361" y="215"/>
                </a:cubicBezTo>
                <a:cubicBezTo>
                  <a:pt x="1363" y="214"/>
                  <a:pt x="1365" y="214"/>
                  <a:pt x="1367" y="214"/>
                </a:cubicBezTo>
                <a:cubicBezTo>
                  <a:pt x="1370" y="214"/>
                  <a:pt x="1372" y="213"/>
                  <a:pt x="1374" y="212"/>
                </a:cubicBezTo>
                <a:cubicBezTo>
                  <a:pt x="1376" y="212"/>
                  <a:pt x="1378" y="211"/>
                  <a:pt x="1380" y="210"/>
                </a:cubicBezTo>
                <a:cubicBezTo>
                  <a:pt x="1382" y="210"/>
                  <a:pt x="1383" y="210"/>
                  <a:pt x="1384" y="210"/>
                </a:cubicBezTo>
                <a:cubicBezTo>
                  <a:pt x="1385" y="210"/>
                  <a:pt x="1386" y="210"/>
                  <a:pt x="1388" y="209"/>
                </a:cubicBezTo>
                <a:cubicBezTo>
                  <a:pt x="1390" y="209"/>
                  <a:pt x="1392" y="209"/>
                  <a:pt x="1395" y="208"/>
                </a:cubicBezTo>
                <a:cubicBezTo>
                  <a:pt x="1396" y="207"/>
                  <a:pt x="1397" y="207"/>
                  <a:pt x="1399" y="206"/>
                </a:cubicBezTo>
                <a:cubicBezTo>
                  <a:pt x="1400" y="206"/>
                  <a:pt x="1401" y="205"/>
                  <a:pt x="1403" y="205"/>
                </a:cubicBezTo>
                <a:cubicBezTo>
                  <a:pt x="1405" y="204"/>
                  <a:pt x="1407" y="204"/>
                  <a:pt x="1408" y="203"/>
                </a:cubicBezTo>
                <a:cubicBezTo>
                  <a:pt x="1414" y="201"/>
                  <a:pt x="1420" y="202"/>
                  <a:pt x="1425" y="200"/>
                </a:cubicBezTo>
                <a:cubicBezTo>
                  <a:pt x="1427" y="199"/>
                  <a:pt x="1428" y="198"/>
                  <a:pt x="1430" y="197"/>
                </a:cubicBezTo>
                <a:cubicBezTo>
                  <a:pt x="1432" y="197"/>
                  <a:pt x="1433" y="196"/>
                  <a:pt x="1435" y="196"/>
                </a:cubicBezTo>
                <a:cubicBezTo>
                  <a:pt x="1437" y="196"/>
                  <a:pt x="1439" y="196"/>
                  <a:pt x="1440" y="195"/>
                </a:cubicBezTo>
                <a:cubicBezTo>
                  <a:pt x="1443" y="195"/>
                  <a:pt x="1445" y="193"/>
                  <a:pt x="1447" y="193"/>
                </a:cubicBezTo>
                <a:cubicBezTo>
                  <a:pt x="1449" y="192"/>
                  <a:pt x="1451" y="192"/>
                  <a:pt x="1453" y="192"/>
                </a:cubicBezTo>
                <a:cubicBezTo>
                  <a:pt x="1456" y="191"/>
                  <a:pt x="1457" y="189"/>
                  <a:pt x="1460" y="189"/>
                </a:cubicBezTo>
                <a:cubicBezTo>
                  <a:pt x="1462" y="188"/>
                  <a:pt x="1464" y="188"/>
                  <a:pt x="1466" y="187"/>
                </a:cubicBezTo>
                <a:cubicBezTo>
                  <a:pt x="1467" y="187"/>
                  <a:pt x="1468" y="186"/>
                  <a:pt x="1469" y="185"/>
                </a:cubicBezTo>
                <a:cubicBezTo>
                  <a:pt x="1470" y="185"/>
                  <a:pt x="1471" y="184"/>
                  <a:pt x="1473" y="184"/>
                </a:cubicBezTo>
                <a:cubicBezTo>
                  <a:pt x="1474" y="183"/>
                  <a:pt x="1475" y="183"/>
                  <a:pt x="1477" y="183"/>
                </a:cubicBezTo>
                <a:cubicBezTo>
                  <a:pt x="1478" y="184"/>
                  <a:pt x="1479" y="183"/>
                  <a:pt x="1479" y="183"/>
                </a:cubicBezTo>
                <a:cubicBezTo>
                  <a:pt x="1480" y="182"/>
                  <a:pt x="1480" y="182"/>
                  <a:pt x="1480" y="181"/>
                </a:cubicBezTo>
                <a:cubicBezTo>
                  <a:pt x="1481" y="180"/>
                  <a:pt x="1481" y="180"/>
                  <a:pt x="1482" y="179"/>
                </a:cubicBezTo>
                <a:cubicBezTo>
                  <a:pt x="1484" y="178"/>
                  <a:pt x="1485" y="177"/>
                  <a:pt x="1487" y="176"/>
                </a:cubicBezTo>
                <a:cubicBezTo>
                  <a:pt x="1488" y="175"/>
                  <a:pt x="1489" y="174"/>
                  <a:pt x="1490" y="174"/>
                </a:cubicBezTo>
                <a:cubicBezTo>
                  <a:pt x="1492" y="173"/>
                  <a:pt x="1492" y="171"/>
                  <a:pt x="1492" y="170"/>
                </a:cubicBezTo>
                <a:cubicBezTo>
                  <a:pt x="1492" y="169"/>
                  <a:pt x="1492" y="168"/>
                  <a:pt x="1493" y="168"/>
                </a:cubicBezTo>
                <a:cubicBezTo>
                  <a:pt x="1493" y="167"/>
                  <a:pt x="1494" y="167"/>
                  <a:pt x="1494" y="166"/>
                </a:cubicBezTo>
                <a:cubicBezTo>
                  <a:pt x="1496" y="165"/>
                  <a:pt x="1495" y="163"/>
                  <a:pt x="1493" y="163"/>
                </a:cubicBezTo>
                <a:cubicBezTo>
                  <a:pt x="1492" y="162"/>
                  <a:pt x="1491" y="162"/>
                  <a:pt x="1491" y="161"/>
                </a:cubicBezTo>
                <a:cubicBezTo>
                  <a:pt x="1490" y="160"/>
                  <a:pt x="1491" y="158"/>
                  <a:pt x="1490" y="158"/>
                </a:cubicBezTo>
                <a:cubicBezTo>
                  <a:pt x="1489" y="157"/>
                  <a:pt x="1488" y="157"/>
                  <a:pt x="1488" y="157"/>
                </a:cubicBezTo>
                <a:cubicBezTo>
                  <a:pt x="1487" y="157"/>
                  <a:pt x="1486" y="157"/>
                  <a:pt x="1486" y="156"/>
                </a:cubicBezTo>
                <a:cubicBezTo>
                  <a:pt x="1485" y="156"/>
                  <a:pt x="1485" y="155"/>
                  <a:pt x="1484" y="155"/>
                </a:cubicBezTo>
                <a:cubicBezTo>
                  <a:pt x="1483" y="155"/>
                  <a:pt x="1481" y="155"/>
                  <a:pt x="1480" y="155"/>
                </a:cubicBezTo>
                <a:cubicBezTo>
                  <a:pt x="1479" y="155"/>
                  <a:pt x="1478" y="155"/>
                  <a:pt x="1478" y="154"/>
                </a:cubicBezTo>
                <a:cubicBezTo>
                  <a:pt x="1477" y="154"/>
                  <a:pt x="1477" y="153"/>
                  <a:pt x="1476" y="153"/>
                </a:cubicBezTo>
                <a:cubicBezTo>
                  <a:pt x="1476" y="152"/>
                  <a:pt x="1475" y="152"/>
                  <a:pt x="1474" y="152"/>
                </a:cubicBezTo>
                <a:cubicBezTo>
                  <a:pt x="1472" y="152"/>
                  <a:pt x="1470" y="152"/>
                  <a:pt x="1469" y="152"/>
                </a:cubicBezTo>
                <a:cubicBezTo>
                  <a:pt x="1467" y="152"/>
                  <a:pt x="1465" y="153"/>
                  <a:pt x="1464" y="153"/>
                </a:cubicBezTo>
                <a:cubicBezTo>
                  <a:pt x="1463" y="154"/>
                  <a:pt x="1461" y="154"/>
                  <a:pt x="1460" y="155"/>
                </a:cubicBezTo>
                <a:cubicBezTo>
                  <a:pt x="1459" y="155"/>
                  <a:pt x="1458" y="155"/>
                  <a:pt x="1457" y="155"/>
                </a:cubicBezTo>
                <a:cubicBezTo>
                  <a:pt x="1452" y="155"/>
                  <a:pt x="1449" y="158"/>
                  <a:pt x="1445" y="159"/>
                </a:cubicBezTo>
                <a:cubicBezTo>
                  <a:pt x="1444" y="159"/>
                  <a:pt x="1443" y="159"/>
                  <a:pt x="1442" y="160"/>
                </a:cubicBezTo>
                <a:cubicBezTo>
                  <a:pt x="1441" y="160"/>
                  <a:pt x="1440" y="160"/>
                  <a:pt x="1440" y="160"/>
                </a:cubicBezTo>
                <a:cubicBezTo>
                  <a:pt x="1438" y="161"/>
                  <a:pt x="1436" y="162"/>
                  <a:pt x="1435" y="163"/>
                </a:cubicBezTo>
                <a:cubicBezTo>
                  <a:pt x="1434" y="165"/>
                  <a:pt x="1433" y="165"/>
                  <a:pt x="1434" y="167"/>
                </a:cubicBezTo>
                <a:cubicBezTo>
                  <a:pt x="1434" y="168"/>
                  <a:pt x="1434" y="168"/>
                  <a:pt x="1434" y="169"/>
                </a:cubicBezTo>
                <a:cubicBezTo>
                  <a:pt x="1434" y="170"/>
                  <a:pt x="1435" y="170"/>
                  <a:pt x="1435" y="171"/>
                </a:cubicBezTo>
                <a:cubicBezTo>
                  <a:pt x="1436" y="173"/>
                  <a:pt x="1433" y="171"/>
                  <a:pt x="1432" y="171"/>
                </a:cubicBezTo>
                <a:cubicBezTo>
                  <a:pt x="1430" y="171"/>
                  <a:pt x="1429" y="170"/>
                  <a:pt x="1428" y="170"/>
                </a:cubicBezTo>
                <a:cubicBezTo>
                  <a:pt x="1426" y="170"/>
                  <a:pt x="1425" y="170"/>
                  <a:pt x="1424" y="171"/>
                </a:cubicBezTo>
                <a:cubicBezTo>
                  <a:pt x="1423" y="171"/>
                  <a:pt x="1423" y="172"/>
                  <a:pt x="1422" y="173"/>
                </a:cubicBezTo>
                <a:cubicBezTo>
                  <a:pt x="1421" y="173"/>
                  <a:pt x="1420" y="174"/>
                  <a:pt x="1419" y="174"/>
                </a:cubicBezTo>
                <a:cubicBezTo>
                  <a:pt x="1418" y="174"/>
                  <a:pt x="1416" y="174"/>
                  <a:pt x="1415" y="174"/>
                </a:cubicBezTo>
                <a:cubicBezTo>
                  <a:pt x="1413" y="174"/>
                  <a:pt x="1412" y="175"/>
                  <a:pt x="1411" y="176"/>
                </a:cubicBezTo>
                <a:cubicBezTo>
                  <a:pt x="1409" y="177"/>
                  <a:pt x="1407" y="177"/>
                  <a:pt x="1406" y="177"/>
                </a:cubicBezTo>
                <a:cubicBezTo>
                  <a:pt x="1404" y="178"/>
                  <a:pt x="1403" y="179"/>
                  <a:pt x="1402" y="180"/>
                </a:cubicBezTo>
                <a:cubicBezTo>
                  <a:pt x="1401" y="180"/>
                  <a:pt x="1400" y="181"/>
                  <a:pt x="1399" y="182"/>
                </a:cubicBezTo>
                <a:cubicBezTo>
                  <a:pt x="1397" y="182"/>
                  <a:pt x="1397" y="181"/>
                  <a:pt x="1396" y="180"/>
                </a:cubicBezTo>
                <a:cubicBezTo>
                  <a:pt x="1395" y="180"/>
                  <a:pt x="1394" y="180"/>
                  <a:pt x="1393" y="180"/>
                </a:cubicBezTo>
                <a:cubicBezTo>
                  <a:pt x="1392" y="180"/>
                  <a:pt x="1390" y="180"/>
                  <a:pt x="1388" y="181"/>
                </a:cubicBezTo>
                <a:cubicBezTo>
                  <a:pt x="1387" y="181"/>
                  <a:pt x="1385" y="182"/>
                  <a:pt x="1383" y="182"/>
                </a:cubicBezTo>
                <a:cubicBezTo>
                  <a:pt x="1382" y="183"/>
                  <a:pt x="1380" y="184"/>
                  <a:pt x="1379" y="185"/>
                </a:cubicBezTo>
                <a:cubicBezTo>
                  <a:pt x="1378" y="185"/>
                  <a:pt x="1375" y="186"/>
                  <a:pt x="1375" y="185"/>
                </a:cubicBezTo>
                <a:cubicBezTo>
                  <a:pt x="1374" y="185"/>
                  <a:pt x="1375" y="184"/>
                  <a:pt x="1375" y="184"/>
                </a:cubicBezTo>
                <a:cubicBezTo>
                  <a:pt x="1374" y="183"/>
                  <a:pt x="1373" y="183"/>
                  <a:pt x="1373" y="183"/>
                </a:cubicBezTo>
                <a:cubicBezTo>
                  <a:pt x="1372" y="183"/>
                  <a:pt x="1372" y="184"/>
                  <a:pt x="1371" y="184"/>
                </a:cubicBezTo>
                <a:cubicBezTo>
                  <a:pt x="1370" y="184"/>
                  <a:pt x="1369" y="184"/>
                  <a:pt x="1369" y="185"/>
                </a:cubicBezTo>
                <a:cubicBezTo>
                  <a:pt x="1368" y="185"/>
                  <a:pt x="1366" y="187"/>
                  <a:pt x="1365" y="186"/>
                </a:cubicBezTo>
                <a:cubicBezTo>
                  <a:pt x="1364" y="185"/>
                  <a:pt x="1367" y="184"/>
                  <a:pt x="1365" y="183"/>
                </a:cubicBezTo>
                <a:cubicBezTo>
                  <a:pt x="1363" y="183"/>
                  <a:pt x="1359" y="185"/>
                  <a:pt x="1358" y="183"/>
                </a:cubicBezTo>
                <a:cubicBezTo>
                  <a:pt x="1357" y="183"/>
                  <a:pt x="1358" y="183"/>
                  <a:pt x="1357" y="182"/>
                </a:cubicBezTo>
                <a:cubicBezTo>
                  <a:pt x="1357" y="182"/>
                  <a:pt x="1356" y="182"/>
                  <a:pt x="1356" y="182"/>
                </a:cubicBezTo>
                <a:cubicBezTo>
                  <a:pt x="1355" y="182"/>
                  <a:pt x="1352" y="184"/>
                  <a:pt x="1352" y="182"/>
                </a:cubicBezTo>
                <a:cubicBezTo>
                  <a:pt x="1350" y="181"/>
                  <a:pt x="1349" y="181"/>
                  <a:pt x="1348" y="182"/>
                </a:cubicBezTo>
                <a:cubicBezTo>
                  <a:pt x="1347" y="183"/>
                  <a:pt x="1345" y="183"/>
                  <a:pt x="1344" y="183"/>
                </a:cubicBezTo>
                <a:cubicBezTo>
                  <a:pt x="1343" y="183"/>
                  <a:pt x="1342" y="183"/>
                  <a:pt x="1341" y="183"/>
                </a:cubicBezTo>
                <a:cubicBezTo>
                  <a:pt x="1340" y="183"/>
                  <a:pt x="1340" y="184"/>
                  <a:pt x="1339" y="184"/>
                </a:cubicBezTo>
                <a:cubicBezTo>
                  <a:pt x="1338" y="184"/>
                  <a:pt x="1338" y="183"/>
                  <a:pt x="1337" y="184"/>
                </a:cubicBezTo>
                <a:cubicBezTo>
                  <a:pt x="1336" y="185"/>
                  <a:pt x="1337" y="185"/>
                  <a:pt x="1338" y="186"/>
                </a:cubicBezTo>
                <a:cubicBezTo>
                  <a:pt x="1338" y="186"/>
                  <a:pt x="1338" y="187"/>
                  <a:pt x="1338" y="188"/>
                </a:cubicBezTo>
                <a:cubicBezTo>
                  <a:pt x="1339" y="188"/>
                  <a:pt x="1340" y="188"/>
                  <a:pt x="1340" y="189"/>
                </a:cubicBezTo>
                <a:cubicBezTo>
                  <a:pt x="1341" y="190"/>
                  <a:pt x="1336" y="191"/>
                  <a:pt x="1335" y="191"/>
                </a:cubicBezTo>
                <a:cubicBezTo>
                  <a:pt x="1334" y="192"/>
                  <a:pt x="1334" y="192"/>
                  <a:pt x="1333" y="192"/>
                </a:cubicBezTo>
                <a:cubicBezTo>
                  <a:pt x="1332" y="193"/>
                  <a:pt x="1330" y="195"/>
                  <a:pt x="1328" y="194"/>
                </a:cubicBezTo>
                <a:cubicBezTo>
                  <a:pt x="1327" y="194"/>
                  <a:pt x="1328" y="194"/>
                  <a:pt x="1328" y="193"/>
                </a:cubicBezTo>
                <a:cubicBezTo>
                  <a:pt x="1328" y="192"/>
                  <a:pt x="1327" y="192"/>
                  <a:pt x="1327" y="192"/>
                </a:cubicBezTo>
                <a:cubicBezTo>
                  <a:pt x="1328" y="190"/>
                  <a:pt x="1331" y="191"/>
                  <a:pt x="1330" y="189"/>
                </a:cubicBezTo>
                <a:cubicBezTo>
                  <a:pt x="1329" y="188"/>
                  <a:pt x="1326" y="188"/>
                  <a:pt x="1326" y="189"/>
                </a:cubicBezTo>
                <a:cubicBezTo>
                  <a:pt x="1325" y="189"/>
                  <a:pt x="1324" y="190"/>
                  <a:pt x="1324" y="190"/>
                </a:cubicBezTo>
                <a:cubicBezTo>
                  <a:pt x="1323" y="190"/>
                  <a:pt x="1322" y="190"/>
                  <a:pt x="1322" y="190"/>
                </a:cubicBezTo>
                <a:cubicBezTo>
                  <a:pt x="1320" y="191"/>
                  <a:pt x="1322" y="191"/>
                  <a:pt x="1322" y="191"/>
                </a:cubicBezTo>
                <a:cubicBezTo>
                  <a:pt x="1322" y="192"/>
                  <a:pt x="1322" y="192"/>
                  <a:pt x="1323" y="192"/>
                </a:cubicBezTo>
                <a:cubicBezTo>
                  <a:pt x="1323" y="193"/>
                  <a:pt x="1323" y="193"/>
                  <a:pt x="1324" y="193"/>
                </a:cubicBezTo>
                <a:cubicBezTo>
                  <a:pt x="1324" y="195"/>
                  <a:pt x="1321" y="194"/>
                  <a:pt x="1320" y="194"/>
                </a:cubicBezTo>
                <a:cubicBezTo>
                  <a:pt x="1318" y="194"/>
                  <a:pt x="1317" y="195"/>
                  <a:pt x="1315" y="196"/>
                </a:cubicBezTo>
                <a:cubicBezTo>
                  <a:pt x="1313" y="197"/>
                  <a:pt x="1309" y="196"/>
                  <a:pt x="1306" y="197"/>
                </a:cubicBezTo>
                <a:cubicBezTo>
                  <a:pt x="1304" y="197"/>
                  <a:pt x="1303" y="197"/>
                  <a:pt x="1302" y="198"/>
                </a:cubicBezTo>
                <a:cubicBezTo>
                  <a:pt x="1300" y="199"/>
                  <a:pt x="1299" y="200"/>
                  <a:pt x="1297" y="200"/>
                </a:cubicBezTo>
                <a:cubicBezTo>
                  <a:pt x="1296" y="200"/>
                  <a:pt x="1294" y="200"/>
                  <a:pt x="1293" y="201"/>
                </a:cubicBezTo>
                <a:cubicBezTo>
                  <a:pt x="1291" y="202"/>
                  <a:pt x="1290" y="203"/>
                  <a:pt x="1289" y="204"/>
                </a:cubicBezTo>
                <a:cubicBezTo>
                  <a:pt x="1287" y="205"/>
                  <a:pt x="1286" y="205"/>
                  <a:pt x="1284" y="206"/>
                </a:cubicBezTo>
                <a:cubicBezTo>
                  <a:pt x="1283" y="206"/>
                  <a:pt x="1282" y="207"/>
                  <a:pt x="1281" y="207"/>
                </a:cubicBezTo>
                <a:cubicBezTo>
                  <a:pt x="1280" y="206"/>
                  <a:pt x="1280" y="206"/>
                  <a:pt x="1279" y="206"/>
                </a:cubicBezTo>
                <a:cubicBezTo>
                  <a:pt x="1279" y="206"/>
                  <a:pt x="1278" y="206"/>
                  <a:pt x="1278" y="207"/>
                </a:cubicBezTo>
                <a:cubicBezTo>
                  <a:pt x="1278" y="207"/>
                  <a:pt x="1279" y="207"/>
                  <a:pt x="1279" y="207"/>
                </a:cubicBezTo>
                <a:cubicBezTo>
                  <a:pt x="1279" y="208"/>
                  <a:pt x="1279" y="208"/>
                  <a:pt x="1279" y="208"/>
                </a:cubicBezTo>
                <a:cubicBezTo>
                  <a:pt x="1280" y="209"/>
                  <a:pt x="1280" y="209"/>
                  <a:pt x="1281" y="209"/>
                </a:cubicBezTo>
                <a:cubicBezTo>
                  <a:pt x="1281" y="209"/>
                  <a:pt x="1282" y="209"/>
                  <a:pt x="1282" y="210"/>
                </a:cubicBezTo>
                <a:cubicBezTo>
                  <a:pt x="1281" y="211"/>
                  <a:pt x="1280" y="211"/>
                  <a:pt x="1280" y="211"/>
                </a:cubicBezTo>
                <a:cubicBezTo>
                  <a:pt x="1278" y="211"/>
                  <a:pt x="1276" y="211"/>
                  <a:pt x="1275" y="212"/>
                </a:cubicBezTo>
                <a:cubicBezTo>
                  <a:pt x="1274" y="212"/>
                  <a:pt x="1274" y="213"/>
                  <a:pt x="1273" y="213"/>
                </a:cubicBezTo>
                <a:cubicBezTo>
                  <a:pt x="1272" y="213"/>
                  <a:pt x="1271" y="212"/>
                  <a:pt x="1270" y="213"/>
                </a:cubicBezTo>
                <a:cubicBezTo>
                  <a:pt x="1270" y="213"/>
                  <a:pt x="1269" y="214"/>
                  <a:pt x="1270" y="215"/>
                </a:cubicBezTo>
                <a:cubicBezTo>
                  <a:pt x="1270" y="216"/>
                  <a:pt x="1271" y="216"/>
                  <a:pt x="1271" y="217"/>
                </a:cubicBezTo>
                <a:cubicBezTo>
                  <a:pt x="1271" y="218"/>
                  <a:pt x="1271" y="218"/>
                  <a:pt x="1272" y="219"/>
                </a:cubicBezTo>
                <a:cubicBezTo>
                  <a:pt x="1272" y="219"/>
                  <a:pt x="1273" y="220"/>
                  <a:pt x="1273" y="220"/>
                </a:cubicBezTo>
                <a:cubicBezTo>
                  <a:pt x="1272" y="222"/>
                  <a:pt x="1269" y="221"/>
                  <a:pt x="1268" y="221"/>
                </a:cubicBezTo>
                <a:cubicBezTo>
                  <a:pt x="1267" y="220"/>
                  <a:pt x="1266" y="219"/>
                  <a:pt x="1265" y="219"/>
                </a:cubicBezTo>
                <a:cubicBezTo>
                  <a:pt x="1263" y="219"/>
                  <a:pt x="1262" y="219"/>
                  <a:pt x="1260" y="219"/>
                </a:cubicBezTo>
                <a:cubicBezTo>
                  <a:pt x="1259" y="219"/>
                  <a:pt x="1258" y="219"/>
                  <a:pt x="1257" y="220"/>
                </a:cubicBezTo>
                <a:cubicBezTo>
                  <a:pt x="1256" y="220"/>
                  <a:pt x="1256" y="220"/>
                  <a:pt x="1255" y="220"/>
                </a:cubicBezTo>
                <a:cubicBezTo>
                  <a:pt x="1255" y="220"/>
                  <a:pt x="1254" y="220"/>
                  <a:pt x="1254" y="221"/>
                </a:cubicBezTo>
                <a:cubicBezTo>
                  <a:pt x="1253" y="223"/>
                  <a:pt x="1256" y="222"/>
                  <a:pt x="1257" y="222"/>
                </a:cubicBezTo>
                <a:cubicBezTo>
                  <a:pt x="1257" y="223"/>
                  <a:pt x="1256" y="226"/>
                  <a:pt x="1255" y="226"/>
                </a:cubicBezTo>
                <a:cubicBezTo>
                  <a:pt x="1254" y="227"/>
                  <a:pt x="1253" y="227"/>
                  <a:pt x="1252" y="229"/>
                </a:cubicBezTo>
                <a:cubicBezTo>
                  <a:pt x="1251" y="230"/>
                  <a:pt x="1250" y="232"/>
                  <a:pt x="1249" y="231"/>
                </a:cubicBezTo>
                <a:cubicBezTo>
                  <a:pt x="1248" y="231"/>
                  <a:pt x="1248" y="230"/>
                  <a:pt x="1248" y="229"/>
                </a:cubicBezTo>
                <a:cubicBezTo>
                  <a:pt x="1247" y="229"/>
                  <a:pt x="1247" y="229"/>
                  <a:pt x="1247" y="228"/>
                </a:cubicBezTo>
                <a:cubicBezTo>
                  <a:pt x="1247" y="227"/>
                  <a:pt x="1247" y="226"/>
                  <a:pt x="1246" y="226"/>
                </a:cubicBezTo>
                <a:cubicBezTo>
                  <a:pt x="1245" y="226"/>
                  <a:pt x="1245" y="227"/>
                  <a:pt x="1244" y="228"/>
                </a:cubicBezTo>
                <a:cubicBezTo>
                  <a:pt x="1244" y="228"/>
                  <a:pt x="1243" y="229"/>
                  <a:pt x="1242" y="228"/>
                </a:cubicBezTo>
                <a:cubicBezTo>
                  <a:pt x="1241" y="228"/>
                  <a:pt x="1242" y="227"/>
                  <a:pt x="1242" y="227"/>
                </a:cubicBezTo>
                <a:cubicBezTo>
                  <a:pt x="1242" y="226"/>
                  <a:pt x="1241" y="225"/>
                  <a:pt x="1240" y="225"/>
                </a:cubicBezTo>
                <a:cubicBezTo>
                  <a:pt x="1239" y="225"/>
                  <a:pt x="1239" y="226"/>
                  <a:pt x="1239" y="226"/>
                </a:cubicBezTo>
                <a:cubicBezTo>
                  <a:pt x="1238" y="226"/>
                  <a:pt x="1237" y="226"/>
                  <a:pt x="1236" y="226"/>
                </a:cubicBezTo>
                <a:cubicBezTo>
                  <a:pt x="1236" y="227"/>
                  <a:pt x="1236" y="227"/>
                  <a:pt x="1236" y="228"/>
                </a:cubicBezTo>
                <a:cubicBezTo>
                  <a:pt x="1235" y="229"/>
                  <a:pt x="1232" y="230"/>
                  <a:pt x="1234" y="231"/>
                </a:cubicBezTo>
                <a:cubicBezTo>
                  <a:pt x="1235" y="232"/>
                  <a:pt x="1236" y="230"/>
                  <a:pt x="1238" y="231"/>
                </a:cubicBezTo>
                <a:cubicBezTo>
                  <a:pt x="1239" y="231"/>
                  <a:pt x="1238" y="232"/>
                  <a:pt x="1237" y="233"/>
                </a:cubicBezTo>
                <a:cubicBezTo>
                  <a:pt x="1237" y="235"/>
                  <a:pt x="1239" y="235"/>
                  <a:pt x="1240" y="234"/>
                </a:cubicBezTo>
                <a:cubicBezTo>
                  <a:pt x="1241" y="234"/>
                  <a:pt x="1241" y="234"/>
                  <a:pt x="1241" y="234"/>
                </a:cubicBezTo>
                <a:cubicBezTo>
                  <a:pt x="1242" y="233"/>
                  <a:pt x="1242" y="234"/>
                  <a:pt x="1243" y="234"/>
                </a:cubicBezTo>
                <a:cubicBezTo>
                  <a:pt x="1244" y="234"/>
                  <a:pt x="1245" y="232"/>
                  <a:pt x="1247" y="233"/>
                </a:cubicBezTo>
                <a:cubicBezTo>
                  <a:pt x="1249" y="234"/>
                  <a:pt x="1245" y="234"/>
                  <a:pt x="1245" y="234"/>
                </a:cubicBezTo>
                <a:cubicBezTo>
                  <a:pt x="1244" y="235"/>
                  <a:pt x="1244" y="235"/>
                  <a:pt x="1245" y="235"/>
                </a:cubicBezTo>
                <a:cubicBezTo>
                  <a:pt x="1246" y="236"/>
                  <a:pt x="1246" y="235"/>
                  <a:pt x="1247" y="235"/>
                </a:cubicBezTo>
                <a:cubicBezTo>
                  <a:pt x="1248" y="236"/>
                  <a:pt x="1248" y="236"/>
                  <a:pt x="1249" y="236"/>
                </a:cubicBezTo>
                <a:cubicBezTo>
                  <a:pt x="1250" y="236"/>
                  <a:pt x="1250" y="235"/>
                  <a:pt x="1251" y="235"/>
                </a:cubicBezTo>
                <a:cubicBezTo>
                  <a:pt x="1252" y="236"/>
                  <a:pt x="1252" y="236"/>
                  <a:pt x="1252" y="236"/>
                </a:cubicBezTo>
                <a:cubicBezTo>
                  <a:pt x="1251" y="237"/>
                  <a:pt x="1251" y="237"/>
                  <a:pt x="1250" y="238"/>
                </a:cubicBezTo>
                <a:cubicBezTo>
                  <a:pt x="1249" y="238"/>
                  <a:pt x="1249" y="237"/>
                  <a:pt x="1248" y="237"/>
                </a:cubicBezTo>
                <a:cubicBezTo>
                  <a:pt x="1247" y="237"/>
                  <a:pt x="1246" y="237"/>
                  <a:pt x="1246" y="238"/>
                </a:cubicBezTo>
                <a:cubicBezTo>
                  <a:pt x="1244" y="238"/>
                  <a:pt x="1243" y="238"/>
                  <a:pt x="1241" y="239"/>
                </a:cubicBezTo>
                <a:cubicBezTo>
                  <a:pt x="1240" y="239"/>
                  <a:pt x="1239" y="240"/>
                  <a:pt x="1238" y="240"/>
                </a:cubicBezTo>
                <a:cubicBezTo>
                  <a:pt x="1237" y="240"/>
                  <a:pt x="1236" y="240"/>
                  <a:pt x="1235" y="240"/>
                </a:cubicBezTo>
                <a:cubicBezTo>
                  <a:pt x="1235" y="241"/>
                  <a:pt x="1234" y="241"/>
                  <a:pt x="1235" y="242"/>
                </a:cubicBezTo>
                <a:cubicBezTo>
                  <a:pt x="1236" y="242"/>
                  <a:pt x="1236" y="241"/>
                  <a:pt x="1237" y="242"/>
                </a:cubicBezTo>
                <a:cubicBezTo>
                  <a:pt x="1238" y="242"/>
                  <a:pt x="1238" y="243"/>
                  <a:pt x="1239" y="243"/>
                </a:cubicBezTo>
                <a:cubicBezTo>
                  <a:pt x="1240" y="243"/>
                  <a:pt x="1241" y="241"/>
                  <a:pt x="1242" y="241"/>
                </a:cubicBezTo>
                <a:cubicBezTo>
                  <a:pt x="1243" y="241"/>
                  <a:pt x="1244" y="241"/>
                  <a:pt x="1245" y="242"/>
                </a:cubicBezTo>
                <a:cubicBezTo>
                  <a:pt x="1246" y="242"/>
                  <a:pt x="1248" y="241"/>
                  <a:pt x="1249" y="242"/>
                </a:cubicBezTo>
                <a:cubicBezTo>
                  <a:pt x="1249" y="242"/>
                  <a:pt x="1249" y="243"/>
                  <a:pt x="1249" y="244"/>
                </a:cubicBezTo>
                <a:cubicBezTo>
                  <a:pt x="1250" y="245"/>
                  <a:pt x="1251" y="245"/>
                  <a:pt x="1252" y="245"/>
                </a:cubicBezTo>
                <a:cubicBezTo>
                  <a:pt x="1253" y="245"/>
                  <a:pt x="1253" y="245"/>
                  <a:pt x="1254" y="246"/>
                </a:cubicBezTo>
                <a:cubicBezTo>
                  <a:pt x="1254" y="246"/>
                  <a:pt x="1255" y="246"/>
                  <a:pt x="1256" y="246"/>
                </a:cubicBezTo>
                <a:cubicBezTo>
                  <a:pt x="1258" y="246"/>
                  <a:pt x="1255" y="247"/>
                  <a:pt x="1254" y="247"/>
                </a:cubicBezTo>
                <a:cubicBezTo>
                  <a:pt x="1253" y="246"/>
                  <a:pt x="1253" y="246"/>
                  <a:pt x="1252" y="246"/>
                </a:cubicBezTo>
                <a:cubicBezTo>
                  <a:pt x="1251" y="246"/>
                  <a:pt x="1251" y="246"/>
                  <a:pt x="1250" y="246"/>
                </a:cubicBezTo>
                <a:cubicBezTo>
                  <a:pt x="1249" y="246"/>
                  <a:pt x="1248" y="245"/>
                  <a:pt x="1247" y="245"/>
                </a:cubicBezTo>
                <a:cubicBezTo>
                  <a:pt x="1245" y="245"/>
                  <a:pt x="1244" y="245"/>
                  <a:pt x="1242" y="246"/>
                </a:cubicBezTo>
                <a:cubicBezTo>
                  <a:pt x="1241" y="246"/>
                  <a:pt x="1241" y="246"/>
                  <a:pt x="1240" y="246"/>
                </a:cubicBezTo>
                <a:cubicBezTo>
                  <a:pt x="1239" y="246"/>
                  <a:pt x="1239" y="247"/>
                  <a:pt x="1238" y="247"/>
                </a:cubicBezTo>
                <a:cubicBezTo>
                  <a:pt x="1237" y="248"/>
                  <a:pt x="1236" y="246"/>
                  <a:pt x="1235" y="246"/>
                </a:cubicBezTo>
                <a:cubicBezTo>
                  <a:pt x="1234" y="246"/>
                  <a:pt x="1233" y="246"/>
                  <a:pt x="1232" y="247"/>
                </a:cubicBezTo>
                <a:cubicBezTo>
                  <a:pt x="1232" y="247"/>
                  <a:pt x="1231" y="247"/>
                  <a:pt x="1230" y="247"/>
                </a:cubicBezTo>
                <a:cubicBezTo>
                  <a:pt x="1230" y="247"/>
                  <a:pt x="1230" y="248"/>
                  <a:pt x="1230" y="249"/>
                </a:cubicBezTo>
                <a:cubicBezTo>
                  <a:pt x="1230" y="250"/>
                  <a:pt x="1230" y="250"/>
                  <a:pt x="1231" y="250"/>
                </a:cubicBezTo>
                <a:cubicBezTo>
                  <a:pt x="1232" y="251"/>
                  <a:pt x="1233" y="250"/>
                  <a:pt x="1233" y="251"/>
                </a:cubicBezTo>
                <a:cubicBezTo>
                  <a:pt x="1234" y="252"/>
                  <a:pt x="1234" y="253"/>
                  <a:pt x="1235" y="252"/>
                </a:cubicBezTo>
                <a:cubicBezTo>
                  <a:pt x="1236" y="252"/>
                  <a:pt x="1236" y="252"/>
                  <a:pt x="1236" y="251"/>
                </a:cubicBezTo>
                <a:cubicBezTo>
                  <a:pt x="1237" y="251"/>
                  <a:pt x="1238" y="251"/>
                  <a:pt x="1239" y="252"/>
                </a:cubicBezTo>
                <a:cubicBezTo>
                  <a:pt x="1239" y="252"/>
                  <a:pt x="1240" y="253"/>
                  <a:pt x="1241" y="253"/>
                </a:cubicBezTo>
                <a:cubicBezTo>
                  <a:pt x="1241" y="253"/>
                  <a:pt x="1242" y="254"/>
                  <a:pt x="1242" y="254"/>
                </a:cubicBezTo>
                <a:cubicBezTo>
                  <a:pt x="1242" y="256"/>
                  <a:pt x="1239" y="254"/>
                  <a:pt x="1238" y="255"/>
                </a:cubicBezTo>
                <a:cubicBezTo>
                  <a:pt x="1237" y="255"/>
                  <a:pt x="1236" y="256"/>
                  <a:pt x="1235" y="256"/>
                </a:cubicBezTo>
                <a:cubicBezTo>
                  <a:pt x="1234" y="256"/>
                  <a:pt x="1232" y="255"/>
                  <a:pt x="1231" y="255"/>
                </a:cubicBezTo>
                <a:cubicBezTo>
                  <a:pt x="1229" y="255"/>
                  <a:pt x="1229" y="256"/>
                  <a:pt x="1227" y="257"/>
                </a:cubicBezTo>
                <a:cubicBezTo>
                  <a:pt x="1227" y="257"/>
                  <a:pt x="1225" y="257"/>
                  <a:pt x="1225" y="258"/>
                </a:cubicBezTo>
                <a:cubicBezTo>
                  <a:pt x="1224" y="259"/>
                  <a:pt x="1225" y="259"/>
                  <a:pt x="1226" y="259"/>
                </a:cubicBezTo>
                <a:cubicBezTo>
                  <a:pt x="1227" y="259"/>
                  <a:pt x="1227" y="259"/>
                  <a:pt x="1228" y="260"/>
                </a:cubicBezTo>
                <a:cubicBezTo>
                  <a:pt x="1229" y="260"/>
                  <a:pt x="1229" y="260"/>
                  <a:pt x="1230" y="260"/>
                </a:cubicBezTo>
                <a:cubicBezTo>
                  <a:pt x="1231" y="260"/>
                  <a:pt x="1232" y="260"/>
                  <a:pt x="1232" y="260"/>
                </a:cubicBezTo>
                <a:cubicBezTo>
                  <a:pt x="1233" y="261"/>
                  <a:pt x="1232" y="261"/>
                  <a:pt x="1232" y="262"/>
                </a:cubicBezTo>
                <a:cubicBezTo>
                  <a:pt x="1231" y="262"/>
                  <a:pt x="1231" y="262"/>
                  <a:pt x="1230" y="262"/>
                </a:cubicBezTo>
                <a:cubicBezTo>
                  <a:pt x="1229" y="262"/>
                  <a:pt x="1229" y="262"/>
                  <a:pt x="1228" y="262"/>
                </a:cubicBezTo>
                <a:cubicBezTo>
                  <a:pt x="1227" y="262"/>
                  <a:pt x="1226" y="262"/>
                  <a:pt x="1225" y="262"/>
                </a:cubicBezTo>
                <a:cubicBezTo>
                  <a:pt x="1224" y="262"/>
                  <a:pt x="1224" y="261"/>
                  <a:pt x="1223" y="261"/>
                </a:cubicBezTo>
                <a:cubicBezTo>
                  <a:pt x="1222" y="261"/>
                  <a:pt x="1222" y="262"/>
                  <a:pt x="1222" y="263"/>
                </a:cubicBezTo>
                <a:cubicBezTo>
                  <a:pt x="1223" y="263"/>
                  <a:pt x="1223" y="263"/>
                  <a:pt x="1224" y="263"/>
                </a:cubicBezTo>
                <a:cubicBezTo>
                  <a:pt x="1226" y="264"/>
                  <a:pt x="1227" y="264"/>
                  <a:pt x="1229" y="265"/>
                </a:cubicBezTo>
                <a:cubicBezTo>
                  <a:pt x="1231" y="265"/>
                  <a:pt x="1231" y="267"/>
                  <a:pt x="1233" y="267"/>
                </a:cubicBezTo>
                <a:cubicBezTo>
                  <a:pt x="1233" y="267"/>
                  <a:pt x="1235" y="267"/>
                  <a:pt x="1235" y="268"/>
                </a:cubicBezTo>
                <a:cubicBezTo>
                  <a:pt x="1235" y="269"/>
                  <a:pt x="1231" y="268"/>
                  <a:pt x="1230" y="268"/>
                </a:cubicBezTo>
                <a:cubicBezTo>
                  <a:pt x="1230" y="268"/>
                  <a:pt x="1229" y="267"/>
                  <a:pt x="1228" y="267"/>
                </a:cubicBezTo>
                <a:cubicBezTo>
                  <a:pt x="1228" y="267"/>
                  <a:pt x="1227" y="267"/>
                  <a:pt x="1226" y="267"/>
                </a:cubicBezTo>
                <a:cubicBezTo>
                  <a:pt x="1224" y="267"/>
                  <a:pt x="1223" y="266"/>
                  <a:pt x="1221" y="266"/>
                </a:cubicBezTo>
                <a:cubicBezTo>
                  <a:pt x="1220" y="266"/>
                  <a:pt x="1218" y="267"/>
                  <a:pt x="1217" y="268"/>
                </a:cubicBezTo>
                <a:cubicBezTo>
                  <a:pt x="1216" y="268"/>
                  <a:pt x="1216" y="269"/>
                  <a:pt x="1215" y="269"/>
                </a:cubicBezTo>
                <a:cubicBezTo>
                  <a:pt x="1214" y="270"/>
                  <a:pt x="1213" y="270"/>
                  <a:pt x="1213" y="270"/>
                </a:cubicBezTo>
                <a:cubicBezTo>
                  <a:pt x="1212" y="270"/>
                  <a:pt x="1211" y="271"/>
                  <a:pt x="1211" y="271"/>
                </a:cubicBezTo>
                <a:cubicBezTo>
                  <a:pt x="1211" y="272"/>
                  <a:pt x="1212" y="272"/>
                  <a:pt x="1213" y="272"/>
                </a:cubicBezTo>
                <a:cubicBezTo>
                  <a:pt x="1215" y="273"/>
                  <a:pt x="1213" y="275"/>
                  <a:pt x="1212" y="275"/>
                </a:cubicBezTo>
                <a:cubicBezTo>
                  <a:pt x="1210" y="275"/>
                  <a:pt x="1209" y="275"/>
                  <a:pt x="1208" y="275"/>
                </a:cubicBezTo>
                <a:cubicBezTo>
                  <a:pt x="1206" y="276"/>
                  <a:pt x="1204" y="276"/>
                  <a:pt x="1203" y="277"/>
                </a:cubicBezTo>
                <a:cubicBezTo>
                  <a:pt x="1200" y="279"/>
                  <a:pt x="1198" y="282"/>
                  <a:pt x="1194" y="280"/>
                </a:cubicBezTo>
                <a:cubicBezTo>
                  <a:pt x="1193" y="280"/>
                  <a:pt x="1193" y="281"/>
                  <a:pt x="1194" y="282"/>
                </a:cubicBezTo>
                <a:cubicBezTo>
                  <a:pt x="1195" y="283"/>
                  <a:pt x="1196" y="283"/>
                  <a:pt x="1198" y="283"/>
                </a:cubicBezTo>
                <a:cubicBezTo>
                  <a:pt x="1199" y="283"/>
                  <a:pt x="1200" y="284"/>
                  <a:pt x="1202" y="284"/>
                </a:cubicBezTo>
                <a:cubicBezTo>
                  <a:pt x="1203" y="284"/>
                  <a:pt x="1205" y="284"/>
                  <a:pt x="1207" y="284"/>
                </a:cubicBezTo>
                <a:cubicBezTo>
                  <a:pt x="1207" y="284"/>
                  <a:pt x="1208" y="285"/>
                  <a:pt x="1209" y="285"/>
                </a:cubicBezTo>
                <a:cubicBezTo>
                  <a:pt x="1209" y="285"/>
                  <a:pt x="1210" y="284"/>
                  <a:pt x="1211" y="284"/>
                </a:cubicBezTo>
                <a:cubicBezTo>
                  <a:pt x="1212" y="284"/>
                  <a:pt x="1213" y="284"/>
                  <a:pt x="1214" y="284"/>
                </a:cubicBezTo>
                <a:cubicBezTo>
                  <a:pt x="1215" y="284"/>
                  <a:pt x="1216" y="284"/>
                  <a:pt x="1217" y="284"/>
                </a:cubicBezTo>
                <a:cubicBezTo>
                  <a:pt x="1218" y="284"/>
                  <a:pt x="1219" y="284"/>
                  <a:pt x="1220" y="284"/>
                </a:cubicBezTo>
                <a:cubicBezTo>
                  <a:pt x="1221" y="284"/>
                  <a:pt x="1222" y="283"/>
                  <a:pt x="1223" y="284"/>
                </a:cubicBezTo>
                <a:cubicBezTo>
                  <a:pt x="1223" y="284"/>
                  <a:pt x="1223" y="284"/>
                  <a:pt x="1223" y="284"/>
                </a:cubicBezTo>
                <a:cubicBezTo>
                  <a:pt x="1222" y="284"/>
                  <a:pt x="1221" y="284"/>
                  <a:pt x="1221" y="285"/>
                </a:cubicBezTo>
                <a:cubicBezTo>
                  <a:pt x="1220" y="285"/>
                  <a:pt x="1220" y="285"/>
                  <a:pt x="1219" y="285"/>
                </a:cubicBezTo>
                <a:cubicBezTo>
                  <a:pt x="1218" y="285"/>
                  <a:pt x="1216" y="285"/>
                  <a:pt x="1215" y="286"/>
                </a:cubicBezTo>
                <a:cubicBezTo>
                  <a:pt x="1214" y="286"/>
                  <a:pt x="1214" y="287"/>
                  <a:pt x="1213" y="287"/>
                </a:cubicBezTo>
                <a:cubicBezTo>
                  <a:pt x="1212" y="287"/>
                  <a:pt x="1212" y="287"/>
                  <a:pt x="1211" y="287"/>
                </a:cubicBezTo>
                <a:cubicBezTo>
                  <a:pt x="1209" y="288"/>
                  <a:pt x="1208" y="289"/>
                  <a:pt x="1206" y="290"/>
                </a:cubicBezTo>
                <a:cubicBezTo>
                  <a:pt x="1205" y="290"/>
                  <a:pt x="1203" y="291"/>
                  <a:pt x="1203" y="293"/>
                </a:cubicBezTo>
                <a:cubicBezTo>
                  <a:pt x="1203" y="294"/>
                  <a:pt x="1203" y="295"/>
                  <a:pt x="1201" y="296"/>
                </a:cubicBezTo>
                <a:cubicBezTo>
                  <a:pt x="1200" y="296"/>
                  <a:pt x="1199" y="296"/>
                  <a:pt x="1200" y="297"/>
                </a:cubicBezTo>
                <a:cubicBezTo>
                  <a:pt x="1200" y="297"/>
                  <a:pt x="1201" y="297"/>
                  <a:pt x="1202" y="297"/>
                </a:cubicBezTo>
                <a:cubicBezTo>
                  <a:pt x="1203" y="296"/>
                  <a:pt x="1205" y="297"/>
                  <a:pt x="1206" y="297"/>
                </a:cubicBezTo>
                <a:cubicBezTo>
                  <a:pt x="1208" y="297"/>
                  <a:pt x="1209" y="297"/>
                  <a:pt x="1210" y="297"/>
                </a:cubicBezTo>
                <a:cubicBezTo>
                  <a:pt x="1212" y="296"/>
                  <a:pt x="1213" y="295"/>
                  <a:pt x="1214" y="295"/>
                </a:cubicBezTo>
                <a:cubicBezTo>
                  <a:pt x="1216" y="294"/>
                  <a:pt x="1217" y="294"/>
                  <a:pt x="1219" y="295"/>
                </a:cubicBezTo>
                <a:cubicBezTo>
                  <a:pt x="1219" y="295"/>
                  <a:pt x="1220" y="296"/>
                  <a:pt x="1220" y="296"/>
                </a:cubicBezTo>
                <a:cubicBezTo>
                  <a:pt x="1221" y="297"/>
                  <a:pt x="1222" y="297"/>
                  <a:pt x="1223" y="297"/>
                </a:cubicBezTo>
                <a:cubicBezTo>
                  <a:pt x="1223" y="298"/>
                  <a:pt x="1223" y="298"/>
                  <a:pt x="1222" y="298"/>
                </a:cubicBezTo>
                <a:cubicBezTo>
                  <a:pt x="1221" y="298"/>
                  <a:pt x="1221" y="298"/>
                  <a:pt x="1220" y="297"/>
                </a:cubicBezTo>
                <a:cubicBezTo>
                  <a:pt x="1219" y="297"/>
                  <a:pt x="1218" y="297"/>
                  <a:pt x="1216" y="297"/>
                </a:cubicBezTo>
                <a:cubicBezTo>
                  <a:pt x="1215" y="297"/>
                  <a:pt x="1213" y="297"/>
                  <a:pt x="1212" y="297"/>
                </a:cubicBezTo>
                <a:cubicBezTo>
                  <a:pt x="1210" y="297"/>
                  <a:pt x="1208" y="298"/>
                  <a:pt x="1207" y="298"/>
                </a:cubicBezTo>
                <a:cubicBezTo>
                  <a:pt x="1205" y="298"/>
                  <a:pt x="1204" y="299"/>
                  <a:pt x="1202" y="299"/>
                </a:cubicBezTo>
                <a:cubicBezTo>
                  <a:pt x="1201" y="300"/>
                  <a:pt x="1199" y="299"/>
                  <a:pt x="1197" y="299"/>
                </a:cubicBezTo>
                <a:cubicBezTo>
                  <a:pt x="1195" y="300"/>
                  <a:pt x="1193" y="301"/>
                  <a:pt x="1192" y="302"/>
                </a:cubicBezTo>
                <a:cubicBezTo>
                  <a:pt x="1188" y="303"/>
                  <a:pt x="1183" y="302"/>
                  <a:pt x="1182" y="306"/>
                </a:cubicBezTo>
                <a:cubicBezTo>
                  <a:pt x="1182" y="307"/>
                  <a:pt x="1182" y="307"/>
                  <a:pt x="1183" y="308"/>
                </a:cubicBezTo>
                <a:cubicBezTo>
                  <a:pt x="1183" y="308"/>
                  <a:pt x="1184" y="309"/>
                  <a:pt x="1183" y="310"/>
                </a:cubicBezTo>
                <a:cubicBezTo>
                  <a:pt x="1183" y="311"/>
                  <a:pt x="1182" y="310"/>
                  <a:pt x="1182" y="310"/>
                </a:cubicBezTo>
                <a:cubicBezTo>
                  <a:pt x="1181" y="311"/>
                  <a:pt x="1182" y="311"/>
                  <a:pt x="1182" y="312"/>
                </a:cubicBezTo>
                <a:cubicBezTo>
                  <a:pt x="1182" y="313"/>
                  <a:pt x="1182" y="313"/>
                  <a:pt x="1183" y="313"/>
                </a:cubicBezTo>
                <a:cubicBezTo>
                  <a:pt x="1184" y="313"/>
                  <a:pt x="1184" y="314"/>
                  <a:pt x="1185" y="314"/>
                </a:cubicBezTo>
                <a:cubicBezTo>
                  <a:pt x="1185" y="315"/>
                  <a:pt x="1184" y="315"/>
                  <a:pt x="1183" y="315"/>
                </a:cubicBezTo>
                <a:cubicBezTo>
                  <a:pt x="1183" y="314"/>
                  <a:pt x="1183" y="314"/>
                  <a:pt x="1182" y="314"/>
                </a:cubicBezTo>
                <a:cubicBezTo>
                  <a:pt x="1181" y="314"/>
                  <a:pt x="1179" y="314"/>
                  <a:pt x="1178" y="314"/>
                </a:cubicBezTo>
                <a:cubicBezTo>
                  <a:pt x="1176" y="315"/>
                  <a:pt x="1175" y="315"/>
                  <a:pt x="1173" y="316"/>
                </a:cubicBezTo>
                <a:cubicBezTo>
                  <a:pt x="1173" y="317"/>
                  <a:pt x="1172" y="317"/>
                  <a:pt x="1171" y="317"/>
                </a:cubicBezTo>
                <a:cubicBezTo>
                  <a:pt x="1171" y="318"/>
                  <a:pt x="1171" y="318"/>
                  <a:pt x="1170" y="319"/>
                </a:cubicBezTo>
                <a:cubicBezTo>
                  <a:pt x="1169" y="319"/>
                  <a:pt x="1169" y="319"/>
                  <a:pt x="1168" y="320"/>
                </a:cubicBezTo>
                <a:cubicBezTo>
                  <a:pt x="1167" y="321"/>
                  <a:pt x="1169" y="322"/>
                  <a:pt x="1170" y="322"/>
                </a:cubicBezTo>
                <a:cubicBezTo>
                  <a:pt x="1171" y="322"/>
                  <a:pt x="1171" y="322"/>
                  <a:pt x="1172" y="322"/>
                </a:cubicBezTo>
                <a:cubicBezTo>
                  <a:pt x="1173" y="322"/>
                  <a:pt x="1174" y="323"/>
                  <a:pt x="1175" y="323"/>
                </a:cubicBezTo>
                <a:cubicBezTo>
                  <a:pt x="1176" y="323"/>
                  <a:pt x="1177" y="322"/>
                  <a:pt x="1179" y="322"/>
                </a:cubicBezTo>
                <a:cubicBezTo>
                  <a:pt x="1180" y="322"/>
                  <a:pt x="1180" y="323"/>
                  <a:pt x="1179" y="323"/>
                </a:cubicBezTo>
                <a:cubicBezTo>
                  <a:pt x="1179" y="323"/>
                  <a:pt x="1178" y="323"/>
                  <a:pt x="1178" y="323"/>
                </a:cubicBezTo>
                <a:cubicBezTo>
                  <a:pt x="1177" y="323"/>
                  <a:pt x="1177" y="324"/>
                  <a:pt x="1176" y="324"/>
                </a:cubicBezTo>
                <a:cubicBezTo>
                  <a:pt x="1175" y="324"/>
                  <a:pt x="1175" y="324"/>
                  <a:pt x="1174" y="325"/>
                </a:cubicBezTo>
                <a:cubicBezTo>
                  <a:pt x="1174" y="325"/>
                  <a:pt x="1174" y="326"/>
                  <a:pt x="1174" y="327"/>
                </a:cubicBezTo>
                <a:cubicBezTo>
                  <a:pt x="1175" y="327"/>
                  <a:pt x="1176" y="326"/>
                  <a:pt x="1176" y="326"/>
                </a:cubicBezTo>
                <a:cubicBezTo>
                  <a:pt x="1177" y="326"/>
                  <a:pt x="1178" y="327"/>
                  <a:pt x="1178" y="326"/>
                </a:cubicBezTo>
                <a:cubicBezTo>
                  <a:pt x="1179" y="326"/>
                  <a:pt x="1179" y="325"/>
                  <a:pt x="1180" y="325"/>
                </a:cubicBezTo>
                <a:cubicBezTo>
                  <a:pt x="1181" y="326"/>
                  <a:pt x="1180" y="327"/>
                  <a:pt x="1179" y="328"/>
                </a:cubicBezTo>
                <a:cubicBezTo>
                  <a:pt x="1178" y="328"/>
                  <a:pt x="1177" y="328"/>
                  <a:pt x="1175" y="329"/>
                </a:cubicBezTo>
                <a:cubicBezTo>
                  <a:pt x="1175" y="329"/>
                  <a:pt x="1174" y="330"/>
                  <a:pt x="1174" y="330"/>
                </a:cubicBezTo>
                <a:cubicBezTo>
                  <a:pt x="1173" y="331"/>
                  <a:pt x="1172" y="331"/>
                  <a:pt x="1173" y="332"/>
                </a:cubicBezTo>
                <a:cubicBezTo>
                  <a:pt x="1173" y="332"/>
                  <a:pt x="1174" y="332"/>
                  <a:pt x="1174" y="333"/>
                </a:cubicBezTo>
                <a:cubicBezTo>
                  <a:pt x="1174" y="334"/>
                  <a:pt x="1174" y="334"/>
                  <a:pt x="1173" y="335"/>
                </a:cubicBezTo>
                <a:cubicBezTo>
                  <a:pt x="1173" y="335"/>
                  <a:pt x="1172" y="334"/>
                  <a:pt x="1172" y="335"/>
                </a:cubicBezTo>
                <a:cubicBezTo>
                  <a:pt x="1172" y="335"/>
                  <a:pt x="1172" y="335"/>
                  <a:pt x="1172" y="335"/>
                </a:cubicBezTo>
                <a:cubicBezTo>
                  <a:pt x="1173" y="336"/>
                  <a:pt x="1173" y="336"/>
                  <a:pt x="1172" y="337"/>
                </a:cubicBezTo>
                <a:cubicBezTo>
                  <a:pt x="1172" y="337"/>
                  <a:pt x="1172" y="338"/>
                  <a:pt x="1171" y="338"/>
                </a:cubicBezTo>
                <a:cubicBezTo>
                  <a:pt x="1171" y="338"/>
                  <a:pt x="1170" y="338"/>
                  <a:pt x="1170" y="338"/>
                </a:cubicBezTo>
                <a:cubicBezTo>
                  <a:pt x="1170" y="338"/>
                  <a:pt x="1170" y="338"/>
                  <a:pt x="1169" y="337"/>
                </a:cubicBezTo>
                <a:cubicBezTo>
                  <a:pt x="1169" y="337"/>
                  <a:pt x="1168" y="337"/>
                  <a:pt x="1169" y="338"/>
                </a:cubicBezTo>
                <a:cubicBezTo>
                  <a:pt x="1169" y="338"/>
                  <a:pt x="1169" y="339"/>
                  <a:pt x="1169" y="340"/>
                </a:cubicBezTo>
                <a:cubicBezTo>
                  <a:pt x="1169" y="341"/>
                  <a:pt x="1168" y="341"/>
                  <a:pt x="1168" y="342"/>
                </a:cubicBezTo>
                <a:cubicBezTo>
                  <a:pt x="1168" y="343"/>
                  <a:pt x="1170" y="345"/>
                  <a:pt x="1168" y="346"/>
                </a:cubicBezTo>
                <a:cubicBezTo>
                  <a:pt x="1167" y="346"/>
                  <a:pt x="1166" y="346"/>
                  <a:pt x="1165" y="346"/>
                </a:cubicBezTo>
                <a:cubicBezTo>
                  <a:pt x="1165" y="346"/>
                  <a:pt x="1165" y="345"/>
                  <a:pt x="1164" y="345"/>
                </a:cubicBezTo>
                <a:cubicBezTo>
                  <a:pt x="1163" y="344"/>
                  <a:pt x="1161" y="345"/>
                  <a:pt x="1159" y="344"/>
                </a:cubicBezTo>
                <a:cubicBezTo>
                  <a:pt x="1159" y="344"/>
                  <a:pt x="1159" y="343"/>
                  <a:pt x="1158" y="343"/>
                </a:cubicBezTo>
                <a:cubicBezTo>
                  <a:pt x="1157" y="343"/>
                  <a:pt x="1157" y="343"/>
                  <a:pt x="1156" y="343"/>
                </a:cubicBezTo>
                <a:cubicBezTo>
                  <a:pt x="1154" y="343"/>
                  <a:pt x="1153" y="345"/>
                  <a:pt x="1151" y="347"/>
                </a:cubicBezTo>
                <a:cubicBezTo>
                  <a:pt x="1150" y="348"/>
                  <a:pt x="1149" y="348"/>
                  <a:pt x="1149" y="349"/>
                </a:cubicBezTo>
                <a:cubicBezTo>
                  <a:pt x="1148" y="351"/>
                  <a:pt x="1148" y="353"/>
                  <a:pt x="1148" y="355"/>
                </a:cubicBezTo>
                <a:cubicBezTo>
                  <a:pt x="1149" y="356"/>
                  <a:pt x="1149" y="358"/>
                  <a:pt x="1150" y="359"/>
                </a:cubicBezTo>
                <a:close/>
                <a:moveTo>
                  <a:pt x="1298" y="20"/>
                </a:moveTo>
                <a:cubicBezTo>
                  <a:pt x="1297" y="20"/>
                  <a:pt x="1294" y="21"/>
                  <a:pt x="1294" y="22"/>
                </a:cubicBezTo>
                <a:cubicBezTo>
                  <a:pt x="1294" y="23"/>
                  <a:pt x="1294" y="23"/>
                  <a:pt x="1295" y="23"/>
                </a:cubicBezTo>
                <a:cubicBezTo>
                  <a:pt x="1295" y="23"/>
                  <a:pt x="1295" y="24"/>
                  <a:pt x="1296" y="24"/>
                </a:cubicBezTo>
                <a:cubicBezTo>
                  <a:pt x="1297" y="24"/>
                  <a:pt x="1297" y="24"/>
                  <a:pt x="1298" y="24"/>
                </a:cubicBezTo>
                <a:cubicBezTo>
                  <a:pt x="1299" y="24"/>
                  <a:pt x="1300" y="25"/>
                  <a:pt x="1301" y="26"/>
                </a:cubicBezTo>
                <a:cubicBezTo>
                  <a:pt x="1302" y="26"/>
                  <a:pt x="1303" y="28"/>
                  <a:pt x="1305" y="27"/>
                </a:cubicBezTo>
                <a:cubicBezTo>
                  <a:pt x="1306" y="27"/>
                  <a:pt x="1307" y="26"/>
                  <a:pt x="1309" y="25"/>
                </a:cubicBezTo>
                <a:cubicBezTo>
                  <a:pt x="1310" y="25"/>
                  <a:pt x="1312" y="25"/>
                  <a:pt x="1314" y="24"/>
                </a:cubicBezTo>
                <a:cubicBezTo>
                  <a:pt x="1314" y="24"/>
                  <a:pt x="1315" y="24"/>
                  <a:pt x="1315" y="23"/>
                </a:cubicBezTo>
                <a:cubicBezTo>
                  <a:pt x="1315" y="22"/>
                  <a:pt x="1314" y="21"/>
                  <a:pt x="1314" y="21"/>
                </a:cubicBezTo>
                <a:cubicBezTo>
                  <a:pt x="1313" y="20"/>
                  <a:pt x="1312" y="20"/>
                  <a:pt x="1311" y="20"/>
                </a:cubicBezTo>
                <a:cubicBezTo>
                  <a:pt x="1309" y="19"/>
                  <a:pt x="1308" y="19"/>
                  <a:pt x="1307" y="19"/>
                </a:cubicBezTo>
                <a:cubicBezTo>
                  <a:pt x="1305" y="19"/>
                  <a:pt x="1304" y="20"/>
                  <a:pt x="1303" y="19"/>
                </a:cubicBezTo>
                <a:cubicBezTo>
                  <a:pt x="1301" y="19"/>
                  <a:pt x="1300" y="19"/>
                  <a:pt x="1298" y="20"/>
                </a:cubicBezTo>
                <a:close/>
                <a:moveTo>
                  <a:pt x="1336" y="6"/>
                </a:moveTo>
                <a:cubicBezTo>
                  <a:pt x="1339" y="6"/>
                  <a:pt x="1343" y="5"/>
                  <a:pt x="1344" y="2"/>
                </a:cubicBezTo>
                <a:cubicBezTo>
                  <a:pt x="1327" y="3"/>
                  <a:pt x="1327" y="3"/>
                  <a:pt x="1327" y="3"/>
                </a:cubicBezTo>
                <a:cubicBezTo>
                  <a:pt x="1328" y="3"/>
                  <a:pt x="1330" y="3"/>
                  <a:pt x="1332" y="4"/>
                </a:cubicBezTo>
                <a:cubicBezTo>
                  <a:pt x="1333" y="5"/>
                  <a:pt x="1335" y="6"/>
                  <a:pt x="1336" y="6"/>
                </a:cubicBezTo>
                <a:close/>
                <a:moveTo>
                  <a:pt x="1816" y="245"/>
                </a:moveTo>
                <a:cubicBezTo>
                  <a:pt x="1818" y="244"/>
                  <a:pt x="1819" y="245"/>
                  <a:pt x="1821" y="245"/>
                </a:cubicBezTo>
                <a:cubicBezTo>
                  <a:pt x="1822" y="245"/>
                  <a:pt x="1824" y="245"/>
                  <a:pt x="1823" y="243"/>
                </a:cubicBezTo>
                <a:cubicBezTo>
                  <a:pt x="1823" y="242"/>
                  <a:pt x="1822" y="242"/>
                  <a:pt x="1822" y="242"/>
                </a:cubicBezTo>
                <a:cubicBezTo>
                  <a:pt x="1821" y="242"/>
                  <a:pt x="1821" y="241"/>
                  <a:pt x="1820" y="241"/>
                </a:cubicBezTo>
                <a:cubicBezTo>
                  <a:pt x="1818" y="241"/>
                  <a:pt x="1817" y="243"/>
                  <a:pt x="1815" y="243"/>
                </a:cubicBezTo>
                <a:cubicBezTo>
                  <a:pt x="1814" y="243"/>
                  <a:pt x="1814" y="243"/>
                  <a:pt x="1813" y="244"/>
                </a:cubicBezTo>
                <a:cubicBezTo>
                  <a:pt x="1813" y="244"/>
                  <a:pt x="1812" y="245"/>
                  <a:pt x="1813" y="245"/>
                </a:cubicBezTo>
                <a:cubicBezTo>
                  <a:pt x="1814" y="246"/>
                  <a:pt x="1815" y="245"/>
                  <a:pt x="1816" y="245"/>
                </a:cubicBezTo>
                <a:close/>
                <a:moveTo>
                  <a:pt x="1929" y="23"/>
                </a:moveTo>
                <a:cubicBezTo>
                  <a:pt x="1930" y="24"/>
                  <a:pt x="1929" y="26"/>
                  <a:pt x="1929" y="28"/>
                </a:cubicBezTo>
                <a:cubicBezTo>
                  <a:pt x="1929" y="30"/>
                  <a:pt x="1930" y="31"/>
                  <a:pt x="1932" y="31"/>
                </a:cubicBezTo>
                <a:cubicBezTo>
                  <a:pt x="1933" y="31"/>
                  <a:pt x="1935" y="32"/>
                  <a:pt x="1936" y="32"/>
                </a:cubicBezTo>
                <a:cubicBezTo>
                  <a:pt x="1939" y="33"/>
                  <a:pt x="1942" y="32"/>
                  <a:pt x="1945" y="33"/>
                </a:cubicBezTo>
                <a:cubicBezTo>
                  <a:pt x="1945" y="33"/>
                  <a:pt x="1946" y="33"/>
                  <a:pt x="1947" y="33"/>
                </a:cubicBezTo>
                <a:cubicBezTo>
                  <a:pt x="1947" y="33"/>
                  <a:pt x="1948" y="33"/>
                  <a:pt x="1948" y="34"/>
                </a:cubicBezTo>
                <a:cubicBezTo>
                  <a:pt x="1948" y="35"/>
                  <a:pt x="1946" y="35"/>
                  <a:pt x="1947" y="37"/>
                </a:cubicBezTo>
                <a:cubicBezTo>
                  <a:pt x="1948" y="39"/>
                  <a:pt x="1953" y="39"/>
                  <a:pt x="1955" y="39"/>
                </a:cubicBezTo>
                <a:cubicBezTo>
                  <a:pt x="1958" y="38"/>
                  <a:pt x="1961" y="39"/>
                  <a:pt x="1964" y="38"/>
                </a:cubicBezTo>
                <a:cubicBezTo>
                  <a:pt x="1965" y="38"/>
                  <a:pt x="1966" y="38"/>
                  <a:pt x="1966" y="37"/>
                </a:cubicBezTo>
                <a:cubicBezTo>
                  <a:pt x="1967" y="37"/>
                  <a:pt x="1968" y="37"/>
                  <a:pt x="1969" y="37"/>
                </a:cubicBezTo>
                <a:cubicBezTo>
                  <a:pt x="1969" y="36"/>
                  <a:pt x="1970" y="36"/>
                  <a:pt x="1971" y="36"/>
                </a:cubicBezTo>
                <a:cubicBezTo>
                  <a:pt x="1972" y="36"/>
                  <a:pt x="1972" y="35"/>
                  <a:pt x="1973" y="35"/>
                </a:cubicBezTo>
                <a:cubicBezTo>
                  <a:pt x="1974" y="34"/>
                  <a:pt x="1975" y="33"/>
                  <a:pt x="1976" y="32"/>
                </a:cubicBezTo>
                <a:cubicBezTo>
                  <a:pt x="1978" y="32"/>
                  <a:pt x="1979" y="32"/>
                  <a:pt x="1980" y="31"/>
                </a:cubicBezTo>
                <a:cubicBezTo>
                  <a:pt x="1981" y="31"/>
                  <a:pt x="1981" y="30"/>
                  <a:pt x="1982" y="30"/>
                </a:cubicBezTo>
                <a:cubicBezTo>
                  <a:pt x="1982" y="29"/>
                  <a:pt x="1983" y="29"/>
                  <a:pt x="1983" y="29"/>
                </a:cubicBezTo>
                <a:cubicBezTo>
                  <a:pt x="1984" y="29"/>
                  <a:pt x="1984" y="28"/>
                  <a:pt x="1983" y="27"/>
                </a:cubicBezTo>
                <a:cubicBezTo>
                  <a:pt x="1983" y="27"/>
                  <a:pt x="1982" y="27"/>
                  <a:pt x="1981" y="27"/>
                </a:cubicBezTo>
                <a:cubicBezTo>
                  <a:pt x="1978" y="26"/>
                  <a:pt x="1975" y="25"/>
                  <a:pt x="1972" y="24"/>
                </a:cubicBezTo>
                <a:cubicBezTo>
                  <a:pt x="1969" y="24"/>
                  <a:pt x="1965" y="24"/>
                  <a:pt x="1961" y="23"/>
                </a:cubicBezTo>
                <a:cubicBezTo>
                  <a:pt x="1959" y="22"/>
                  <a:pt x="1957" y="23"/>
                  <a:pt x="1955" y="23"/>
                </a:cubicBezTo>
                <a:cubicBezTo>
                  <a:pt x="1952" y="23"/>
                  <a:pt x="1950" y="22"/>
                  <a:pt x="1948" y="22"/>
                </a:cubicBezTo>
                <a:cubicBezTo>
                  <a:pt x="1944" y="22"/>
                  <a:pt x="1941" y="22"/>
                  <a:pt x="1937" y="22"/>
                </a:cubicBezTo>
                <a:cubicBezTo>
                  <a:pt x="1935" y="22"/>
                  <a:pt x="1934" y="22"/>
                  <a:pt x="1933" y="22"/>
                </a:cubicBezTo>
                <a:cubicBezTo>
                  <a:pt x="1931" y="22"/>
                  <a:pt x="1930" y="21"/>
                  <a:pt x="1929" y="20"/>
                </a:cubicBezTo>
                <a:cubicBezTo>
                  <a:pt x="1928" y="20"/>
                  <a:pt x="1927" y="20"/>
                  <a:pt x="1927" y="21"/>
                </a:cubicBezTo>
                <a:cubicBezTo>
                  <a:pt x="1928" y="22"/>
                  <a:pt x="1929" y="22"/>
                  <a:pt x="1929" y="23"/>
                </a:cubicBezTo>
                <a:close/>
                <a:moveTo>
                  <a:pt x="1512" y="309"/>
                </a:moveTo>
                <a:cubicBezTo>
                  <a:pt x="1513" y="310"/>
                  <a:pt x="1515" y="311"/>
                  <a:pt x="1516" y="310"/>
                </a:cubicBezTo>
                <a:cubicBezTo>
                  <a:pt x="1517" y="309"/>
                  <a:pt x="1517" y="309"/>
                  <a:pt x="1519" y="309"/>
                </a:cubicBezTo>
                <a:cubicBezTo>
                  <a:pt x="1520" y="310"/>
                  <a:pt x="1522" y="310"/>
                  <a:pt x="1523" y="310"/>
                </a:cubicBezTo>
                <a:cubicBezTo>
                  <a:pt x="1526" y="309"/>
                  <a:pt x="1528" y="307"/>
                  <a:pt x="1531" y="306"/>
                </a:cubicBezTo>
                <a:cubicBezTo>
                  <a:pt x="1532" y="306"/>
                  <a:pt x="1533" y="306"/>
                  <a:pt x="1535" y="307"/>
                </a:cubicBezTo>
                <a:cubicBezTo>
                  <a:pt x="1536" y="307"/>
                  <a:pt x="1537" y="307"/>
                  <a:pt x="1537" y="307"/>
                </a:cubicBezTo>
                <a:cubicBezTo>
                  <a:pt x="1538" y="306"/>
                  <a:pt x="1538" y="306"/>
                  <a:pt x="1539" y="306"/>
                </a:cubicBezTo>
                <a:cubicBezTo>
                  <a:pt x="1540" y="305"/>
                  <a:pt x="1541" y="304"/>
                  <a:pt x="1543" y="304"/>
                </a:cubicBezTo>
                <a:cubicBezTo>
                  <a:pt x="1543" y="304"/>
                  <a:pt x="1544" y="304"/>
                  <a:pt x="1545" y="305"/>
                </a:cubicBezTo>
                <a:cubicBezTo>
                  <a:pt x="1545" y="305"/>
                  <a:pt x="1545" y="306"/>
                  <a:pt x="1546" y="306"/>
                </a:cubicBezTo>
                <a:cubicBezTo>
                  <a:pt x="1547" y="305"/>
                  <a:pt x="1547" y="305"/>
                  <a:pt x="1548" y="304"/>
                </a:cubicBezTo>
                <a:cubicBezTo>
                  <a:pt x="1548" y="303"/>
                  <a:pt x="1548" y="303"/>
                  <a:pt x="1547" y="302"/>
                </a:cubicBezTo>
                <a:cubicBezTo>
                  <a:pt x="1547" y="301"/>
                  <a:pt x="1546" y="301"/>
                  <a:pt x="1545" y="300"/>
                </a:cubicBezTo>
                <a:cubicBezTo>
                  <a:pt x="1543" y="298"/>
                  <a:pt x="1542" y="299"/>
                  <a:pt x="1541" y="299"/>
                </a:cubicBezTo>
                <a:cubicBezTo>
                  <a:pt x="1540" y="300"/>
                  <a:pt x="1539" y="299"/>
                  <a:pt x="1539" y="299"/>
                </a:cubicBezTo>
                <a:cubicBezTo>
                  <a:pt x="1538" y="298"/>
                  <a:pt x="1539" y="297"/>
                  <a:pt x="1538" y="297"/>
                </a:cubicBezTo>
                <a:cubicBezTo>
                  <a:pt x="1538" y="296"/>
                  <a:pt x="1537" y="296"/>
                  <a:pt x="1537" y="296"/>
                </a:cubicBezTo>
                <a:cubicBezTo>
                  <a:pt x="1537" y="295"/>
                  <a:pt x="1537" y="294"/>
                  <a:pt x="1538" y="294"/>
                </a:cubicBezTo>
                <a:cubicBezTo>
                  <a:pt x="1538" y="294"/>
                  <a:pt x="1540" y="295"/>
                  <a:pt x="1539" y="294"/>
                </a:cubicBezTo>
                <a:cubicBezTo>
                  <a:pt x="1539" y="293"/>
                  <a:pt x="1538" y="293"/>
                  <a:pt x="1537" y="293"/>
                </a:cubicBezTo>
                <a:cubicBezTo>
                  <a:pt x="1537" y="293"/>
                  <a:pt x="1537" y="292"/>
                  <a:pt x="1536" y="292"/>
                </a:cubicBezTo>
                <a:cubicBezTo>
                  <a:pt x="1536" y="292"/>
                  <a:pt x="1535" y="292"/>
                  <a:pt x="1534" y="292"/>
                </a:cubicBezTo>
                <a:cubicBezTo>
                  <a:pt x="1533" y="292"/>
                  <a:pt x="1531" y="292"/>
                  <a:pt x="1530" y="292"/>
                </a:cubicBezTo>
                <a:cubicBezTo>
                  <a:pt x="1528" y="292"/>
                  <a:pt x="1527" y="293"/>
                  <a:pt x="1526" y="293"/>
                </a:cubicBezTo>
                <a:cubicBezTo>
                  <a:pt x="1524" y="293"/>
                  <a:pt x="1523" y="293"/>
                  <a:pt x="1521" y="294"/>
                </a:cubicBezTo>
                <a:cubicBezTo>
                  <a:pt x="1520" y="294"/>
                  <a:pt x="1518" y="294"/>
                  <a:pt x="1517" y="294"/>
                </a:cubicBezTo>
                <a:cubicBezTo>
                  <a:pt x="1515" y="295"/>
                  <a:pt x="1515" y="296"/>
                  <a:pt x="1515" y="298"/>
                </a:cubicBezTo>
                <a:cubicBezTo>
                  <a:pt x="1515" y="300"/>
                  <a:pt x="1516" y="302"/>
                  <a:pt x="1515" y="304"/>
                </a:cubicBezTo>
                <a:cubicBezTo>
                  <a:pt x="1515" y="305"/>
                  <a:pt x="1513" y="306"/>
                  <a:pt x="1512" y="307"/>
                </a:cubicBezTo>
                <a:cubicBezTo>
                  <a:pt x="1511" y="308"/>
                  <a:pt x="1511" y="309"/>
                  <a:pt x="1512" y="309"/>
                </a:cubicBezTo>
                <a:close/>
                <a:moveTo>
                  <a:pt x="1700" y="1910"/>
                </a:moveTo>
                <a:cubicBezTo>
                  <a:pt x="1699" y="1910"/>
                  <a:pt x="1699" y="1910"/>
                  <a:pt x="1698" y="1909"/>
                </a:cubicBezTo>
                <a:cubicBezTo>
                  <a:pt x="1697" y="1909"/>
                  <a:pt x="1697" y="1909"/>
                  <a:pt x="1697" y="1909"/>
                </a:cubicBezTo>
                <a:cubicBezTo>
                  <a:pt x="1696" y="1908"/>
                  <a:pt x="1694" y="1909"/>
                  <a:pt x="1694" y="1910"/>
                </a:cubicBezTo>
                <a:cubicBezTo>
                  <a:pt x="1694" y="1910"/>
                  <a:pt x="1695" y="1910"/>
                  <a:pt x="1695" y="1910"/>
                </a:cubicBezTo>
                <a:cubicBezTo>
                  <a:pt x="1696" y="1910"/>
                  <a:pt x="1696" y="1910"/>
                  <a:pt x="1697" y="1911"/>
                </a:cubicBezTo>
                <a:cubicBezTo>
                  <a:pt x="1698" y="1911"/>
                  <a:pt x="1698" y="1911"/>
                  <a:pt x="1699" y="1911"/>
                </a:cubicBezTo>
                <a:cubicBezTo>
                  <a:pt x="1700" y="1911"/>
                  <a:pt x="1700" y="1912"/>
                  <a:pt x="1701" y="1911"/>
                </a:cubicBezTo>
                <a:cubicBezTo>
                  <a:pt x="1701" y="1911"/>
                  <a:pt x="1700" y="1910"/>
                  <a:pt x="1700" y="1910"/>
                </a:cubicBezTo>
                <a:close/>
                <a:moveTo>
                  <a:pt x="2032" y="2041"/>
                </a:moveTo>
                <a:cubicBezTo>
                  <a:pt x="2031" y="2041"/>
                  <a:pt x="2030" y="2040"/>
                  <a:pt x="2029" y="2039"/>
                </a:cubicBezTo>
                <a:cubicBezTo>
                  <a:pt x="2028" y="2037"/>
                  <a:pt x="2026" y="2037"/>
                  <a:pt x="2024" y="2035"/>
                </a:cubicBezTo>
                <a:cubicBezTo>
                  <a:pt x="2023" y="2035"/>
                  <a:pt x="2023" y="2034"/>
                  <a:pt x="2022" y="2035"/>
                </a:cubicBezTo>
                <a:cubicBezTo>
                  <a:pt x="2021" y="2035"/>
                  <a:pt x="2021" y="2036"/>
                  <a:pt x="2021" y="2037"/>
                </a:cubicBezTo>
                <a:cubicBezTo>
                  <a:pt x="2022" y="2038"/>
                  <a:pt x="2022" y="2038"/>
                  <a:pt x="2023" y="2038"/>
                </a:cubicBezTo>
                <a:cubicBezTo>
                  <a:pt x="2023" y="2039"/>
                  <a:pt x="2023" y="2039"/>
                  <a:pt x="2024" y="2040"/>
                </a:cubicBezTo>
                <a:cubicBezTo>
                  <a:pt x="2024" y="2042"/>
                  <a:pt x="2026" y="2042"/>
                  <a:pt x="2027" y="2042"/>
                </a:cubicBezTo>
                <a:cubicBezTo>
                  <a:pt x="2029" y="2042"/>
                  <a:pt x="2030" y="2043"/>
                  <a:pt x="2031" y="2044"/>
                </a:cubicBezTo>
                <a:cubicBezTo>
                  <a:pt x="2032" y="2044"/>
                  <a:pt x="2032" y="2044"/>
                  <a:pt x="2033" y="2045"/>
                </a:cubicBezTo>
                <a:cubicBezTo>
                  <a:pt x="2033" y="2045"/>
                  <a:pt x="2034" y="2046"/>
                  <a:pt x="2034" y="2046"/>
                </a:cubicBezTo>
                <a:cubicBezTo>
                  <a:pt x="2036" y="2047"/>
                  <a:pt x="2036" y="2045"/>
                  <a:pt x="2035" y="2044"/>
                </a:cubicBezTo>
                <a:cubicBezTo>
                  <a:pt x="2035" y="2042"/>
                  <a:pt x="2033" y="2042"/>
                  <a:pt x="2032" y="2041"/>
                </a:cubicBezTo>
                <a:close/>
                <a:moveTo>
                  <a:pt x="1747" y="1941"/>
                </a:moveTo>
                <a:cubicBezTo>
                  <a:pt x="1746" y="1942"/>
                  <a:pt x="1747" y="1942"/>
                  <a:pt x="1747" y="1943"/>
                </a:cubicBezTo>
                <a:cubicBezTo>
                  <a:pt x="1747" y="1944"/>
                  <a:pt x="1746" y="1945"/>
                  <a:pt x="1746" y="1944"/>
                </a:cubicBezTo>
                <a:cubicBezTo>
                  <a:pt x="1746" y="1943"/>
                  <a:pt x="1746" y="1942"/>
                  <a:pt x="1746" y="1942"/>
                </a:cubicBezTo>
                <a:cubicBezTo>
                  <a:pt x="1745" y="1941"/>
                  <a:pt x="1745" y="1942"/>
                  <a:pt x="1745" y="1941"/>
                </a:cubicBezTo>
                <a:cubicBezTo>
                  <a:pt x="1744" y="1941"/>
                  <a:pt x="1744" y="1940"/>
                  <a:pt x="1744" y="1940"/>
                </a:cubicBezTo>
                <a:cubicBezTo>
                  <a:pt x="1745" y="1940"/>
                  <a:pt x="1745" y="1941"/>
                  <a:pt x="1746" y="1941"/>
                </a:cubicBezTo>
                <a:cubicBezTo>
                  <a:pt x="1747" y="1940"/>
                  <a:pt x="1744" y="1939"/>
                  <a:pt x="1743" y="1937"/>
                </a:cubicBezTo>
                <a:cubicBezTo>
                  <a:pt x="1743" y="1936"/>
                  <a:pt x="1742" y="1935"/>
                  <a:pt x="1742" y="1934"/>
                </a:cubicBezTo>
                <a:cubicBezTo>
                  <a:pt x="1741" y="1932"/>
                  <a:pt x="1741" y="1931"/>
                  <a:pt x="1740" y="1930"/>
                </a:cubicBezTo>
                <a:cubicBezTo>
                  <a:pt x="1740" y="1929"/>
                  <a:pt x="1739" y="1928"/>
                  <a:pt x="1738" y="1927"/>
                </a:cubicBezTo>
                <a:cubicBezTo>
                  <a:pt x="1738" y="1926"/>
                  <a:pt x="1737" y="1924"/>
                  <a:pt x="1737" y="1923"/>
                </a:cubicBezTo>
                <a:cubicBezTo>
                  <a:pt x="1736" y="1923"/>
                  <a:pt x="1736" y="1923"/>
                  <a:pt x="1735" y="1922"/>
                </a:cubicBezTo>
                <a:cubicBezTo>
                  <a:pt x="1733" y="1919"/>
                  <a:pt x="1731" y="1917"/>
                  <a:pt x="1729" y="1914"/>
                </a:cubicBezTo>
                <a:cubicBezTo>
                  <a:pt x="1729" y="1912"/>
                  <a:pt x="1728" y="1911"/>
                  <a:pt x="1728" y="1910"/>
                </a:cubicBezTo>
                <a:cubicBezTo>
                  <a:pt x="1727" y="1909"/>
                  <a:pt x="1726" y="1908"/>
                  <a:pt x="1725" y="1907"/>
                </a:cubicBezTo>
                <a:cubicBezTo>
                  <a:pt x="1724" y="1905"/>
                  <a:pt x="1722" y="1903"/>
                  <a:pt x="1720" y="1901"/>
                </a:cubicBezTo>
                <a:cubicBezTo>
                  <a:pt x="1719" y="1900"/>
                  <a:pt x="1718" y="1900"/>
                  <a:pt x="1717" y="1899"/>
                </a:cubicBezTo>
                <a:cubicBezTo>
                  <a:pt x="1717" y="1899"/>
                  <a:pt x="1716" y="1898"/>
                  <a:pt x="1716" y="1898"/>
                </a:cubicBezTo>
                <a:cubicBezTo>
                  <a:pt x="1715" y="1898"/>
                  <a:pt x="1715" y="1898"/>
                  <a:pt x="1714" y="1898"/>
                </a:cubicBezTo>
                <a:cubicBezTo>
                  <a:pt x="1713" y="1899"/>
                  <a:pt x="1713" y="1899"/>
                  <a:pt x="1712" y="1898"/>
                </a:cubicBezTo>
                <a:cubicBezTo>
                  <a:pt x="1712" y="1898"/>
                  <a:pt x="1711" y="1898"/>
                  <a:pt x="1711" y="1898"/>
                </a:cubicBezTo>
                <a:cubicBezTo>
                  <a:pt x="1710" y="1899"/>
                  <a:pt x="1711" y="1899"/>
                  <a:pt x="1711" y="1899"/>
                </a:cubicBezTo>
                <a:cubicBezTo>
                  <a:pt x="1712" y="1900"/>
                  <a:pt x="1712" y="1900"/>
                  <a:pt x="1713" y="1901"/>
                </a:cubicBezTo>
                <a:cubicBezTo>
                  <a:pt x="1714" y="1901"/>
                  <a:pt x="1714" y="1901"/>
                  <a:pt x="1714" y="1903"/>
                </a:cubicBezTo>
                <a:cubicBezTo>
                  <a:pt x="1714" y="1903"/>
                  <a:pt x="1714" y="1903"/>
                  <a:pt x="1714" y="1903"/>
                </a:cubicBezTo>
                <a:cubicBezTo>
                  <a:pt x="1714" y="1903"/>
                  <a:pt x="1714" y="1904"/>
                  <a:pt x="1714" y="1904"/>
                </a:cubicBezTo>
                <a:cubicBezTo>
                  <a:pt x="1714" y="1904"/>
                  <a:pt x="1715" y="1904"/>
                  <a:pt x="1715" y="1903"/>
                </a:cubicBezTo>
                <a:cubicBezTo>
                  <a:pt x="1716" y="1903"/>
                  <a:pt x="1716" y="1902"/>
                  <a:pt x="1716" y="1902"/>
                </a:cubicBezTo>
                <a:cubicBezTo>
                  <a:pt x="1717" y="1902"/>
                  <a:pt x="1717" y="1902"/>
                  <a:pt x="1717" y="1902"/>
                </a:cubicBezTo>
                <a:cubicBezTo>
                  <a:pt x="1717" y="1903"/>
                  <a:pt x="1717" y="1903"/>
                  <a:pt x="1718" y="1903"/>
                </a:cubicBezTo>
                <a:cubicBezTo>
                  <a:pt x="1718" y="1903"/>
                  <a:pt x="1719" y="1904"/>
                  <a:pt x="1719" y="1904"/>
                </a:cubicBezTo>
                <a:cubicBezTo>
                  <a:pt x="1720" y="1905"/>
                  <a:pt x="1719" y="1905"/>
                  <a:pt x="1718" y="1905"/>
                </a:cubicBezTo>
                <a:cubicBezTo>
                  <a:pt x="1718" y="1905"/>
                  <a:pt x="1717" y="1905"/>
                  <a:pt x="1717" y="1904"/>
                </a:cubicBezTo>
                <a:cubicBezTo>
                  <a:pt x="1716" y="1904"/>
                  <a:pt x="1715" y="1904"/>
                  <a:pt x="1715" y="1904"/>
                </a:cubicBezTo>
                <a:cubicBezTo>
                  <a:pt x="1715" y="1905"/>
                  <a:pt x="1715" y="1905"/>
                  <a:pt x="1715" y="1906"/>
                </a:cubicBezTo>
                <a:cubicBezTo>
                  <a:pt x="1714" y="1906"/>
                  <a:pt x="1714" y="1906"/>
                  <a:pt x="1714" y="1906"/>
                </a:cubicBezTo>
                <a:cubicBezTo>
                  <a:pt x="1713" y="1906"/>
                  <a:pt x="1713" y="1907"/>
                  <a:pt x="1713" y="1907"/>
                </a:cubicBezTo>
                <a:cubicBezTo>
                  <a:pt x="1713" y="1908"/>
                  <a:pt x="1712" y="1908"/>
                  <a:pt x="1713" y="1909"/>
                </a:cubicBezTo>
                <a:cubicBezTo>
                  <a:pt x="1713" y="1909"/>
                  <a:pt x="1714" y="1909"/>
                  <a:pt x="1714" y="1910"/>
                </a:cubicBezTo>
                <a:cubicBezTo>
                  <a:pt x="1714" y="1911"/>
                  <a:pt x="1714" y="1911"/>
                  <a:pt x="1713" y="1911"/>
                </a:cubicBezTo>
                <a:cubicBezTo>
                  <a:pt x="1712" y="1912"/>
                  <a:pt x="1712" y="1913"/>
                  <a:pt x="1711" y="1914"/>
                </a:cubicBezTo>
                <a:cubicBezTo>
                  <a:pt x="1709" y="1915"/>
                  <a:pt x="1709" y="1914"/>
                  <a:pt x="1708" y="1913"/>
                </a:cubicBezTo>
                <a:cubicBezTo>
                  <a:pt x="1708" y="1913"/>
                  <a:pt x="1707" y="1912"/>
                  <a:pt x="1707" y="1912"/>
                </a:cubicBezTo>
                <a:cubicBezTo>
                  <a:pt x="1706" y="1912"/>
                  <a:pt x="1707" y="1913"/>
                  <a:pt x="1707" y="1913"/>
                </a:cubicBezTo>
                <a:cubicBezTo>
                  <a:pt x="1708" y="1914"/>
                  <a:pt x="1709" y="1914"/>
                  <a:pt x="1709" y="1915"/>
                </a:cubicBezTo>
                <a:cubicBezTo>
                  <a:pt x="1710" y="1916"/>
                  <a:pt x="1710" y="1918"/>
                  <a:pt x="1709" y="1920"/>
                </a:cubicBezTo>
                <a:cubicBezTo>
                  <a:pt x="1709" y="1920"/>
                  <a:pt x="1709" y="1921"/>
                  <a:pt x="1710" y="1922"/>
                </a:cubicBezTo>
                <a:cubicBezTo>
                  <a:pt x="1710" y="1922"/>
                  <a:pt x="1710" y="1923"/>
                  <a:pt x="1710" y="1924"/>
                </a:cubicBezTo>
                <a:cubicBezTo>
                  <a:pt x="1710" y="1924"/>
                  <a:pt x="1710" y="1925"/>
                  <a:pt x="1709" y="1925"/>
                </a:cubicBezTo>
                <a:cubicBezTo>
                  <a:pt x="1709" y="1926"/>
                  <a:pt x="1709" y="1927"/>
                  <a:pt x="1709" y="1927"/>
                </a:cubicBezTo>
                <a:cubicBezTo>
                  <a:pt x="1709" y="1929"/>
                  <a:pt x="1709" y="1929"/>
                  <a:pt x="1708" y="1930"/>
                </a:cubicBezTo>
                <a:cubicBezTo>
                  <a:pt x="1708" y="1931"/>
                  <a:pt x="1708" y="1932"/>
                  <a:pt x="1708" y="1933"/>
                </a:cubicBezTo>
                <a:cubicBezTo>
                  <a:pt x="1707" y="1935"/>
                  <a:pt x="1707" y="1933"/>
                  <a:pt x="1707" y="1932"/>
                </a:cubicBezTo>
                <a:cubicBezTo>
                  <a:pt x="1707" y="1932"/>
                  <a:pt x="1708" y="1931"/>
                  <a:pt x="1708" y="1930"/>
                </a:cubicBezTo>
                <a:cubicBezTo>
                  <a:pt x="1705" y="1930"/>
                  <a:pt x="1706" y="1937"/>
                  <a:pt x="1707" y="1938"/>
                </a:cubicBezTo>
                <a:cubicBezTo>
                  <a:pt x="1707" y="1939"/>
                  <a:pt x="1707" y="1941"/>
                  <a:pt x="1707" y="1943"/>
                </a:cubicBezTo>
                <a:cubicBezTo>
                  <a:pt x="1707" y="1943"/>
                  <a:pt x="1707" y="1944"/>
                  <a:pt x="1708" y="1945"/>
                </a:cubicBezTo>
                <a:cubicBezTo>
                  <a:pt x="1708" y="1946"/>
                  <a:pt x="1708" y="1946"/>
                  <a:pt x="1709" y="1947"/>
                </a:cubicBezTo>
                <a:cubicBezTo>
                  <a:pt x="1709" y="1947"/>
                  <a:pt x="1709" y="1948"/>
                  <a:pt x="1709" y="1949"/>
                </a:cubicBezTo>
                <a:cubicBezTo>
                  <a:pt x="1709" y="1950"/>
                  <a:pt x="1709" y="1952"/>
                  <a:pt x="1709" y="1953"/>
                </a:cubicBezTo>
                <a:cubicBezTo>
                  <a:pt x="1709" y="1955"/>
                  <a:pt x="1710" y="1957"/>
                  <a:pt x="1710" y="1958"/>
                </a:cubicBezTo>
                <a:cubicBezTo>
                  <a:pt x="1710" y="1959"/>
                  <a:pt x="1709" y="1960"/>
                  <a:pt x="1710" y="1961"/>
                </a:cubicBezTo>
                <a:cubicBezTo>
                  <a:pt x="1710" y="1961"/>
                  <a:pt x="1710" y="1962"/>
                  <a:pt x="1711" y="1963"/>
                </a:cubicBezTo>
                <a:cubicBezTo>
                  <a:pt x="1711" y="1966"/>
                  <a:pt x="1713" y="1969"/>
                  <a:pt x="1714" y="1971"/>
                </a:cubicBezTo>
                <a:cubicBezTo>
                  <a:pt x="1715" y="1972"/>
                  <a:pt x="1716" y="1973"/>
                  <a:pt x="1717" y="1973"/>
                </a:cubicBezTo>
                <a:cubicBezTo>
                  <a:pt x="1718" y="1974"/>
                  <a:pt x="1719" y="1975"/>
                  <a:pt x="1721" y="1975"/>
                </a:cubicBezTo>
                <a:cubicBezTo>
                  <a:pt x="1722" y="1975"/>
                  <a:pt x="1724" y="1975"/>
                  <a:pt x="1725" y="1975"/>
                </a:cubicBezTo>
                <a:cubicBezTo>
                  <a:pt x="1726" y="1975"/>
                  <a:pt x="1727" y="1974"/>
                  <a:pt x="1728" y="1974"/>
                </a:cubicBezTo>
                <a:cubicBezTo>
                  <a:pt x="1729" y="1973"/>
                  <a:pt x="1730" y="1972"/>
                  <a:pt x="1731" y="1972"/>
                </a:cubicBezTo>
                <a:cubicBezTo>
                  <a:pt x="1733" y="1971"/>
                  <a:pt x="1734" y="1971"/>
                  <a:pt x="1735" y="1970"/>
                </a:cubicBezTo>
                <a:cubicBezTo>
                  <a:pt x="1737" y="1969"/>
                  <a:pt x="1738" y="1968"/>
                  <a:pt x="1739" y="1967"/>
                </a:cubicBezTo>
                <a:cubicBezTo>
                  <a:pt x="1740" y="1967"/>
                  <a:pt x="1742" y="1966"/>
                  <a:pt x="1743" y="1966"/>
                </a:cubicBezTo>
                <a:cubicBezTo>
                  <a:pt x="1744" y="1965"/>
                  <a:pt x="1746" y="1964"/>
                  <a:pt x="1747" y="1963"/>
                </a:cubicBezTo>
                <a:cubicBezTo>
                  <a:pt x="1748" y="1962"/>
                  <a:pt x="1748" y="1961"/>
                  <a:pt x="1748" y="1959"/>
                </a:cubicBezTo>
                <a:cubicBezTo>
                  <a:pt x="1748" y="1957"/>
                  <a:pt x="1749" y="1954"/>
                  <a:pt x="1749" y="1951"/>
                </a:cubicBezTo>
                <a:cubicBezTo>
                  <a:pt x="1749" y="1948"/>
                  <a:pt x="1748" y="1946"/>
                  <a:pt x="1748" y="1943"/>
                </a:cubicBezTo>
                <a:cubicBezTo>
                  <a:pt x="1748" y="1942"/>
                  <a:pt x="1747" y="1941"/>
                  <a:pt x="1747" y="1941"/>
                </a:cubicBezTo>
                <a:close/>
                <a:moveTo>
                  <a:pt x="1711" y="1902"/>
                </a:moveTo>
                <a:cubicBezTo>
                  <a:pt x="1711" y="1902"/>
                  <a:pt x="1710" y="1900"/>
                  <a:pt x="1710" y="1901"/>
                </a:cubicBezTo>
                <a:cubicBezTo>
                  <a:pt x="1709" y="1901"/>
                  <a:pt x="1711" y="1903"/>
                  <a:pt x="1711" y="1902"/>
                </a:cubicBezTo>
                <a:close/>
                <a:moveTo>
                  <a:pt x="2065" y="2073"/>
                </a:moveTo>
                <a:cubicBezTo>
                  <a:pt x="2064" y="2072"/>
                  <a:pt x="2063" y="2072"/>
                  <a:pt x="2063" y="2072"/>
                </a:cubicBezTo>
                <a:cubicBezTo>
                  <a:pt x="2062" y="2072"/>
                  <a:pt x="2062" y="2071"/>
                  <a:pt x="2061" y="2071"/>
                </a:cubicBezTo>
                <a:cubicBezTo>
                  <a:pt x="2061" y="2070"/>
                  <a:pt x="2060" y="2069"/>
                  <a:pt x="2059" y="2068"/>
                </a:cubicBezTo>
                <a:cubicBezTo>
                  <a:pt x="2058" y="2067"/>
                  <a:pt x="2057" y="2067"/>
                  <a:pt x="2056" y="2066"/>
                </a:cubicBezTo>
                <a:cubicBezTo>
                  <a:pt x="2056" y="2065"/>
                  <a:pt x="2055" y="2062"/>
                  <a:pt x="2054" y="2062"/>
                </a:cubicBezTo>
                <a:cubicBezTo>
                  <a:pt x="2053" y="2062"/>
                  <a:pt x="2053" y="2063"/>
                  <a:pt x="2053" y="2063"/>
                </a:cubicBezTo>
                <a:cubicBezTo>
                  <a:pt x="2052" y="2064"/>
                  <a:pt x="2051" y="2064"/>
                  <a:pt x="2049" y="2064"/>
                </a:cubicBezTo>
                <a:cubicBezTo>
                  <a:pt x="2049" y="2064"/>
                  <a:pt x="2049" y="2065"/>
                  <a:pt x="2049" y="2065"/>
                </a:cubicBezTo>
                <a:cubicBezTo>
                  <a:pt x="2050" y="2066"/>
                  <a:pt x="2051" y="2066"/>
                  <a:pt x="2052" y="2066"/>
                </a:cubicBezTo>
                <a:cubicBezTo>
                  <a:pt x="2053" y="2068"/>
                  <a:pt x="2053" y="2069"/>
                  <a:pt x="2053" y="2070"/>
                </a:cubicBezTo>
                <a:cubicBezTo>
                  <a:pt x="2054" y="2072"/>
                  <a:pt x="2055" y="2073"/>
                  <a:pt x="2057" y="2074"/>
                </a:cubicBezTo>
                <a:cubicBezTo>
                  <a:pt x="2058" y="2075"/>
                  <a:pt x="2058" y="2076"/>
                  <a:pt x="2059" y="2077"/>
                </a:cubicBezTo>
                <a:cubicBezTo>
                  <a:pt x="2059" y="2078"/>
                  <a:pt x="2060" y="2079"/>
                  <a:pt x="2060" y="2079"/>
                </a:cubicBezTo>
                <a:cubicBezTo>
                  <a:pt x="2061" y="2080"/>
                  <a:pt x="2061" y="2080"/>
                  <a:pt x="2062" y="2081"/>
                </a:cubicBezTo>
                <a:cubicBezTo>
                  <a:pt x="2062" y="2081"/>
                  <a:pt x="2062" y="2082"/>
                  <a:pt x="2063" y="2082"/>
                </a:cubicBezTo>
                <a:cubicBezTo>
                  <a:pt x="2064" y="2082"/>
                  <a:pt x="2064" y="2081"/>
                  <a:pt x="2064" y="2081"/>
                </a:cubicBezTo>
                <a:cubicBezTo>
                  <a:pt x="2064" y="2079"/>
                  <a:pt x="2064" y="2078"/>
                  <a:pt x="2064" y="2076"/>
                </a:cubicBezTo>
                <a:cubicBezTo>
                  <a:pt x="2064" y="2075"/>
                  <a:pt x="2066" y="2074"/>
                  <a:pt x="2065" y="2073"/>
                </a:cubicBezTo>
                <a:close/>
                <a:moveTo>
                  <a:pt x="2073" y="2095"/>
                </a:moveTo>
                <a:cubicBezTo>
                  <a:pt x="2073" y="2096"/>
                  <a:pt x="2074" y="2096"/>
                  <a:pt x="2075" y="2097"/>
                </a:cubicBezTo>
                <a:cubicBezTo>
                  <a:pt x="2075" y="2098"/>
                  <a:pt x="2074" y="2098"/>
                  <a:pt x="2074" y="2100"/>
                </a:cubicBezTo>
                <a:cubicBezTo>
                  <a:pt x="2073" y="2100"/>
                  <a:pt x="2074" y="2101"/>
                  <a:pt x="2073" y="2102"/>
                </a:cubicBezTo>
                <a:cubicBezTo>
                  <a:pt x="2073" y="2102"/>
                  <a:pt x="2072" y="2103"/>
                  <a:pt x="2073" y="2104"/>
                </a:cubicBezTo>
                <a:cubicBezTo>
                  <a:pt x="2073" y="2104"/>
                  <a:pt x="2074" y="2104"/>
                  <a:pt x="2075" y="2103"/>
                </a:cubicBezTo>
                <a:cubicBezTo>
                  <a:pt x="2075" y="2103"/>
                  <a:pt x="2076" y="2102"/>
                  <a:pt x="2076" y="2101"/>
                </a:cubicBezTo>
                <a:cubicBezTo>
                  <a:pt x="2076" y="2101"/>
                  <a:pt x="2077" y="2100"/>
                  <a:pt x="2077" y="2100"/>
                </a:cubicBezTo>
                <a:cubicBezTo>
                  <a:pt x="2078" y="2098"/>
                  <a:pt x="2076" y="2097"/>
                  <a:pt x="2076" y="2096"/>
                </a:cubicBezTo>
                <a:cubicBezTo>
                  <a:pt x="2075" y="2095"/>
                  <a:pt x="2074" y="2092"/>
                  <a:pt x="2073" y="2095"/>
                </a:cubicBezTo>
                <a:close/>
                <a:moveTo>
                  <a:pt x="713" y="2160"/>
                </a:moveTo>
                <a:cubicBezTo>
                  <a:pt x="713" y="2159"/>
                  <a:pt x="712" y="2158"/>
                  <a:pt x="712" y="2158"/>
                </a:cubicBezTo>
                <a:cubicBezTo>
                  <a:pt x="711" y="2158"/>
                  <a:pt x="711" y="2160"/>
                  <a:pt x="711" y="2160"/>
                </a:cubicBezTo>
                <a:cubicBezTo>
                  <a:pt x="711" y="2161"/>
                  <a:pt x="711" y="2163"/>
                  <a:pt x="711" y="2164"/>
                </a:cubicBezTo>
                <a:cubicBezTo>
                  <a:pt x="713" y="2164"/>
                  <a:pt x="713" y="2164"/>
                  <a:pt x="713" y="2164"/>
                </a:cubicBezTo>
                <a:cubicBezTo>
                  <a:pt x="713" y="2164"/>
                  <a:pt x="713" y="2164"/>
                  <a:pt x="713" y="2164"/>
                </a:cubicBezTo>
                <a:cubicBezTo>
                  <a:pt x="712" y="2162"/>
                  <a:pt x="713" y="2161"/>
                  <a:pt x="713" y="2160"/>
                </a:cubicBezTo>
                <a:close/>
                <a:moveTo>
                  <a:pt x="2" y="842"/>
                </a:moveTo>
                <a:cubicBezTo>
                  <a:pt x="2" y="842"/>
                  <a:pt x="3" y="841"/>
                  <a:pt x="3" y="841"/>
                </a:cubicBezTo>
                <a:cubicBezTo>
                  <a:pt x="2" y="840"/>
                  <a:pt x="0" y="842"/>
                  <a:pt x="0" y="843"/>
                </a:cubicBezTo>
                <a:cubicBezTo>
                  <a:pt x="0" y="843"/>
                  <a:pt x="2" y="842"/>
                  <a:pt x="2" y="842"/>
                </a:cubicBezTo>
                <a:close/>
                <a:moveTo>
                  <a:pt x="2" y="957"/>
                </a:moveTo>
                <a:cubicBezTo>
                  <a:pt x="3" y="957"/>
                  <a:pt x="3" y="956"/>
                  <a:pt x="4" y="957"/>
                </a:cubicBezTo>
                <a:cubicBezTo>
                  <a:pt x="5" y="957"/>
                  <a:pt x="5" y="958"/>
                  <a:pt x="5" y="958"/>
                </a:cubicBezTo>
                <a:cubicBezTo>
                  <a:pt x="5" y="959"/>
                  <a:pt x="6" y="959"/>
                  <a:pt x="7" y="959"/>
                </a:cubicBezTo>
                <a:cubicBezTo>
                  <a:pt x="8" y="959"/>
                  <a:pt x="8" y="959"/>
                  <a:pt x="9" y="959"/>
                </a:cubicBezTo>
                <a:cubicBezTo>
                  <a:pt x="11" y="960"/>
                  <a:pt x="10" y="958"/>
                  <a:pt x="9" y="957"/>
                </a:cubicBezTo>
                <a:cubicBezTo>
                  <a:pt x="8" y="956"/>
                  <a:pt x="8" y="955"/>
                  <a:pt x="10" y="954"/>
                </a:cubicBezTo>
                <a:cubicBezTo>
                  <a:pt x="11" y="953"/>
                  <a:pt x="11" y="952"/>
                  <a:pt x="11" y="950"/>
                </a:cubicBezTo>
                <a:cubicBezTo>
                  <a:pt x="12" y="949"/>
                  <a:pt x="13" y="948"/>
                  <a:pt x="14" y="946"/>
                </a:cubicBezTo>
                <a:cubicBezTo>
                  <a:pt x="14" y="945"/>
                  <a:pt x="14" y="944"/>
                  <a:pt x="15" y="943"/>
                </a:cubicBezTo>
                <a:cubicBezTo>
                  <a:pt x="15" y="942"/>
                  <a:pt x="16" y="941"/>
                  <a:pt x="16" y="939"/>
                </a:cubicBezTo>
                <a:cubicBezTo>
                  <a:pt x="17" y="939"/>
                  <a:pt x="17" y="937"/>
                  <a:pt x="17" y="936"/>
                </a:cubicBezTo>
                <a:cubicBezTo>
                  <a:pt x="17" y="935"/>
                  <a:pt x="16" y="935"/>
                  <a:pt x="16" y="934"/>
                </a:cubicBezTo>
                <a:cubicBezTo>
                  <a:pt x="15" y="933"/>
                  <a:pt x="15" y="932"/>
                  <a:pt x="15" y="931"/>
                </a:cubicBezTo>
                <a:cubicBezTo>
                  <a:pt x="15" y="931"/>
                  <a:pt x="14" y="930"/>
                  <a:pt x="14" y="930"/>
                </a:cubicBezTo>
                <a:cubicBezTo>
                  <a:pt x="14" y="928"/>
                  <a:pt x="15" y="929"/>
                  <a:pt x="15" y="929"/>
                </a:cubicBezTo>
                <a:cubicBezTo>
                  <a:pt x="16" y="928"/>
                  <a:pt x="16" y="926"/>
                  <a:pt x="16" y="925"/>
                </a:cubicBezTo>
                <a:cubicBezTo>
                  <a:pt x="16" y="923"/>
                  <a:pt x="15" y="923"/>
                  <a:pt x="14" y="921"/>
                </a:cubicBezTo>
                <a:cubicBezTo>
                  <a:pt x="14" y="921"/>
                  <a:pt x="14" y="920"/>
                  <a:pt x="14" y="920"/>
                </a:cubicBezTo>
                <a:cubicBezTo>
                  <a:pt x="13" y="919"/>
                  <a:pt x="12" y="918"/>
                  <a:pt x="11" y="916"/>
                </a:cubicBezTo>
                <a:cubicBezTo>
                  <a:pt x="11" y="916"/>
                  <a:pt x="11" y="915"/>
                  <a:pt x="11" y="915"/>
                </a:cubicBezTo>
                <a:cubicBezTo>
                  <a:pt x="11" y="914"/>
                  <a:pt x="10" y="914"/>
                  <a:pt x="10" y="913"/>
                </a:cubicBezTo>
                <a:cubicBezTo>
                  <a:pt x="9" y="912"/>
                  <a:pt x="11" y="911"/>
                  <a:pt x="12" y="911"/>
                </a:cubicBezTo>
                <a:cubicBezTo>
                  <a:pt x="14" y="911"/>
                  <a:pt x="15" y="911"/>
                  <a:pt x="16" y="910"/>
                </a:cubicBezTo>
                <a:cubicBezTo>
                  <a:pt x="16" y="908"/>
                  <a:pt x="18" y="907"/>
                  <a:pt x="19" y="906"/>
                </a:cubicBezTo>
                <a:cubicBezTo>
                  <a:pt x="20" y="905"/>
                  <a:pt x="21" y="905"/>
                  <a:pt x="23" y="904"/>
                </a:cubicBezTo>
                <a:cubicBezTo>
                  <a:pt x="24" y="904"/>
                  <a:pt x="25" y="904"/>
                  <a:pt x="26" y="903"/>
                </a:cubicBezTo>
                <a:cubicBezTo>
                  <a:pt x="26" y="902"/>
                  <a:pt x="26" y="902"/>
                  <a:pt x="25" y="901"/>
                </a:cubicBezTo>
                <a:cubicBezTo>
                  <a:pt x="25" y="901"/>
                  <a:pt x="25" y="901"/>
                  <a:pt x="24" y="901"/>
                </a:cubicBezTo>
                <a:cubicBezTo>
                  <a:pt x="23" y="902"/>
                  <a:pt x="23" y="901"/>
                  <a:pt x="23" y="900"/>
                </a:cubicBezTo>
                <a:cubicBezTo>
                  <a:pt x="23" y="900"/>
                  <a:pt x="24" y="900"/>
                  <a:pt x="24" y="899"/>
                </a:cubicBezTo>
                <a:cubicBezTo>
                  <a:pt x="25" y="898"/>
                  <a:pt x="23" y="896"/>
                  <a:pt x="24" y="895"/>
                </a:cubicBezTo>
                <a:cubicBezTo>
                  <a:pt x="25" y="896"/>
                  <a:pt x="25" y="897"/>
                  <a:pt x="25" y="897"/>
                </a:cubicBezTo>
                <a:cubicBezTo>
                  <a:pt x="25" y="898"/>
                  <a:pt x="25" y="898"/>
                  <a:pt x="25" y="899"/>
                </a:cubicBezTo>
                <a:cubicBezTo>
                  <a:pt x="25" y="899"/>
                  <a:pt x="26" y="899"/>
                  <a:pt x="26" y="899"/>
                </a:cubicBezTo>
                <a:cubicBezTo>
                  <a:pt x="26" y="900"/>
                  <a:pt x="26" y="901"/>
                  <a:pt x="26" y="901"/>
                </a:cubicBezTo>
                <a:cubicBezTo>
                  <a:pt x="27" y="902"/>
                  <a:pt x="27" y="901"/>
                  <a:pt x="27" y="900"/>
                </a:cubicBezTo>
                <a:cubicBezTo>
                  <a:pt x="27" y="900"/>
                  <a:pt x="27" y="899"/>
                  <a:pt x="27" y="898"/>
                </a:cubicBezTo>
                <a:cubicBezTo>
                  <a:pt x="27" y="897"/>
                  <a:pt x="27" y="897"/>
                  <a:pt x="27" y="896"/>
                </a:cubicBezTo>
                <a:cubicBezTo>
                  <a:pt x="27" y="895"/>
                  <a:pt x="26" y="895"/>
                  <a:pt x="26" y="894"/>
                </a:cubicBezTo>
                <a:cubicBezTo>
                  <a:pt x="26" y="894"/>
                  <a:pt x="27" y="893"/>
                  <a:pt x="26" y="892"/>
                </a:cubicBezTo>
                <a:cubicBezTo>
                  <a:pt x="26" y="891"/>
                  <a:pt x="24" y="892"/>
                  <a:pt x="24" y="892"/>
                </a:cubicBezTo>
                <a:cubicBezTo>
                  <a:pt x="23" y="893"/>
                  <a:pt x="21" y="894"/>
                  <a:pt x="20" y="893"/>
                </a:cubicBezTo>
                <a:cubicBezTo>
                  <a:pt x="19" y="893"/>
                  <a:pt x="20" y="892"/>
                  <a:pt x="20" y="891"/>
                </a:cubicBezTo>
                <a:cubicBezTo>
                  <a:pt x="21" y="891"/>
                  <a:pt x="21" y="891"/>
                  <a:pt x="22" y="891"/>
                </a:cubicBezTo>
                <a:cubicBezTo>
                  <a:pt x="22" y="890"/>
                  <a:pt x="22" y="890"/>
                  <a:pt x="23" y="890"/>
                </a:cubicBezTo>
                <a:cubicBezTo>
                  <a:pt x="24" y="889"/>
                  <a:pt x="24" y="889"/>
                  <a:pt x="24" y="888"/>
                </a:cubicBezTo>
                <a:cubicBezTo>
                  <a:pt x="24" y="888"/>
                  <a:pt x="24" y="888"/>
                  <a:pt x="24" y="887"/>
                </a:cubicBezTo>
                <a:cubicBezTo>
                  <a:pt x="23" y="887"/>
                  <a:pt x="24" y="888"/>
                  <a:pt x="23" y="888"/>
                </a:cubicBezTo>
                <a:cubicBezTo>
                  <a:pt x="23" y="888"/>
                  <a:pt x="22" y="887"/>
                  <a:pt x="22" y="887"/>
                </a:cubicBezTo>
                <a:cubicBezTo>
                  <a:pt x="21" y="886"/>
                  <a:pt x="20" y="886"/>
                  <a:pt x="20" y="885"/>
                </a:cubicBezTo>
                <a:cubicBezTo>
                  <a:pt x="20" y="884"/>
                  <a:pt x="19" y="883"/>
                  <a:pt x="18" y="882"/>
                </a:cubicBezTo>
                <a:cubicBezTo>
                  <a:pt x="18" y="882"/>
                  <a:pt x="17" y="881"/>
                  <a:pt x="17" y="881"/>
                </a:cubicBezTo>
                <a:cubicBezTo>
                  <a:pt x="17" y="880"/>
                  <a:pt x="17" y="879"/>
                  <a:pt x="16" y="879"/>
                </a:cubicBezTo>
                <a:cubicBezTo>
                  <a:pt x="16" y="878"/>
                  <a:pt x="15" y="878"/>
                  <a:pt x="15" y="878"/>
                </a:cubicBezTo>
                <a:cubicBezTo>
                  <a:pt x="14" y="877"/>
                  <a:pt x="13" y="877"/>
                  <a:pt x="12" y="877"/>
                </a:cubicBezTo>
                <a:cubicBezTo>
                  <a:pt x="11" y="876"/>
                  <a:pt x="10" y="877"/>
                  <a:pt x="9" y="877"/>
                </a:cubicBezTo>
                <a:cubicBezTo>
                  <a:pt x="8" y="876"/>
                  <a:pt x="7" y="876"/>
                  <a:pt x="5" y="877"/>
                </a:cubicBezTo>
                <a:cubicBezTo>
                  <a:pt x="5" y="877"/>
                  <a:pt x="4" y="877"/>
                  <a:pt x="3" y="877"/>
                </a:cubicBezTo>
                <a:cubicBezTo>
                  <a:pt x="3" y="877"/>
                  <a:pt x="2" y="876"/>
                  <a:pt x="2" y="877"/>
                </a:cubicBezTo>
                <a:cubicBezTo>
                  <a:pt x="1" y="877"/>
                  <a:pt x="1" y="878"/>
                  <a:pt x="1" y="878"/>
                </a:cubicBezTo>
                <a:cubicBezTo>
                  <a:pt x="1" y="879"/>
                  <a:pt x="0" y="879"/>
                  <a:pt x="0" y="879"/>
                </a:cubicBezTo>
                <a:cubicBezTo>
                  <a:pt x="0" y="959"/>
                  <a:pt x="0" y="959"/>
                  <a:pt x="0" y="959"/>
                </a:cubicBezTo>
                <a:cubicBezTo>
                  <a:pt x="1" y="959"/>
                  <a:pt x="1" y="958"/>
                  <a:pt x="2" y="957"/>
                </a:cubicBezTo>
                <a:close/>
                <a:moveTo>
                  <a:pt x="1209" y="1843"/>
                </a:moveTo>
                <a:cubicBezTo>
                  <a:pt x="1208" y="1842"/>
                  <a:pt x="1207" y="1843"/>
                  <a:pt x="1206" y="1842"/>
                </a:cubicBezTo>
                <a:cubicBezTo>
                  <a:pt x="1205" y="1842"/>
                  <a:pt x="1205" y="1842"/>
                  <a:pt x="1204" y="1841"/>
                </a:cubicBezTo>
                <a:cubicBezTo>
                  <a:pt x="1203" y="1841"/>
                  <a:pt x="1201" y="1840"/>
                  <a:pt x="1200" y="1840"/>
                </a:cubicBezTo>
                <a:cubicBezTo>
                  <a:pt x="1199" y="1841"/>
                  <a:pt x="1198" y="1841"/>
                  <a:pt x="1196" y="1841"/>
                </a:cubicBezTo>
                <a:cubicBezTo>
                  <a:pt x="1194" y="1842"/>
                  <a:pt x="1192" y="1840"/>
                  <a:pt x="1190" y="1840"/>
                </a:cubicBezTo>
                <a:cubicBezTo>
                  <a:pt x="1188" y="1840"/>
                  <a:pt x="1189" y="1841"/>
                  <a:pt x="1188" y="1842"/>
                </a:cubicBezTo>
                <a:cubicBezTo>
                  <a:pt x="1188" y="1843"/>
                  <a:pt x="1187" y="1843"/>
                  <a:pt x="1187" y="1844"/>
                </a:cubicBezTo>
                <a:cubicBezTo>
                  <a:pt x="1186" y="1845"/>
                  <a:pt x="1189" y="1845"/>
                  <a:pt x="1190" y="1846"/>
                </a:cubicBezTo>
                <a:cubicBezTo>
                  <a:pt x="1191" y="1847"/>
                  <a:pt x="1191" y="1847"/>
                  <a:pt x="1192" y="1848"/>
                </a:cubicBezTo>
                <a:cubicBezTo>
                  <a:pt x="1193" y="1848"/>
                  <a:pt x="1193" y="1848"/>
                  <a:pt x="1194" y="1849"/>
                </a:cubicBezTo>
                <a:cubicBezTo>
                  <a:pt x="1196" y="1849"/>
                  <a:pt x="1197" y="1848"/>
                  <a:pt x="1199" y="1848"/>
                </a:cubicBezTo>
                <a:cubicBezTo>
                  <a:pt x="1200" y="1848"/>
                  <a:pt x="1201" y="1848"/>
                  <a:pt x="1202" y="1848"/>
                </a:cubicBezTo>
                <a:cubicBezTo>
                  <a:pt x="1202" y="1848"/>
                  <a:pt x="1203" y="1847"/>
                  <a:pt x="1204" y="1847"/>
                </a:cubicBezTo>
                <a:cubicBezTo>
                  <a:pt x="1204" y="1846"/>
                  <a:pt x="1205" y="1846"/>
                  <a:pt x="1206" y="1846"/>
                </a:cubicBezTo>
                <a:cubicBezTo>
                  <a:pt x="1207" y="1846"/>
                  <a:pt x="1207" y="1845"/>
                  <a:pt x="1208" y="1845"/>
                </a:cubicBezTo>
                <a:cubicBezTo>
                  <a:pt x="1209" y="1844"/>
                  <a:pt x="1209" y="1845"/>
                  <a:pt x="1210" y="1844"/>
                </a:cubicBezTo>
                <a:cubicBezTo>
                  <a:pt x="1210" y="1843"/>
                  <a:pt x="1209" y="1843"/>
                  <a:pt x="1209" y="1843"/>
                </a:cubicBezTo>
                <a:close/>
                <a:moveTo>
                  <a:pt x="2090" y="2120"/>
                </a:moveTo>
                <a:cubicBezTo>
                  <a:pt x="2089" y="2120"/>
                  <a:pt x="2088" y="2119"/>
                  <a:pt x="2088" y="2118"/>
                </a:cubicBezTo>
                <a:cubicBezTo>
                  <a:pt x="2087" y="2117"/>
                  <a:pt x="2087" y="2115"/>
                  <a:pt x="2086" y="2114"/>
                </a:cubicBezTo>
                <a:cubicBezTo>
                  <a:pt x="2086" y="2113"/>
                  <a:pt x="2085" y="2111"/>
                  <a:pt x="2085" y="2111"/>
                </a:cubicBezTo>
                <a:cubicBezTo>
                  <a:pt x="2084" y="2110"/>
                  <a:pt x="2082" y="2110"/>
                  <a:pt x="2081" y="2111"/>
                </a:cubicBezTo>
                <a:cubicBezTo>
                  <a:pt x="2079" y="2111"/>
                  <a:pt x="2078" y="2114"/>
                  <a:pt x="2079" y="2116"/>
                </a:cubicBezTo>
                <a:cubicBezTo>
                  <a:pt x="2079" y="2118"/>
                  <a:pt x="2080" y="2119"/>
                  <a:pt x="2081" y="2120"/>
                </a:cubicBezTo>
                <a:cubicBezTo>
                  <a:pt x="2083" y="2121"/>
                  <a:pt x="2083" y="2123"/>
                  <a:pt x="2084" y="2124"/>
                </a:cubicBezTo>
                <a:cubicBezTo>
                  <a:pt x="2084" y="2125"/>
                  <a:pt x="2085" y="2126"/>
                  <a:pt x="2085" y="2126"/>
                </a:cubicBezTo>
                <a:cubicBezTo>
                  <a:pt x="2086" y="2127"/>
                  <a:pt x="2087" y="2127"/>
                  <a:pt x="2087" y="2127"/>
                </a:cubicBezTo>
                <a:cubicBezTo>
                  <a:pt x="2088" y="2128"/>
                  <a:pt x="2088" y="2129"/>
                  <a:pt x="2089" y="2129"/>
                </a:cubicBezTo>
                <a:cubicBezTo>
                  <a:pt x="2090" y="2128"/>
                  <a:pt x="2090" y="2127"/>
                  <a:pt x="2090" y="2126"/>
                </a:cubicBezTo>
                <a:cubicBezTo>
                  <a:pt x="2090" y="2125"/>
                  <a:pt x="2091" y="2124"/>
                  <a:pt x="2091" y="2123"/>
                </a:cubicBezTo>
                <a:cubicBezTo>
                  <a:pt x="2091" y="2122"/>
                  <a:pt x="2090" y="2121"/>
                  <a:pt x="2090" y="2120"/>
                </a:cubicBezTo>
                <a:close/>
                <a:moveTo>
                  <a:pt x="2490" y="2000"/>
                </a:moveTo>
                <a:cubicBezTo>
                  <a:pt x="2490" y="1998"/>
                  <a:pt x="2490" y="1997"/>
                  <a:pt x="2490" y="1996"/>
                </a:cubicBezTo>
                <a:cubicBezTo>
                  <a:pt x="2489" y="1995"/>
                  <a:pt x="2489" y="1997"/>
                  <a:pt x="2489" y="1997"/>
                </a:cubicBezTo>
                <a:cubicBezTo>
                  <a:pt x="2489" y="1998"/>
                  <a:pt x="2489" y="1998"/>
                  <a:pt x="2489" y="1999"/>
                </a:cubicBezTo>
                <a:cubicBezTo>
                  <a:pt x="2490" y="2000"/>
                  <a:pt x="2489" y="2000"/>
                  <a:pt x="2489" y="2001"/>
                </a:cubicBezTo>
                <a:cubicBezTo>
                  <a:pt x="2489" y="2001"/>
                  <a:pt x="2490" y="2000"/>
                  <a:pt x="2490" y="2000"/>
                </a:cubicBezTo>
                <a:close/>
                <a:moveTo>
                  <a:pt x="2476" y="1893"/>
                </a:moveTo>
                <a:cubicBezTo>
                  <a:pt x="2476" y="1893"/>
                  <a:pt x="2476" y="1892"/>
                  <a:pt x="2476" y="1892"/>
                </a:cubicBezTo>
                <a:cubicBezTo>
                  <a:pt x="2476" y="1891"/>
                  <a:pt x="2476" y="1892"/>
                  <a:pt x="2476" y="1892"/>
                </a:cubicBezTo>
                <a:cubicBezTo>
                  <a:pt x="2475" y="1893"/>
                  <a:pt x="2475" y="1893"/>
                  <a:pt x="2475" y="1893"/>
                </a:cubicBezTo>
                <a:cubicBezTo>
                  <a:pt x="2474" y="1894"/>
                  <a:pt x="2474" y="1894"/>
                  <a:pt x="2474" y="1894"/>
                </a:cubicBezTo>
                <a:cubicBezTo>
                  <a:pt x="2474" y="1895"/>
                  <a:pt x="2473" y="1895"/>
                  <a:pt x="2473" y="1896"/>
                </a:cubicBezTo>
                <a:cubicBezTo>
                  <a:pt x="2473" y="1897"/>
                  <a:pt x="2472" y="1898"/>
                  <a:pt x="2471" y="1899"/>
                </a:cubicBezTo>
                <a:cubicBezTo>
                  <a:pt x="2470" y="1899"/>
                  <a:pt x="2470" y="1899"/>
                  <a:pt x="2469" y="1900"/>
                </a:cubicBezTo>
                <a:cubicBezTo>
                  <a:pt x="2469" y="1900"/>
                  <a:pt x="2469" y="1900"/>
                  <a:pt x="2468" y="1901"/>
                </a:cubicBezTo>
                <a:cubicBezTo>
                  <a:pt x="2468" y="1901"/>
                  <a:pt x="2468" y="1902"/>
                  <a:pt x="2467" y="1902"/>
                </a:cubicBezTo>
                <a:cubicBezTo>
                  <a:pt x="2467" y="1903"/>
                  <a:pt x="2466" y="1903"/>
                  <a:pt x="2466" y="1903"/>
                </a:cubicBezTo>
                <a:cubicBezTo>
                  <a:pt x="2466" y="1904"/>
                  <a:pt x="2465" y="1904"/>
                  <a:pt x="2465" y="1905"/>
                </a:cubicBezTo>
                <a:cubicBezTo>
                  <a:pt x="2465" y="1905"/>
                  <a:pt x="2465" y="1905"/>
                  <a:pt x="2464" y="1906"/>
                </a:cubicBezTo>
                <a:cubicBezTo>
                  <a:pt x="2463" y="1906"/>
                  <a:pt x="2464" y="1906"/>
                  <a:pt x="2463" y="1907"/>
                </a:cubicBezTo>
                <a:cubicBezTo>
                  <a:pt x="2463" y="1907"/>
                  <a:pt x="2462" y="1907"/>
                  <a:pt x="2462" y="1908"/>
                </a:cubicBezTo>
                <a:cubicBezTo>
                  <a:pt x="2462" y="1908"/>
                  <a:pt x="2462" y="1909"/>
                  <a:pt x="2461" y="1909"/>
                </a:cubicBezTo>
                <a:cubicBezTo>
                  <a:pt x="2461" y="1908"/>
                  <a:pt x="2461" y="1908"/>
                  <a:pt x="2460" y="1908"/>
                </a:cubicBezTo>
                <a:cubicBezTo>
                  <a:pt x="2459" y="1908"/>
                  <a:pt x="2459" y="1909"/>
                  <a:pt x="2458" y="1909"/>
                </a:cubicBezTo>
                <a:cubicBezTo>
                  <a:pt x="2458" y="1909"/>
                  <a:pt x="2458" y="1910"/>
                  <a:pt x="2457" y="1910"/>
                </a:cubicBezTo>
                <a:cubicBezTo>
                  <a:pt x="2456" y="1911"/>
                  <a:pt x="2457" y="1912"/>
                  <a:pt x="2456" y="1912"/>
                </a:cubicBezTo>
                <a:cubicBezTo>
                  <a:pt x="2455" y="1912"/>
                  <a:pt x="2455" y="1912"/>
                  <a:pt x="2454" y="1913"/>
                </a:cubicBezTo>
                <a:cubicBezTo>
                  <a:pt x="2454" y="1913"/>
                  <a:pt x="2454" y="1914"/>
                  <a:pt x="2453" y="1914"/>
                </a:cubicBezTo>
                <a:cubicBezTo>
                  <a:pt x="2453" y="1914"/>
                  <a:pt x="2452" y="1914"/>
                  <a:pt x="2452" y="1915"/>
                </a:cubicBezTo>
                <a:cubicBezTo>
                  <a:pt x="2451" y="1915"/>
                  <a:pt x="2451" y="1916"/>
                  <a:pt x="2451" y="1916"/>
                </a:cubicBezTo>
                <a:cubicBezTo>
                  <a:pt x="2451" y="1917"/>
                  <a:pt x="2450" y="1918"/>
                  <a:pt x="2450" y="1918"/>
                </a:cubicBezTo>
                <a:cubicBezTo>
                  <a:pt x="2449" y="1919"/>
                  <a:pt x="2449" y="1919"/>
                  <a:pt x="2448" y="1919"/>
                </a:cubicBezTo>
                <a:cubicBezTo>
                  <a:pt x="2447" y="1920"/>
                  <a:pt x="2447" y="1921"/>
                  <a:pt x="2446" y="1922"/>
                </a:cubicBezTo>
                <a:cubicBezTo>
                  <a:pt x="2446" y="1923"/>
                  <a:pt x="2445" y="1923"/>
                  <a:pt x="2445" y="1924"/>
                </a:cubicBezTo>
                <a:cubicBezTo>
                  <a:pt x="2445" y="1925"/>
                  <a:pt x="2445" y="1925"/>
                  <a:pt x="2445" y="1926"/>
                </a:cubicBezTo>
                <a:cubicBezTo>
                  <a:pt x="2444" y="1926"/>
                  <a:pt x="2445" y="1927"/>
                  <a:pt x="2445" y="1927"/>
                </a:cubicBezTo>
                <a:cubicBezTo>
                  <a:pt x="2446" y="1926"/>
                  <a:pt x="2446" y="1926"/>
                  <a:pt x="2446" y="1925"/>
                </a:cubicBezTo>
                <a:cubicBezTo>
                  <a:pt x="2447" y="1925"/>
                  <a:pt x="2447" y="1925"/>
                  <a:pt x="2448" y="1924"/>
                </a:cubicBezTo>
                <a:cubicBezTo>
                  <a:pt x="2449" y="1923"/>
                  <a:pt x="2449" y="1924"/>
                  <a:pt x="2450" y="1924"/>
                </a:cubicBezTo>
                <a:cubicBezTo>
                  <a:pt x="2450" y="1923"/>
                  <a:pt x="2450" y="1923"/>
                  <a:pt x="2451" y="1923"/>
                </a:cubicBezTo>
                <a:cubicBezTo>
                  <a:pt x="2451" y="1923"/>
                  <a:pt x="2451" y="1923"/>
                  <a:pt x="2452" y="1922"/>
                </a:cubicBezTo>
                <a:cubicBezTo>
                  <a:pt x="2452" y="1922"/>
                  <a:pt x="2452" y="1920"/>
                  <a:pt x="2453" y="1920"/>
                </a:cubicBezTo>
                <a:cubicBezTo>
                  <a:pt x="2453" y="1920"/>
                  <a:pt x="2453" y="1920"/>
                  <a:pt x="2454" y="1920"/>
                </a:cubicBezTo>
                <a:cubicBezTo>
                  <a:pt x="2454" y="1920"/>
                  <a:pt x="2455" y="1920"/>
                  <a:pt x="2455" y="1920"/>
                </a:cubicBezTo>
                <a:cubicBezTo>
                  <a:pt x="2457" y="1920"/>
                  <a:pt x="2458" y="1918"/>
                  <a:pt x="2459" y="1917"/>
                </a:cubicBezTo>
                <a:cubicBezTo>
                  <a:pt x="2460" y="1916"/>
                  <a:pt x="2461" y="1916"/>
                  <a:pt x="2462" y="1915"/>
                </a:cubicBezTo>
                <a:cubicBezTo>
                  <a:pt x="2462" y="1914"/>
                  <a:pt x="2462" y="1913"/>
                  <a:pt x="2462" y="1913"/>
                </a:cubicBezTo>
                <a:cubicBezTo>
                  <a:pt x="2463" y="1912"/>
                  <a:pt x="2463" y="1912"/>
                  <a:pt x="2463" y="1911"/>
                </a:cubicBezTo>
                <a:cubicBezTo>
                  <a:pt x="2464" y="1910"/>
                  <a:pt x="2466" y="1910"/>
                  <a:pt x="2467" y="1910"/>
                </a:cubicBezTo>
                <a:cubicBezTo>
                  <a:pt x="2468" y="1910"/>
                  <a:pt x="2468" y="1909"/>
                  <a:pt x="2469" y="1908"/>
                </a:cubicBezTo>
                <a:cubicBezTo>
                  <a:pt x="2470" y="1908"/>
                  <a:pt x="2471" y="1908"/>
                  <a:pt x="2471" y="1907"/>
                </a:cubicBezTo>
                <a:cubicBezTo>
                  <a:pt x="2471" y="1907"/>
                  <a:pt x="2472" y="1906"/>
                  <a:pt x="2472" y="1906"/>
                </a:cubicBezTo>
                <a:cubicBezTo>
                  <a:pt x="2473" y="1904"/>
                  <a:pt x="2474" y="1903"/>
                  <a:pt x="2475" y="1902"/>
                </a:cubicBezTo>
                <a:cubicBezTo>
                  <a:pt x="2475" y="1901"/>
                  <a:pt x="2476" y="1901"/>
                  <a:pt x="2476" y="1900"/>
                </a:cubicBezTo>
                <a:cubicBezTo>
                  <a:pt x="2477" y="1899"/>
                  <a:pt x="2476" y="1898"/>
                  <a:pt x="2476" y="1897"/>
                </a:cubicBezTo>
                <a:cubicBezTo>
                  <a:pt x="2476" y="1897"/>
                  <a:pt x="2476" y="1896"/>
                  <a:pt x="2476" y="1895"/>
                </a:cubicBezTo>
                <a:cubicBezTo>
                  <a:pt x="2476" y="1895"/>
                  <a:pt x="2477" y="1895"/>
                  <a:pt x="2477" y="1895"/>
                </a:cubicBezTo>
                <a:cubicBezTo>
                  <a:pt x="2478" y="1894"/>
                  <a:pt x="2478" y="1894"/>
                  <a:pt x="2479" y="1894"/>
                </a:cubicBezTo>
                <a:cubicBezTo>
                  <a:pt x="2480" y="1894"/>
                  <a:pt x="2481" y="1894"/>
                  <a:pt x="2481" y="1894"/>
                </a:cubicBezTo>
                <a:cubicBezTo>
                  <a:pt x="2483" y="1894"/>
                  <a:pt x="2484" y="1893"/>
                  <a:pt x="2485" y="1893"/>
                </a:cubicBezTo>
                <a:cubicBezTo>
                  <a:pt x="2486" y="1892"/>
                  <a:pt x="2485" y="1891"/>
                  <a:pt x="2486" y="1891"/>
                </a:cubicBezTo>
                <a:cubicBezTo>
                  <a:pt x="2486" y="1890"/>
                  <a:pt x="2486" y="1889"/>
                  <a:pt x="2486" y="1889"/>
                </a:cubicBezTo>
                <a:cubicBezTo>
                  <a:pt x="2487" y="1888"/>
                  <a:pt x="2487" y="1888"/>
                  <a:pt x="2488" y="1888"/>
                </a:cubicBezTo>
                <a:cubicBezTo>
                  <a:pt x="2488" y="1887"/>
                  <a:pt x="2488" y="1887"/>
                  <a:pt x="2489" y="1887"/>
                </a:cubicBezTo>
                <a:cubicBezTo>
                  <a:pt x="2490" y="1887"/>
                  <a:pt x="2489" y="1886"/>
                  <a:pt x="2490" y="1886"/>
                </a:cubicBezTo>
                <a:cubicBezTo>
                  <a:pt x="2491" y="1886"/>
                  <a:pt x="2491" y="1887"/>
                  <a:pt x="2492" y="1887"/>
                </a:cubicBezTo>
                <a:cubicBezTo>
                  <a:pt x="2492" y="1887"/>
                  <a:pt x="2492" y="1886"/>
                  <a:pt x="2493" y="1886"/>
                </a:cubicBezTo>
                <a:cubicBezTo>
                  <a:pt x="2493" y="1885"/>
                  <a:pt x="2493" y="1885"/>
                  <a:pt x="2494" y="1885"/>
                </a:cubicBezTo>
                <a:cubicBezTo>
                  <a:pt x="2494" y="1884"/>
                  <a:pt x="2495" y="1884"/>
                  <a:pt x="2495" y="1883"/>
                </a:cubicBezTo>
                <a:cubicBezTo>
                  <a:pt x="2494" y="1883"/>
                  <a:pt x="2494" y="1883"/>
                  <a:pt x="2494" y="1882"/>
                </a:cubicBezTo>
                <a:cubicBezTo>
                  <a:pt x="2494" y="1882"/>
                  <a:pt x="2493" y="1882"/>
                  <a:pt x="2494" y="1881"/>
                </a:cubicBezTo>
                <a:cubicBezTo>
                  <a:pt x="2494" y="1881"/>
                  <a:pt x="2494" y="1881"/>
                  <a:pt x="2494" y="1880"/>
                </a:cubicBezTo>
                <a:cubicBezTo>
                  <a:pt x="2493" y="1880"/>
                  <a:pt x="2492" y="1881"/>
                  <a:pt x="2493" y="1880"/>
                </a:cubicBezTo>
                <a:cubicBezTo>
                  <a:pt x="2493" y="1880"/>
                  <a:pt x="2493" y="1880"/>
                  <a:pt x="2493" y="1879"/>
                </a:cubicBezTo>
                <a:cubicBezTo>
                  <a:pt x="2493" y="1879"/>
                  <a:pt x="2492" y="1879"/>
                  <a:pt x="2493" y="1878"/>
                </a:cubicBezTo>
                <a:cubicBezTo>
                  <a:pt x="2493" y="1878"/>
                  <a:pt x="2493" y="1878"/>
                  <a:pt x="2493" y="1878"/>
                </a:cubicBezTo>
                <a:cubicBezTo>
                  <a:pt x="2494" y="1878"/>
                  <a:pt x="2494" y="1878"/>
                  <a:pt x="2493" y="1878"/>
                </a:cubicBezTo>
                <a:cubicBezTo>
                  <a:pt x="2493" y="1877"/>
                  <a:pt x="2493" y="1878"/>
                  <a:pt x="2493" y="1878"/>
                </a:cubicBezTo>
                <a:cubicBezTo>
                  <a:pt x="2493" y="1878"/>
                  <a:pt x="2492" y="1877"/>
                  <a:pt x="2492" y="1877"/>
                </a:cubicBezTo>
                <a:cubicBezTo>
                  <a:pt x="2492" y="1877"/>
                  <a:pt x="2492" y="1878"/>
                  <a:pt x="2491" y="1878"/>
                </a:cubicBezTo>
                <a:cubicBezTo>
                  <a:pt x="2491" y="1877"/>
                  <a:pt x="2491" y="1877"/>
                  <a:pt x="2491" y="1876"/>
                </a:cubicBezTo>
                <a:cubicBezTo>
                  <a:pt x="2491" y="1876"/>
                  <a:pt x="2491" y="1875"/>
                  <a:pt x="2491" y="1875"/>
                </a:cubicBezTo>
                <a:cubicBezTo>
                  <a:pt x="2491" y="1874"/>
                  <a:pt x="2491" y="1874"/>
                  <a:pt x="2491" y="1874"/>
                </a:cubicBezTo>
                <a:cubicBezTo>
                  <a:pt x="2492" y="1874"/>
                  <a:pt x="2491" y="1873"/>
                  <a:pt x="2492" y="1873"/>
                </a:cubicBezTo>
                <a:cubicBezTo>
                  <a:pt x="2492" y="1873"/>
                  <a:pt x="2493" y="1874"/>
                  <a:pt x="2493" y="1874"/>
                </a:cubicBezTo>
                <a:cubicBezTo>
                  <a:pt x="2493" y="1874"/>
                  <a:pt x="2494" y="1874"/>
                  <a:pt x="2494" y="1874"/>
                </a:cubicBezTo>
                <a:cubicBezTo>
                  <a:pt x="2493" y="1873"/>
                  <a:pt x="2493" y="1872"/>
                  <a:pt x="2493" y="1872"/>
                </a:cubicBezTo>
                <a:cubicBezTo>
                  <a:pt x="2492" y="1872"/>
                  <a:pt x="2492" y="1873"/>
                  <a:pt x="2492" y="1873"/>
                </a:cubicBezTo>
                <a:cubicBezTo>
                  <a:pt x="2490" y="1872"/>
                  <a:pt x="2491" y="1871"/>
                  <a:pt x="2492" y="1870"/>
                </a:cubicBezTo>
                <a:cubicBezTo>
                  <a:pt x="2492" y="1869"/>
                  <a:pt x="2492" y="1869"/>
                  <a:pt x="2492" y="1868"/>
                </a:cubicBezTo>
                <a:cubicBezTo>
                  <a:pt x="2492" y="1867"/>
                  <a:pt x="2492" y="1867"/>
                  <a:pt x="2492" y="1868"/>
                </a:cubicBezTo>
                <a:cubicBezTo>
                  <a:pt x="2490" y="1868"/>
                  <a:pt x="2491" y="1866"/>
                  <a:pt x="2491" y="1865"/>
                </a:cubicBezTo>
                <a:cubicBezTo>
                  <a:pt x="2490" y="1865"/>
                  <a:pt x="2491" y="1867"/>
                  <a:pt x="2490" y="1867"/>
                </a:cubicBezTo>
                <a:cubicBezTo>
                  <a:pt x="2490" y="1868"/>
                  <a:pt x="2489" y="1868"/>
                  <a:pt x="2489" y="1869"/>
                </a:cubicBezTo>
                <a:cubicBezTo>
                  <a:pt x="2489" y="1869"/>
                  <a:pt x="2490" y="1870"/>
                  <a:pt x="2489" y="1870"/>
                </a:cubicBezTo>
                <a:cubicBezTo>
                  <a:pt x="2489" y="1870"/>
                  <a:pt x="2488" y="1869"/>
                  <a:pt x="2488" y="1869"/>
                </a:cubicBezTo>
                <a:cubicBezTo>
                  <a:pt x="2488" y="1870"/>
                  <a:pt x="2489" y="1870"/>
                  <a:pt x="2489" y="1870"/>
                </a:cubicBezTo>
                <a:cubicBezTo>
                  <a:pt x="2489" y="1871"/>
                  <a:pt x="2490" y="1872"/>
                  <a:pt x="2489" y="1873"/>
                </a:cubicBezTo>
                <a:cubicBezTo>
                  <a:pt x="2489" y="1873"/>
                  <a:pt x="2489" y="1872"/>
                  <a:pt x="2489" y="1872"/>
                </a:cubicBezTo>
                <a:cubicBezTo>
                  <a:pt x="2489" y="1872"/>
                  <a:pt x="2489" y="1872"/>
                  <a:pt x="2489" y="1872"/>
                </a:cubicBezTo>
                <a:cubicBezTo>
                  <a:pt x="2489" y="1873"/>
                  <a:pt x="2489" y="1873"/>
                  <a:pt x="2489" y="1874"/>
                </a:cubicBezTo>
                <a:cubicBezTo>
                  <a:pt x="2488" y="1874"/>
                  <a:pt x="2488" y="1872"/>
                  <a:pt x="2488" y="1872"/>
                </a:cubicBezTo>
                <a:cubicBezTo>
                  <a:pt x="2487" y="1872"/>
                  <a:pt x="2488" y="1873"/>
                  <a:pt x="2488" y="1874"/>
                </a:cubicBezTo>
                <a:cubicBezTo>
                  <a:pt x="2488" y="1874"/>
                  <a:pt x="2487" y="1873"/>
                  <a:pt x="2487" y="1874"/>
                </a:cubicBezTo>
                <a:cubicBezTo>
                  <a:pt x="2487" y="1875"/>
                  <a:pt x="2487" y="1875"/>
                  <a:pt x="2488" y="1875"/>
                </a:cubicBezTo>
                <a:cubicBezTo>
                  <a:pt x="2488" y="1875"/>
                  <a:pt x="2488" y="1875"/>
                  <a:pt x="2488" y="1875"/>
                </a:cubicBezTo>
                <a:cubicBezTo>
                  <a:pt x="2488" y="1876"/>
                  <a:pt x="2488" y="1876"/>
                  <a:pt x="2488" y="1876"/>
                </a:cubicBezTo>
                <a:cubicBezTo>
                  <a:pt x="2488" y="1876"/>
                  <a:pt x="2488" y="1877"/>
                  <a:pt x="2488" y="1877"/>
                </a:cubicBezTo>
                <a:cubicBezTo>
                  <a:pt x="2489" y="1877"/>
                  <a:pt x="2489" y="1876"/>
                  <a:pt x="2489" y="1876"/>
                </a:cubicBezTo>
                <a:cubicBezTo>
                  <a:pt x="2489" y="1877"/>
                  <a:pt x="2490" y="1877"/>
                  <a:pt x="2490" y="1877"/>
                </a:cubicBezTo>
                <a:cubicBezTo>
                  <a:pt x="2490" y="1878"/>
                  <a:pt x="2489" y="1878"/>
                  <a:pt x="2490" y="1879"/>
                </a:cubicBezTo>
                <a:cubicBezTo>
                  <a:pt x="2490" y="1879"/>
                  <a:pt x="2490" y="1879"/>
                  <a:pt x="2490" y="1879"/>
                </a:cubicBezTo>
                <a:cubicBezTo>
                  <a:pt x="2489" y="1879"/>
                  <a:pt x="2489" y="1878"/>
                  <a:pt x="2488" y="1878"/>
                </a:cubicBezTo>
                <a:cubicBezTo>
                  <a:pt x="2488" y="1877"/>
                  <a:pt x="2487" y="1877"/>
                  <a:pt x="2487" y="1877"/>
                </a:cubicBezTo>
                <a:cubicBezTo>
                  <a:pt x="2487" y="1877"/>
                  <a:pt x="2487" y="1876"/>
                  <a:pt x="2487" y="1876"/>
                </a:cubicBezTo>
                <a:cubicBezTo>
                  <a:pt x="2486" y="1876"/>
                  <a:pt x="2486" y="1876"/>
                  <a:pt x="2487" y="1875"/>
                </a:cubicBezTo>
                <a:cubicBezTo>
                  <a:pt x="2487" y="1875"/>
                  <a:pt x="2487" y="1874"/>
                  <a:pt x="2486" y="1874"/>
                </a:cubicBezTo>
                <a:cubicBezTo>
                  <a:pt x="2486" y="1875"/>
                  <a:pt x="2486" y="1875"/>
                  <a:pt x="2486" y="1875"/>
                </a:cubicBezTo>
                <a:cubicBezTo>
                  <a:pt x="2486" y="1876"/>
                  <a:pt x="2485" y="1876"/>
                  <a:pt x="2485" y="1877"/>
                </a:cubicBezTo>
                <a:cubicBezTo>
                  <a:pt x="2486" y="1877"/>
                  <a:pt x="2486" y="1877"/>
                  <a:pt x="2486" y="1878"/>
                </a:cubicBezTo>
                <a:cubicBezTo>
                  <a:pt x="2486" y="1879"/>
                  <a:pt x="2487" y="1878"/>
                  <a:pt x="2488" y="1879"/>
                </a:cubicBezTo>
                <a:cubicBezTo>
                  <a:pt x="2488" y="1879"/>
                  <a:pt x="2488" y="1880"/>
                  <a:pt x="2487" y="1881"/>
                </a:cubicBezTo>
                <a:cubicBezTo>
                  <a:pt x="2487" y="1881"/>
                  <a:pt x="2487" y="1882"/>
                  <a:pt x="2487" y="1882"/>
                </a:cubicBezTo>
                <a:cubicBezTo>
                  <a:pt x="2487" y="1883"/>
                  <a:pt x="2486" y="1883"/>
                  <a:pt x="2486" y="1883"/>
                </a:cubicBezTo>
                <a:cubicBezTo>
                  <a:pt x="2486" y="1884"/>
                  <a:pt x="2486" y="1884"/>
                  <a:pt x="2486" y="1884"/>
                </a:cubicBezTo>
                <a:cubicBezTo>
                  <a:pt x="2486" y="1885"/>
                  <a:pt x="2485" y="1884"/>
                  <a:pt x="2485" y="1885"/>
                </a:cubicBezTo>
                <a:cubicBezTo>
                  <a:pt x="2485" y="1886"/>
                  <a:pt x="2484" y="1885"/>
                  <a:pt x="2484" y="1886"/>
                </a:cubicBezTo>
                <a:cubicBezTo>
                  <a:pt x="2484" y="1886"/>
                  <a:pt x="2483" y="1886"/>
                  <a:pt x="2483" y="1886"/>
                </a:cubicBezTo>
                <a:cubicBezTo>
                  <a:pt x="2483" y="1885"/>
                  <a:pt x="2483" y="1885"/>
                  <a:pt x="2483" y="1885"/>
                </a:cubicBezTo>
                <a:cubicBezTo>
                  <a:pt x="2483" y="1884"/>
                  <a:pt x="2483" y="1885"/>
                  <a:pt x="2483" y="1885"/>
                </a:cubicBezTo>
                <a:cubicBezTo>
                  <a:pt x="2482" y="1886"/>
                  <a:pt x="2482" y="1886"/>
                  <a:pt x="2482" y="1886"/>
                </a:cubicBezTo>
                <a:cubicBezTo>
                  <a:pt x="2481" y="1886"/>
                  <a:pt x="2481" y="1886"/>
                  <a:pt x="2481" y="1886"/>
                </a:cubicBezTo>
                <a:cubicBezTo>
                  <a:pt x="2480" y="1886"/>
                  <a:pt x="2481" y="1887"/>
                  <a:pt x="2481" y="1887"/>
                </a:cubicBezTo>
                <a:cubicBezTo>
                  <a:pt x="2482" y="1887"/>
                  <a:pt x="2481" y="1888"/>
                  <a:pt x="2481" y="1888"/>
                </a:cubicBezTo>
                <a:cubicBezTo>
                  <a:pt x="2480" y="1888"/>
                  <a:pt x="2480" y="1889"/>
                  <a:pt x="2480" y="1889"/>
                </a:cubicBezTo>
                <a:cubicBezTo>
                  <a:pt x="2480" y="1891"/>
                  <a:pt x="2478" y="1889"/>
                  <a:pt x="2477" y="1890"/>
                </a:cubicBezTo>
                <a:cubicBezTo>
                  <a:pt x="2477" y="1891"/>
                  <a:pt x="2478" y="1891"/>
                  <a:pt x="2478" y="1892"/>
                </a:cubicBezTo>
                <a:cubicBezTo>
                  <a:pt x="2478" y="1892"/>
                  <a:pt x="2477" y="1893"/>
                  <a:pt x="2477" y="1893"/>
                </a:cubicBezTo>
                <a:cubicBezTo>
                  <a:pt x="2477" y="1893"/>
                  <a:pt x="2477" y="1894"/>
                  <a:pt x="2476" y="1893"/>
                </a:cubicBezTo>
                <a:close/>
                <a:moveTo>
                  <a:pt x="2278" y="1724"/>
                </a:moveTo>
                <a:cubicBezTo>
                  <a:pt x="2280" y="1724"/>
                  <a:pt x="2280" y="1725"/>
                  <a:pt x="2281" y="1726"/>
                </a:cubicBezTo>
                <a:cubicBezTo>
                  <a:pt x="2283" y="1727"/>
                  <a:pt x="2284" y="1727"/>
                  <a:pt x="2285" y="1727"/>
                </a:cubicBezTo>
                <a:cubicBezTo>
                  <a:pt x="2286" y="1727"/>
                  <a:pt x="2287" y="1728"/>
                  <a:pt x="2287" y="1728"/>
                </a:cubicBezTo>
                <a:cubicBezTo>
                  <a:pt x="2288" y="1728"/>
                  <a:pt x="2289" y="1729"/>
                  <a:pt x="2290" y="1729"/>
                </a:cubicBezTo>
                <a:cubicBezTo>
                  <a:pt x="2291" y="1729"/>
                  <a:pt x="2292" y="1729"/>
                  <a:pt x="2292" y="1730"/>
                </a:cubicBezTo>
                <a:cubicBezTo>
                  <a:pt x="2293" y="1730"/>
                  <a:pt x="2294" y="1730"/>
                  <a:pt x="2296" y="1730"/>
                </a:cubicBezTo>
                <a:cubicBezTo>
                  <a:pt x="2297" y="1730"/>
                  <a:pt x="2297" y="1729"/>
                  <a:pt x="2298" y="1728"/>
                </a:cubicBezTo>
                <a:cubicBezTo>
                  <a:pt x="2298" y="1727"/>
                  <a:pt x="2298" y="1726"/>
                  <a:pt x="2299" y="1725"/>
                </a:cubicBezTo>
                <a:cubicBezTo>
                  <a:pt x="2300" y="1725"/>
                  <a:pt x="2301" y="1726"/>
                  <a:pt x="2303" y="1725"/>
                </a:cubicBezTo>
                <a:cubicBezTo>
                  <a:pt x="2303" y="1725"/>
                  <a:pt x="2304" y="1725"/>
                  <a:pt x="2304" y="1724"/>
                </a:cubicBezTo>
                <a:cubicBezTo>
                  <a:pt x="2305" y="1723"/>
                  <a:pt x="2305" y="1723"/>
                  <a:pt x="2306" y="1722"/>
                </a:cubicBezTo>
                <a:cubicBezTo>
                  <a:pt x="2307" y="1721"/>
                  <a:pt x="2307" y="1720"/>
                  <a:pt x="2309" y="1720"/>
                </a:cubicBezTo>
                <a:cubicBezTo>
                  <a:pt x="2311" y="1720"/>
                  <a:pt x="2312" y="1720"/>
                  <a:pt x="2313" y="1719"/>
                </a:cubicBezTo>
                <a:cubicBezTo>
                  <a:pt x="2313" y="1717"/>
                  <a:pt x="2314" y="1716"/>
                  <a:pt x="2314" y="1715"/>
                </a:cubicBezTo>
                <a:cubicBezTo>
                  <a:pt x="2314" y="1713"/>
                  <a:pt x="2314" y="1712"/>
                  <a:pt x="2314" y="1710"/>
                </a:cubicBezTo>
                <a:cubicBezTo>
                  <a:pt x="2314" y="1709"/>
                  <a:pt x="2315" y="1708"/>
                  <a:pt x="2316" y="1707"/>
                </a:cubicBezTo>
                <a:cubicBezTo>
                  <a:pt x="2317" y="1706"/>
                  <a:pt x="2317" y="1706"/>
                  <a:pt x="2318" y="1705"/>
                </a:cubicBezTo>
                <a:cubicBezTo>
                  <a:pt x="2318" y="1705"/>
                  <a:pt x="2318" y="1704"/>
                  <a:pt x="2318" y="1703"/>
                </a:cubicBezTo>
                <a:cubicBezTo>
                  <a:pt x="2320" y="1701"/>
                  <a:pt x="2324" y="1701"/>
                  <a:pt x="2323" y="1698"/>
                </a:cubicBezTo>
                <a:cubicBezTo>
                  <a:pt x="2323" y="1698"/>
                  <a:pt x="2323" y="1697"/>
                  <a:pt x="2323" y="1697"/>
                </a:cubicBezTo>
                <a:cubicBezTo>
                  <a:pt x="2322" y="1696"/>
                  <a:pt x="2323" y="1695"/>
                  <a:pt x="2322" y="1694"/>
                </a:cubicBezTo>
                <a:cubicBezTo>
                  <a:pt x="2322" y="1693"/>
                  <a:pt x="2320" y="1693"/>
                  <a:pt x="2319" y="1692"/>
                </a:cubicBezTo>
                <a:cubicBezTo>
                  <a:pt x="2318" y="1692"/>
                  <a:pt x="2318" y="1692"/>
                  <a:pt x="2318" y="1691"/>
                </a:cubicBezTo>
                <a:cubicBezTo>
                  <a:pt x="2317" y="1690"/>
                  <a:pt x="2317" y="1689"/>
                  <a:pt x="2316" y="1690"/>
                </a:cubicBezTo>
                <a:cubicBezTo>
                  <a:pt x="2315" y="1691"/>
                  <a:pt x="2316" y="1693"/>
                  <a:pt x="2315" y="1694"/>
                </a:cubicBezTo>
                <a:cubicBezTo>
                  <a:pt x="2314" y="1694"/>
                  <a:pt x="2314" y="1694"/>
                  <a:pt x="2313" y="1694"/>
                </a:cubicBezTo>
                <a:cubicBezTo>
                  <a:pt x="2312" y="1694"/>
                  <a:pt x="2312" y="1693"/>
                  <a:pt x="2311" y="1693"/>
                </a:cubicBezTo>
                <a:cubicBezTo>
                  <a:pt x="2310" y="1693"/>
                  <a:pt x="2309" y="1692"/>
                  <a:pt x="2308" y="1692"/>
                </a:cubicBezTo>
                <a:cubicBezTo>
                  <a:pt x="2306" y="1692"/>
                  <a:pt x="2305" y="1693"/>
                  <a:pt x="2304" y="1694"/>
                </a:cubicBezTo>
                <a:cubicBezTo>
                  <a:pt x="2303" y="1695"/>
                  <a:pt x="2302" y="1694"/>
                  <a:pt x="2301" y="1693"/>
                </a:cubicBezTo>
                <a:cubicBezTo>
                  <a:pt x="2299" y="1693"/>
                  <a:pt x="2298" y="1693"/>
                  <a:pt x="2296" y="1693"/>
                </a:cubicBezTo>
                <a:cubicBezTo>
                  <a:pt x="2295" y="1694"/>
                  <a:pt x="2295" y="1695"/>
                  <a:pt x="2293" y="1695"/>
                </a:cubicBezTo>
                <a:cubicBezTo>
                  <a:pt x="2293" y="1696"/>
                  <a:pt x="2292" y="1696"/>
                  <a:pt x="2291" y="1695"/>
                </a:cubicBezTo>
                <a:cubicBezTo>
                  <a:pt x="2291" y="1695"/>
                  <a:pt x="2290" y="1695"/>
                  <a:pt x="2290" y="1695"/>
                </a:cubicBezTo>
                <a:cubicBezTo>
                  <a:pt x="2288" y="1695"/>
                  <a:pt x="2289" y="1698"/>
                  <a:pt x="2289" y="1698"/>
                </a:cubicBezTo>
                <a:cubicBezTo>
                  <a:pt x="2288" y="1700"/>
                  <a:pt x="2286" y="1700"/>
                  <a:pt x="2286" y="1701"/>
                </a:cubicBezTo>
                <a:cubicBezTo>
                  <a:pt x="2285" y="1702"/>
                  <a:pt x="2284" y="1703"/>
                  <a:pt x="2282" y="1704"/>
                </a:cubicBezTo>
                <a:cubicBezTo>
                  <a:pt x="2280" y="1705"/>
                  <a:pt x="2277" y="1706"/>
                  <a:pt x="2276" y="1709"/>
                </a:cubicBezTo>
                <a:cubicBezTo>
                  <a:pt x="2276" y="1712"/>
                  <a:pt x="2276" y="1716"/>
                  <a:pt x="2277" y="1719"/>
                </a:cubicBezTo>
                <a:cubicBezTo>
                  <a:pt x="2278" y="1720"/>
                  <a:pt x="2277" y="1721"/>
                  <a:pt x="2276" y="1722"/>
                </a:cubicBezTo>
                <a:cubicBezTo>
                  <a:pt x="2276" y="1724"/>
                  <a:pt x="2277" y="1724"/>
                  <a:pt x="2278" y="1724"/>
                </a:cubicBezTo>
                <a:close/>
                <a:moveTo>
                  <a:pt x="2102" y="2137"/>
                </a:moveTo>
                <a:cubicBezTo>
                  <a:pt x="2101" y="2136"/>
                  <a:pt x="2100" y="2132"/>
                  <a:pt x="2098" y="2132"/>
                </a:cubicBezTo>
                <a:cubicBezTo>
                  <a:pt x="2096" y="2132"/>
                  <a:pt x="2097" y="2135"/>
                  <a:pt x="2098" y="2136"/>
                </a:cubicBezTo>
                <a:cubicBezTo>
                  <a:pt x="2099" y="2137"/>
                  <a:pt x="2101" y="2138"/>
                  <a:pt x="2102" y="2139"/>
                </a:cubicBezTo>
                <a:cubicBezTo>
                  <a:pt x="2102" y="2139"/>
                  <a:pt x="2103" y="2139"/>
                  <a:pt x="2103" y="2138"/>
                </a:cubicBezTo>
                <a:cubicBezTo>
                  <a:pt x="2103" y="2138"/>
                  <a:pt x="2103" y="2137"/>
                  <a:pt x="2102" y="2137"/>
                </a:cubicBezTo>
                <a:close/>
                <a:moveTo>
                  <a:pt x="2405" y="1988"/>
                </a:moveTo>
                <a:cubicBezTo>
                  <a:pt x="2406" y="1988"/>
                  <a:pt x="2406" y="1987"/>
                  <a:pt x="2406" y="1986"/>
                </a:cubicBezTo>
                <a:cubicBezTo>
                  <a:pt x="2406" y="1986"/>
                  <a:pt x="2404" y="1988"/>
                  <a:pt x="2405" y="1988"/>
                </a:cubicBezTo>
                <a:close/>
                <a:moveTo>
                  <a:pt x="2" y="804"/>
                </a:moveTo>
                <a:cubicBezTo>
                  <a:pt x="2" y="803"/>
                  <a:pt x="4" y="803"/>
                  <a:pt x="4" y="801"/>
                </a:cubicBezTo>
                <a:cubicBezTo>
                  <a:pt x="4" y="800"/>
                  <a:pt x="3" y="801"/>
                  <a:pt x="3" y="800"/>
                </a:cubicBezTo>
                <a:cubicBezTo>
                  <a:pt x="2" y="799"/>
                  <a:pt x="3" y="799"/>
                  <a:pt x="3" y="799"/>
                </a:cubicBezTo>
                <a:cubicBezTo>
                  <a:pt x="4" y="798"/>
                  <a:pt x="4" y="797"/>
                  <a:pt x="5" y="797"/>
                </a:cubicBezTo>
                <a:cubicBezTo>
                  <a:pt x="6" y="797"/>
                  <a:pt x="6" y="798"/>
                  <a:pt x="5" y="799"/>
                </a:cubicBezTo>
                <a:cubicBezTo>
                  <a:pt x="5" y="800"/>
                  <a:pt x="6" y="799"/>
                  <a:pt x="6" y="800"/>
                </a:cubicBezTo>
                <a:cubicBezTo>
                  <a:pt x="7" y="801"/>
                  <a:pt x="6" y="801"/>
                  <a:pt x="7" y="802"/>
                </a:cubicBezTo>
                <a:cubicBezTo>
                  <a:pt x="8" y="802"/>
                  <a:pt x="8" y="801"/>
                  <a:pt x="8" y="800"/>
                </a:cubicBezTo>
                <a:cubicBezTo>
                  <a:pt x="8" y="799"/>
                  <a:pt x="8" y="799"/>
                  <a:pt x="9" y="800"/>
                </a:cubicBezTo>
                <a:cubicBezTo>
                  <a:pt x="10" y="800"/>
                  <a:pt x="10" y="800"/>
                  <a:pt x="10" y="799"/>
                </a:cubicBezTo>
                <a:cubicBezTo>
                  <a:pt x="10" y="798"/>
                  <a:pt x="11" y="797"/>
                  <a:pt x="10" y="797"/>
                </a:cubicBezTo>
                <a:cubicBezTo>
                  <a:pt x="9" y="797"/>
                  <a:pt x="9" y="797"/>
                  <a:pt x="8" y="797"/>
                </a:cubicBezTo>
                <a:cubicBezTo>
                  <a:pt x="7" y="797"/>
                  <a:pt x="7" y="796"/>
                  <a:pt x="8" y="796"/>
                </a:cubicBezTo>
                <a:cubicBezTo>
                  <a:pt x="9" y="795"/>
                  <a:pt x="10" y="796"/>
                  <a:pt x="11" y="794"/>
                </a:cubicBezTo>
                <a:cubicBezTo>
                  <a:pt x="11" y="793"/>
                  <a:pt x="11" y="793"/>
                  <a:pt x="11" y="792"/>
                </a:cubicBezTo>
                <a:cubicBezTo>
                  <a:pt x="11" y="791"/>
                  <a:pt x="12" y="792"/>
                  <a:pt x="12" y="791"/>
                </a:cubicBezTo>
                <a:cubicBezTo>
                  <a:pt x="14" y="790"/>
                  <a:pt x="12" y="789"/>
                  <a:pt x="12" y="788"/>
                </a:cubicBezTo>
                <a:cubicBezTo>
                  <a:pt x="12" y="787"/>
                  <a:pt x="13" y="786"/>
                  <a:pt x="13" y="786"/>
                </a:cubicBezTo>
                <a:cubicBezTo>
                  <a:pt x="12" y="785"/>
                  <a:pt x="11" y="785"/>
                  <a:pt x="11" y="786"/>
                </a:cubicBezTo>
                <a:cubicBezTo>
                  <a:pt x="9" y="786"/>
                  <a:pt x="6" y="788"/>
                  <a:pt x="5" y="790"/>
                </a:cubicBezTo>
                <a:cubicBezTo>
                  <a:pt x="4" y="790"/>
                  <a:pt x="4" y="793"/>
                  <a:pt x="3" y="793"/>
                </a:cubicBezTo>
                <a:cubicBezTo>
                  <a:pt x="2" y="793"/>
                  <a:pt x="3" y="792"/>
                  <a:pt x="2" y="792"/>
                </a:cubicBezTo>
                <a:cubicBezTo>
                  <a:pt x="2" y="791"/>
                  <a:pt x="1" y="793"/>
                  <a:pt x="1" y="793"/>
                </a:cubicBezTo>
                <a:cubicBezTo>
                  <a:pt x="1" y="793"/>
                  <a:pt x="0" y="793"/>
                  <a:pt x="0" y="793"/>
                </a:cubicBezTo>
                <a:cubicBezTo>
                  <a:pt x="0" y="806"/>
                  <a:pt x="0" y="806"/>
                  <a:pt x="0" y="806"/>
                </a:cubicBezTo>
                <a:cubicBezTo>
                  <a:pt x="1" y="806"/>
                  <a:pt x="1" y="806"/>
                  <a:pt x="1" y="806"/>
                </a:cubicBezTo>
                <a:cubicBezTo>
                  <a:pt x="2" y="805"/>
                  <a:pt x="1" y="805"/>
                  <a:pt x="2" y="804"/>
                </a:cubicBezTo>
                <a:close/>
                <a:moveTo>
                  <a:pt x="2441" y="1936"/>
                </a:moveTo>
                <a:cubicBezTo>
                  <a:pt x="2441" y="1936"/>
                  <a:pt x="2441" y="1936"/>
                  <a:pt x="2441" y="1937"/>
                </a:cubicBezTo>
                <a:cubicBezTo>
                  <a:pt x="2441" y="1937"/>
                  <a:pt x="2441" y="1937"/>
                  <a:pt x="2441" y="1937"/>
                </a:cubicBezTo>
                <a:cubicBezTo>
                  <a:pt x="2441" y="1937"/>
                  <a:pt x="2442" y="1936"/>
                  <a:pt x="2442" y="1936"/>
                </a:cubicBezTo>
                <a:cubicBezTo>
                  <a:pt x="2442" y="1936"/>
                  <a:pt x="2442" y="1935"/>
                  <a:pt x="2443" y="1935"/>
                </a:cubicBezTo>
                <a:cubicBezTo>
                  <a:pt x="2443" y="1935"/>
                  <a:pt x="2443" y="1934"/>
                  <a:pt x="2443" y="1934"/>
                </a:cubicBezTo>
                <a:cubicBezTo>
                  <a:pt x="2443" y="1933"/>
                  <a:pt x="2442" y="1934"/>
                  <a:pt x="2442" y="1933"/>
                </a:cubicBezTo>
                <a:cubicBezTo>
                  <a:pt x="2443" y="1932"/>
                  <a:pt x="2443" y="1932"/>
                  <a:pt x="2442" y="1932"/>
                </a:cubicBezTo>
                <a:cubicBezTo>
                  <a:pt x="2441" y="1932"/>
                  <a:pt x="2441" y="1932"/>
                  <a:pt x="2441" y="1932"/>
                </a:cubicBezTo>
                <a:cubicBezTo>
                  <a:pt x="2441" y="1933"/>
                  <a:pt x="2440" y="1933"/>
                  <a:pt x="2440" y="1933"/>
                </a:cubicBezTo>
                <a:cubicBezTo>
                  <a:pt x="2441" y="1934"/>
                  <a:pt x="2441" y="1934"/>
                  <a:pt x="2440" y="1934"/>
                </a:cubicBezTo>
                <a:cubicBezTo>
                  <a:pt x="2440" y="1935"/>
                  <a:pt x="2440" y="1935"/>
                  <a:pt x="2441" y="1936"/>
                </a:cubicBezTo>
                <a:close/>
                <a:moveTo>
                  <a:pt x="2479" y="2074"/>
                </a:moveTo>
                <a:cubicBezTo>
                  <a:pt x="2479" y="2074"/>
                  <a:pt x="2479" y="2073"/>
                  <a:pt x="2480" y="2073"/>
                </a:cubicBezTo>
                <a:cubicBezTo>
                  <a:pt x="2480" y="2073"/>
                  <a:pt x="2480" y="2072"/>
                  <a:pt x="2480" y="2071"/>
                </a:cubicBezTo>
                <a:cubicBezTo>
                  <a:pt x="2479" y="2071"/>
                  <a:pt x="2478" y="2071"/>
                  <a:pt x="2477" y="2070"/>
                </a:cubicBezTo>
                <a:cubicBezTo>
                  <a:pt x="2477" y="2070"/>
                  <a:pt x="2476" y="2069"/>
                  <a:pt x="2475" y="2069"/>
                </a:cubicBezTo>
                <a:cubicBezTo>
                  <a:pt x="2474" y="2068"/>
                  <a:pt x="2473" y="2067"/>
                  <a:pt x="2472" y="2066"/>
                </a:cubicBezTo>
                <a:cubicBezTo>
                  <a:pt x="2470" y="2066"/>
                  <a:pt x="2470" y="2065"/>
                  <a:pt x="2469" y="2063"/>
                </a:cubicBezTo>
                <a:cubicBezTo>
                  <a:pt x="2468" y="2062"/>
                  <a:pt x="2467" y="2063"/>
                  <a:pt x="2466" y="2062"/>
                </a:cubicBezTo>
                <a:cubicBezTo>
                  <a:pt x="2465" y="2061"/>
                  <a:pt x="2465" y="2060"/>
                  <a:pt x="2464" y="2059"/>
                </a:cubicBezTo>
                <a:cubicBezTo>
                  <a:pt x="2463" y="2059"/>
                  <a:pt x="2462" y="2058"/>
                  <a:pt x="2462" y="2058"/>
                </a:cubicBezTo>
                <a:cubicBezTo>
                  <a:pt x="2462" y="2058"/>
                  <a:pt x="2461" y="2057"/>
                  <a:pt x="2461" y="2057"/>
                </a:cubicBezTo>
                <a:cubicBezTo>
                  <a:pt x="2460" y="2056"/>
                  <a:pt x="2458" y="2055"/>
                  <a:pt x="2458" y="2055"/>
                </a:cubicBezTo>
                <a:cubicBezTo>
                  <a:pt x="2457" y="2054"/>
                  <a:pt x="2457" y="2054"/>
                  <a:pt x="2457" y="2053"/>
                </a:cubicBezTo>
                <a:cubicBezTo>
                  <a:pt x="2456" y="2052"/>
                  <a:pt x="2457" y="2052"/>
                  <a:pt x="2458" y="2052"/>
                </a:cubicBezTo>
                <a:cubicBezTo>
                  <a:pt x="2458" y="2052"/>
                  <a:pt x="2459" y="2051"/>
                  <a:pt x="2459" y="2051"/>
                </a:cubicBezTo>
                <a:cubicBezTo>
                  <a:pt x="2459" y="2050"/>
                  <a:pt x="2459" y="2050"/>
                  <a:pt x="2460" y="2049"/>
                </a:cubicBezTo>
                <a:cubicBezTo>
                  <a:pt x="2460" y="2049"/>
                  <a:pt x="2461" y="2049"/>
                  <a:pt x="2461" y="2048"/>
                </a:cubicBezTo>
                <a:cubicBezTo>
                  <a:pt x="2461" y="2047"/>
                  <a:pt x="2460" y="2045"/>
                  <a:pt x="2459" y="2044"/>
                </a:cubicBezTo>
                <a:cubicBezTo>
                  <a:pt x="2459" y="2043"/>
                  <a:pt x="2459" y="2043"/>
                  <a:pt x="2458" y="2042"/>
                </a:cubicBezTo>
                <a:cubicBezTo>
                  <a:pt x="2457" y="2041"/>
                  <a:pt x="2456" y="2041"/>
                  <a:pt x="2455" y="2039"/>
                </a:cubicBezTo>
                <a:cubicBezTo>
                  <a:pt x="2455" y="2039"/>
                  <a:pt x="2455" y="2038"/>
                  <a:pt x="2454" y="2038"/>
                </a:cubicBezTo>
                <a:cubicBezTo>
                  <a:pt x="2454" y="2038"/>
                  <a:pt x="2453" y="2037"/>
                  <a:pt x="2454" y="2036"/>
                </a:cubicBezTo>
                <a:cubicBezTo>
                  <a:pt x="2454" y="2036"/>
                  <a:pt x="2455" y="2036"/>
                  <a:pt x="2455" y="2036"/>
                </a:cubicBezTo>
                <a:cubicBezTo>
                  <a:pt x="2455" y="2035"/>
                  <a:pt x="2454" y="2035"/>
                  <a:pt x="2454" y="2035"/>
                </a:cubicBezTo>
                <a:cubicBezTo>
                  <a:pt x="2453" y="2035"/>
                  <a:pt x="2453" y="2035"/>
                  <a:pt x="2452" y="2034"/>
                </a:cubicBezTo>
                <a:cubicBezTo>
                  <a:pt x="2452" y="2033"/>
                  <a:pt x="2452" y="2033"/>
                  <a:pt x="2453" y="2033"/>
                </a:cubicBezTo>
                <a:cubicBezTo>
                  <a:pt x="2454" y="2031"/>
                  <a:pt x="2451" y="2031"/>
                  <a:pt x="2450" y="2031"/>
                </a:cubicBezTo>
                <a:cubicBezTo>
                  <a:pt x="2450" y="2030"/>
                  <a:pt x="2449" y="2030"/>
                  <a:pt x="2449" y="2030"/>
                </a:cubicBezTo>
                <a:cubicBezTo>
                  <a:pt x="2448" y="2029"/>
                  <a:pt x="2447" y="2029"/>
                  <a:pt x="2447" y="2028"/>
                </a:cubicBezTo>
                <a:cubicBezTo>
                  <a:pt x="2448" y="2028"/>
                  <a:pt x="2448" y="2027"/>
                  <a:pt x="2449" y="2027"/>
                </a:cubicBezTo>
                <a:cubicBezTo>
                  <a:pt x="2449" y="2027"/>
                  <a:pt x="2449" y="2026"/>
                  <a:pt x="2449" y="2026"/>
                </a:cubicBezTo>
                <a:cubicBezTo>
                  <a:pt x="2449" y="2025"/>
                  <a:pt x="2449" y="2025"/>
                  <a:pt x="2450" y="2024"/>
                </a:cubicBezTo>
                <a:cubicBezTo>
                  <a:pt x="2450" y="2024"/>
                  <a:pt x="2451" y="2024"/>
                  <a:pt x="2451" y="2024"/>
                </a:cubicBezTo>
                <a:cubicBezTo>
                  <a:pt x="2451" y="2023"/>
                  <a:pt x="2449" y="2023"/>
                  <a:pt x="2449" y="2023"/>
                </a:cubicBezTo>
                <a:cubicBezTo>
                  <a:pt x="2448" y="2023"/>
                  <a:pt x="2448" y="2023"/>
                  <a:pt x="2447" y="2023"/>
                </a:cubicBezTo>
                <a:cubicBezTo>
                  <a:pt x="2446" y="2022"/>
                  <a:pt x="2446" y="2022"/>
                  <a:pt x="2445" y="2021"/>
                </a:cubicBezTo>
                <a:cubicBezTo>
                  <a:pt x="2445" y="2021"/>
                  <a:pt x="2445" y="2021"/>
                  <a:pt x="2445" y="2021"/>
                </a:cubicBezTo>
                <a:cubicBezTo>
                  <a:pt x="2446" y="2020"/>
                  <a:pt x="2446" y="2021"/>
                  <a:pt x="2447" y="2021"/>
                </a:cubicBezTo>
                <a:cubicBezTo>
                  <a:pt x="2448" y="2022"/>
                  <a:pt x="2449" y="2022"/>
                  <a:pt x="2449" y="2021"/>
                </a:cubicBezTo>
                <a:cubicBezTo>
                  <a:pt x="2450" y="2021"/>
                  <a:pt x="2451" y="2021"/>
                  <a:pt x="2451" y="2021"/>
                </a:cubicBezTo>
                <a:cubicBezTo>
                  <a:pt x="2452" y="2021"/>
                  <a:pt x="2451" y="2020"/>
                  <a:pt x="2451" y="2019"/>
                </a:cubicBezTo>
                <a:cubicBezTo>
                  <a:pt x="2451" y="2017"/>
                  <a:pt x="2454" y="2019"/>
                  <a:pt x="2455" y="2019"/>
                </a:cubicBezTo>
                <a:cubicBezTo>
                  <a:pt x="2455" y="2019"/>
                  <a:pt x="2456" y="2019"/>
                  <a:pt x="2457" y="2019"/>
                </a:cubicBezTo>
                <a:cubicBezTo>
                  <a:pt x="2457" y="2019"/>
                  <a:pt x="2458" y="2020"/>
                  <a:pt x="2458" y="2019"/>
                </a:cubicBezTo>
                <a:cubicBezTo>
                  <a:pt x="2458" y="2018"/>
                  <a:pt x="2457" y="2018"/>
                  <a:pt x="2456" y="2018"/>
                </a:cubicBezTo>
                <a:cubicBezTo>
                  <a:pt x="2456" y="2018"/>
                  <a:pt x="2455" y="2017"/>
                  <a:pt x="2455" y="2017"/>
                </a:cubicBezTo>
                <a:cubicBezTo>
                  <a:pt x="2455" y="2016"/>
                  <a:pt x="2455" y="2016"/>
                  <a:pt x="2454" y="2015"/>
                </a:cubicBezTo>
                <a:cubicBezTo>
                  <a:pt x="2454" y="2015"/>
                  <a:pt x="2453" y="2015"/>
                  <a:pt x="2453" y="2014"/>
                </a:cubicBezTo>
                <a:cubicBezTo>
                  <a:pt x="2452" y="2013"/>
                  <a:pt x="2453" y="2013"/>
                  <a:pt x="2452" y="2013"/>
                </a:cubicBezTo>
                <a:cubicBezTo>
                  <a:pt x="2451" y="2013"/>
                  <a:pt x="2451" y="2012"/>
                  <a:pt x="2450" y="2012"/>
                </a:cubicBezTo>
                <a:cubicBezTo>
                  <a:pt x="2450" y="2011"/>
                  <a:pt x="2450" y="2011"/>
                  <a:pt x="2450" y="2011"/>
                </a:cubicBezTo>
                <a:cubicBezTo>
                  <a:pt x="2450" y="2009"/>
                  <a:pt x="2451" y="2010"/>
                  <a:pt x="2452" y="2010"/>
                </a:cubicBezTo>
                <a:cubicBezTo>
                  <a:pt x="2454" y="2010"/>
                  <a:pt x="2452" y="2007"/>
                  <a:pt x="2454" y="2006"/>
                </a:cubicBezTo>
                <a:cubicBezTo>
                  <a:pt x="2455" y="2006"/>
                  <a:pt x="2455" y="2007"/>
                  <a:pt x="2456" y="2007"/>
                </a:cubicBezTo>
                <a:cubicBezTo>
                  <a:pt x="2457" y="2007"/>
                  <a:pt x="2459" y="2007"/>
                  <a:pt x="2460" y="2007"/>
                </a:cubicBezTo>
                <a:cubicBezTo>
                  <a:pt x="2462" y="2008"/>
                  <a:pt x="2463" y="2007"/>
                  <a:pt x="2465" y="2007"/>
                </a:cubicBezTo>
                <a:cubicBezTo>
                  <a:pt x="2465" y="2007"/>
                  <a:pt x="2466" y="2007"/>
                  <a:pt x="2467" y="2007"/>
                </a:cubicBezTo>
                <a:cubicBezTo>
                  <a:pt x="2468" y="2007"/>
                  <a:pt x="2468" y="2007"/>
                  <a:pt x="2469" y="2007"/>
                </a:cubicBezTo>
                <a:cubicBezTo>
                  <a:pt x="2470" y="2007"/>
                  <a:pt x="2470" y="2007"/>
                  <a:pt x="2471" y="2007"/>
                </a:cubicBezTo>
                <a:cubicBezTo>
                  <a:pt x="2472" y="2007"/>
                  <a:pt x="2472" y="2007"/>
                  <a:pt x="2472" y="2006"/>
                </a:cubicBezTo>
                <a:cubicBezTo>
                  <a:pt x="2473" y="2005"/>
                  <a:pt x="2473" y="2005"/>
                  <a:pt x="2474" y="2005"/>
                </a:cubicBezTo>
                <a:cubicBezTo>
                  <a:pt x="2475" y="2005"/>
                  <a:pt x="2475" y="2005"/>
                  <a:pt x="2475" y="2004"/>
                </a:cubicBezTo>
                <a:cubicBezTo>
                  <a:pt x="2475" y="2003"/>
                  <a:pt x="2474" y="2004"/>
                  <a:pt x="2474" y="2004"/>
                </a:cubicBezTo>
                <a:cubicBezTo>
                  <a:pt x="2473" y="2004"/>
                  <a:pt x="2473" y="2003"/>
                  <a:pt x="2472" y="2003"/>
                </a:cubicBezTo>
                <a:cubicBezTo>
                  <a:pt x="2472" y="2003"/>
                  <a:pt x="2472" y="2002"/>
                  <a:pt x="2471" y="2002"/>
                </a:cubicBezTo>
                <a:cubicBezTo>
                  <a:pt x="2470" y="2002"/>
                  <a:pt x="2470" y="2002"/>
                  <a:pt x="2469" y="2002"/>
                </a:cubicBezTo>
                <a:cubicBezTo>
                  <a:pt x="2470" y="2001"/>
                  <a:pt x="2470" y="2001"/>
                  <a:pt x="2471" y="2001"/>
                </a:cubicBezTo>
                <a:cubicBezTo>
                  <a:pt x="2471" y="2001"/>
                  <a:pt x="2471" y="2002"/>
                  <a:pt x="2472" y="2002"/>
                </a:cubicBezTo>
                <a:cubicBezTo>
                  <a:pt x="2473" y="2001"/>
                  <a:pt x="2472" y="2001"/>
                  <a:pt x="2471" y="2001"/>
                </a:cubicBezTo>
                <a:cubicBezTo>
                  <a:pt x="2470" y="2000"/>
                  <a:pt x="2470" y="2000"/>
                  <a:pt x="2469" y="2001"/>
                </a:cubicBezTo>
                <a:cubicBezTo>
                  <a:pt x="2468" y="2001"/>
                  <a:pt x="2468" y="2001"/>
                  <a:pt x="2467" y="2001"/>
                </a:cubicBezTo>
                <a:cubicBezTo>
                  <a:pt x="2465" y="2001"/>
                  <a:pt x="2466" y="1999"/>
                  <a:pt x="2465" y="1998"/>
                </a:cubicBezTo>
                <a:cubicBezTo>
                  <a:pt x="2464" y="1997"/>
                  <a:pt x="2463" y="1997"/>
                  <a:pt x="2464" y="1996"/>
                </a:cubicBezTo>
                <a:cubicBezTo>
                  <a:pt x="2464" y="1996"/>
                  <a:pt x="2465" y="1996"/>
                  <a:pt x="2466" y="1995"/>
                </a:cubicBezTo>
                <a:cubicBezTo>
                  <a:pt x="2466" y="1995"/>
                  <a:pt x="2466" y="1994"/>
                  <a:pt x="2466" y="1994"/>
                </a:cubicBezTo>
                <a:cubicBezTo>
                  <a:pt x="2467" y="1993"/>
                  <a:pt x="2468" y="1993"/>
                  <a:pt x="2468" y="1993"/>
                </a:cubicBezTo>
                <a:cubicBezTo>
                  <a:pt x="2469" y="1993"/>
                  <a:pt x="2469" y="1994"/>
                  <a:pt x="2470" y="1995"/>
                </a:cubicBezTo>
                <a:cubicBezTo>
                  <a:pt x="2470" y="1995"/>
                  <a:pt x="2472" y="1995"/>
                  <a:pt x="2473" y="1995"/>
                </a:cubicBezTo>
                <a:cubicBezTo>
                  <a:pt x="2474" y="1995"/>
                  <a:pt x="2474" y="1994"/>
                  <a:pt x="2475" y="1994"/>
                </a:cubicBezTo>
                <a:cubicBezTo>
                  <a:pt x="2475" y="1994"/>
                  <a:pt x="2476" y="1994"/>
                  <a:pt x="2477" y="1993"/>
                </a:cubicBezTo>
                <a:cubicBezTo>
                  <a:pt x="2477" y="1993"/>
                  <a:pt x="2478" y="1992"/>
                  <a:pt x="2478" y="1992"/>
                </a:cubicBezTo>
                <a:cubicBezTo>
                  <a:pt x="2479" y="1991"/>
                  <a:pt x="2479" y="1991"/>
                  <a:pt x="2480" y="1991"/>
                </a:cubicBezTo>
                <a:cubicBezTo>
                  <a:pt x="2481" y="1991"/>
                  <a:pt x="2481" y="1991"/>
                  <a:pt x="2482" y="1990"/>
                </a:cubicBezTo>
                <a:cubicBezTo>
                  <a:pt x="2483" y="1989"/>
                  <a:pt x="2484" y="1990"/>
                  <a:pt x="2485" y="1988"/>
                </a:cubicBezTo>
                <a:cubicBezTo>
                  <a:pt x="2485" y="1987"/>
                  <a:pt x="2485" y="1986"/>
                  <a:pt x="2483" y="1986"/>
                </a:cubicBezTo>
                <a:cubicBezTo>
                  <a:pt x="2482" y="1986"/>
                  <a:pt x="2480" y="1986"/>
                  <a:pt x="2479" y="1986"/>
                </a:cubicBezTo>
                <a:cubicBezTo>
                  <a:pt x="2478" y="1986"/>
                  <a:pt x="2478" y="1986"/>
                  <a:pt x="2477" y="1985"/>
                </a:cubicBezTo>
                <a:cubicBezTo>
                  <a:pt x="2477" y="1984"/>
                  <a:pt x="2477" y="1984"/>
                  <a:pt x="2477" y="1983"/>
                </a:cubicBezTo>
                <a:cubicBezTo>
                  <a:pt x="2476" y="1982"/>
                  <a:pt x="2476" y="1982"/>
                  <a:pt x="2475" y="1982"/>
                </a:cubicBezTo>
                <a:cubicBezTo>
                  <a:pt x="2474" y="1982"/>
                  <a:pt x="2474" y="1982"/>
                  <a:pt x="2473" y="1981"/>
                </a:cubicBezTo>
                <a:cubicBezTo>
                  <a:pt x="2472" y="1981"/>
                  <a:pt x="2472" y="1981"/>
                  <a:pt x="2471" y="1980"/>
                </a:cubicBezTo>
                <a:cubicBezTo>
                  <a:pt x="2470" y="1980"/>
                  <a:pt x="2469" y="1979"/>
                  <a:pt x="2468" y="1978"/>
                </a:cubicBezTo>
                <a:cubicBezTo>
                  <a:pt x="2468" y="1978"/>
                  <a:pt x="2467" y="1978"/>
                  <a:pt x="2466" y="1977"/>
                </a:cubicBezTo>
                <a:cubicBezTo>
                  <a:pt x="2466" y="1977"/>
                  <a:pt x="2465" y="1977"/>
                  <a:pt x="2464" y="1978"/>
                </a:cubicBezTo>
                <a:cubicBezTo>
                  <a:pt x="2464" y="1978"/>
                  <a:pt x="2464" y="1979"/>
                  <a:pt x="2463" y="1979"/>
                </a:cubicBezTo>
                <a:cubicBezTo>
                  <a:pt x="2462" y="1979"/>
                  <a:pt x="2459" y="1980"/>
                  <a:pt x="2459" y="1979"/>
                </a:cubicBezTo>
                <a:cubicBezTo>
                  <a:pt x="2458" y="1977"/>
                  <a:pt x="2461" y="1978"/>
                  <a:pt x="2462" y="1977"/>
                </a:cubicBezTo>
                <a:cubicBezTo>
                  <a:pt x="2462" y="1977"/>
                  <a:pt x="2463" y="1977"/>
                  <a:pt x="2463" y="1976"/>
                </a:cubicBezTo>
                <a:cubicBezTo>
                  <a:pt x="2463" y="1975"/>
                  <a:pt x="2462" y="1975"/>
                  <a:pt x="2461" y="1975"/>
                </a:cubicBezTo>
                <a:cubicBezTo>
                  <a:pt x="2461" y="1974"/>
                  <a:pt x="2461" y="1973"/>
                  <a:pt x="2460" y="1973"/>
                </a:cubicBezTo>
                <a:cubicBezTo>
                  <a:pt x="2459" y="1973"/>
                  <a:pt x="2459" y="1974"/>
                  <a:pt x="2459" y="1974"/>
                </a:cubicBezTo>
                <a:cubicBezTo>
                  <a:pt x="2458" y="1975"/>
                  <a:pt x="2458" y="1975"/>
                  <a:pt x="2457" y="1975"/>
                </a:cubicBezTo>
                <a:cubicBezTo>
                  <a:pt x="2456" y="1975"/>
                  <a:pt x="2454" y="1977"/>
                  <a:pt x="2453" y="1975"/>
                </a:cubicBezTo>
                <a:cubicBezTo>
                  <a:pt x="2453" y="1975"/>
                  <a:pt x="2453" y="1974"/>
                  <a:pt x="2454" y="1974"/>
                </a:cubicBezTo>
                <a:cubicBezTo>
                  <a:pt x="2454" y="1973"/>
                  <a:pt x="2454" y="1972"/>
                  <a:pt x="2453" y="1972"/>
                </a:cubicBezTo>
                <a:cubicBezTo>
                  <a:pt x="2453" y="1971"/>
                  <a:pt x="2453" y="1970"/>
                  <a:pt x="2453" y="1970"/>
                </a:cubicBezTo>
                <a:cubicBezTo>
                  <a:pt x="2454" y="1969"/>
                  <a:pt x="2454" y="1969"/>
                  <a:pt x="2455" y="1969"/>
                </a:cubicBezTo>
                <a:cubicBezTo>
                  <a:pt x="2456" y="1968"/>
                  <a:pt x="2455" y="1966"/>
                  <a:pt x="2454" y="1965"/>
                </a:cubicBezTo>
                <a:cubicBezTo>
                  <a:pt x="2454" y="1964"/>
                  <a:pt x="2452" y="1964"/>
                  <a:pt x="2452" y="1962"/>
                </a:cubicBezTo>
                <a:cubicBezTo>
                  <a:pt x="2451" y="1961"/>
                  <a:pt x="2451" y="1959"/>
                  <a:pt x="2449" y="1960"/>
                </a:cubicBezTo>
                <a:cubicBezTo>
                  <a:pt x="2449" y="1961"/>
                  <a:pt x="2447" y="1962"/>
                  <a:pt x="2446" y="1960"/>
                </a:cubicBezTo>
                <a:cubicBezTo>
                  <a:pt x="2446" y="1960"/>
                  <a:pt x="2446" y="1959"/>
                  <a:pt x="2446" y="1958"/>
                </a:cubicBezTo>
                <a:cubicBezTo>
                  <a:pt x="2446" y="1957"/>
                  <a:pt x="2445" y="1957"/>
                  <a:pt x="2445" y="1956"/>
                </a:cubicBezTo>
                <a:cubicBezTo>
                  <a:pt x="2445" y="1956"/>
                  <a:pt x="2445" y="1955"/>
                  <a:pt x="2444" y="1955"/>
                </a:cubicBezTo>
                <a:cubicBezTo>
                  <a:pt x="2444" y="1954"/>
                  <a:pt x="2443" y="1954"/>
                  <a:pt x="2442" y="1954"/>
                </a:cubicBezTo>
                <a:cubicBezTo>
                  <a:pt x="2442" y="1954"/>
                  <a:pt x="2442" y="1955"/>
                  <a:pt x="2442" y="1956"/>
                </a:cubicBezTo>
                <a:cubicBezTo>
                  <a:pt x="2442" y="1956"/>
                  <a:pt x="2441" y="1957"/>
                  <a:pt x="2441" y="1957"/>
                </a:cubicBezTo>
                <a:cubicBezTo>
                  <a:pt x="2441" y="1958"/>
                  <a:pt x="2441" y="1959"/>
                  <a:pt x="2441" y="1959"/>
                </a:cubicBezTo>
                <a:cubicBezTo>
                  <a:pt x="2440" y="1960"/>
                  <a:pt x="2440" y="1960"/>
                  <a:pt x="2439" y="1961"/>
                </a:cubicBezTo>
                <a:cubicBezTo>
                  <a:pt x="2438" y="1961"/>
                  <a:pt x="2438" y="1961"/>
                  <a:pt x="2438" y="1962"/>
                </a:cubicBezTo>
                <a:cubicBezTo>
                  <a:pt x="2437" y="1963"/>
                  <a:pt x="2436" y="1962"/>
                  <a:pt x="2437" y="1961"/>
                </a:cubicBezTo>
                <a:cubicBezTo>
                  <a:pt x="2437" y="1961"/>
                  <a:pt x="2438" y="1960"/>
                  <a:pt x="2438" y="1960"/>
                </a:cubicBezTo>
                <a:cubicBezTo>
                  <a:pt x="2438" y="1959"/>
                  <a:pt x="2438" y="1958"/>
                  <a:pt x="2438" y="1958"/>
                </a:cubicBezTo>
                <a:cubicBezTo>
                  <a:pt x="2437" y="1957"/>
                  <a:pt x="2437" y="1956"/>
                  <a:pt x="2437" y="1955"/>
                </a:cubicBezTo>
                <a:cubicBezTo>
                  <a:pt x="2437" y="1955"/>
                  <a:pt x="2437" y="1954"/>
                  <a:pt x="2436" y="1954"/>
                </a:cubicBezTo>
                <a:cubicBezTo>
                  <a:pt x="2435" y="1953"/>
                  <a:pt x="2435" y="1955"/>
                  <a:pt x="2435" y="1955"/>
                </a:cubicBezTo>
                <a:cubicBezTo>
                  <a:pt x="2435" y="1957"/>
                  <a:pt x="2435" y="1959"/>
                  <a:pt x="2434" y="1961"/>
                </a:cubicBezTo>
                <a:cubicBezTo>
                  <a:pt x="2433" y="1961"/>
                  <a:pt x="2432" y="1962"/>
                  <a:pt x="2432" y="1962"/>
                </a:cubicBezTo>
                <a:cubicBezTo>
                  <a:pt x="2431" y="1963"/>
                  <a:pt x="2430" y="1964"/>
                  <a:pt x="2430" y="1964"/>
                </a:cubicBezTo>
                <a:cubicBezTo>
                  <a:pt x="2428" y="1965"/>
                  <a:pt x="2428" y="1966"/>
                  <a:pt x="2427" y="1967"/>
                </a:cubicBezTo>
                <a:cubicBezTo>
                  <a:pt x="2426" y="1968"/>
                  <a:pt x="2425" y="1969"/>
                  <a:pt x="2424" y="1970"/>
                </a:cubicBezTo>
                <a:cubicBezTo>
                  <a:pt x="2423" y="1971"/>
                  <a:pt x="2423" y="1972"/>
                  <a:pt x="2423" y="1972"/>
                </a:cubicBezTo>
                <a:cubicBezTo>
                  <a:pt x="2422" y="1973"/>
                  <a:pt x="2422" y="1974"/>
                  <a:pt x="2421" y="1974"/>
                </a:cubicBezTo>
                <a:cubicBezTo>
                  <a:pt x="2420" y="1976"/>
                  <a:pt x="2419" y="1977"/>
                  <a:pt x="2419" y="1979"/>
                </a:cubicBezTo>
                <a:cubicBezTo>
                  <a:pt x="2419" y="1980"/>
                  <a:pt x="2419" y="1981"/>
                  <a:pt x="2417" y="1982"/>
                </a:cubicBezTo>
                <a:cubicBezTo>
                  <a:pt x="2415" y="1984"/>
                  <a:pt x="2416" y="1981"/>
                  <a:pt x="2414" y="1981"/>
                </a:cubicBezTo>
                <a:cubicBezTo>
                  <a:pt x="2413" y="1981"/>
                  <a:pt x="2411" y="1982"/>
                  <a:pt x="2411" y="1983"/>
                </a:cubicBezTo>
                <a:cubicBezTo>
                  <a:pt x="2410" y="1985"/>
                  <a:pt x="2409" y="1985"/>
                  <a:pt x="2408" y="1986"/>
                </a:cubicBezTo>
                <a:cubicBezTo>
                  <a:pt x="2407" y="1988"/>
                  <a:pt x="2409" y="1987"/>
                  <a:pt x="2410" y="1988"/>
                </a:cubicBezTo>
                <a:cubicBezTo>
                  <a:pt x="2410" y="1989"/>
                  <a:pt x="2410" y="1990"/>
                  <a:pt x="2410" y="1991"/>
                </a:cubicBezTo>
                <a:cubicBezTo>
                  <a:pt x="2411" y="1992"/>
                  <a:pt x="2410" y="1993"/>
                  <a:pt x="2409" y="1994"/>
                </a:cubicBezTo>
                <a:cubicBezTo>
                  <a:pt x="2409" y="1995"/>
                  <a:pt x="2408" y="1994"/>
                  <a:pt x="2408" y="1995"/>
                </a:cubicBezTo>
                <a:cubicBezTo>
                  <a:pt x="2407" y="1995"/>
                  <a:pt x="2407" y="1995"/>
                  <a:pt x="2406" y="1995"/>
                </a:cubicBezTo>
                <a:cubicBezTo>
                  <a:pt x="2405" y="1995"/>
                  <a:pt x="2405" y="1994"/>
                  <a:pt x="2405" y="1994"/>
                </a:cubicBezTo>
                <a:cubicBezTo>
                  <a:pt x="2404" y="1995"/>
                  <a:pt x="2405" y="1996"/>
                  <a:pt x="2404" y="1996"/>
                </a:cubicBezTo>
                <a:cubicBezTo>
                  <a:pt x="2404" y="1996"/>
                  <a:pt x="2403" y="1996"/>
                  <a:pt x="2403" y="1996"/>
                </a:cubicBezTo>
                <a:cubicBezTo>
                  <a:pt x="2402" y="1996"/>
                  <a:pt x="2401" y="1995"/>
                  <a:pt x="2402" y="1994"/>
                </a:cubicBezTo>
                <a:cubicBezTo>
                  <a:pt x="2402" y="1994"/>
                  <a:pt x="2402" y="1994"/>
                  <a:pt x="2403" y="1994"/>
                </a:cubicBezTo>
                <a:cubicBezTo>
                  <a:pt x="2402" y="1992"/>
                  <a:pt x="2400" y="1993"/>
                  <a:pt x="2399" y="1994"/>
                </a:cubicBezTo>
                <a:cubicBezTo>
                  <a:pt x="2398" y="1995"/>
                  <a:pt x="2397" y="1995"/>
                  <a:pt x="2396" y="1996"/>
                </a:cubicBezTo>
                <a:cubicBezTo>
                  <a:pt x="2395" y="1996"/>
                  <a:pt x="2395" y="1998"/>
                  <a:pt x="2394" y="1998"/>
                </a:cubicBezTo>
                <a:cubicBezTo>
                  <a:pt x="2393" y="1999"/>
                  <a:pt x="2392" y="2000"/>
                  <a:pt x="2390" y="2000"/>
                </a:cubicBezTo>
                <a:cubicBezTo>
                  <a:pt x="2388" y="2001"/>
                  <a:pt x="2386" y="2001"/>
                  <a:pt x="2384" y="2002"/>
                </a:cubicBezTo>
                <a:cubicBezTo>
                  <a:pt x="2382" y="2003"/>
                  <a:pt x="2380" y="2005"/>
                  <a:pt x="2379" y="2007"/>
                </a:cubicBezTo>
                <a:cubicBezTo>
                  <a:pt x="2378" y="2008"/>
                  <a:pt x="2377" y="2009"/>
                  <a:pt x="2376" y="2011"/>
                </a:cubicBezTo>
                <a:cubicBezTo>
                  <a:pt x="2375" y="2012"/>
                  <a:pt x="2374" y="2013"/>
                  <a:pt x="2374" y="2014"/>
                </a:cubicBezTo>
                <a:cubicBezTo>
                  <a:pt x="2373" y="2016"/>
                  <a:pt x="2372" y="2017"/>
                  <a:pt x="2372" y="2018"/>
                </a:cubicBezTo>
                <a:cubicBezTo>
                  <a:pt x="2370" y="2021"/>
                  <a:pt x="2367" y="2023"/>
                  <a:pt x="2365" y="2026"/>
                </a:cubicBezTo>
                <a:cubicBezTo>
                  <a:pt x="2364" y="2028"/>
                  <a:pt x="2363" y="2029"/>
                  <a:pt x="2362" y="2030"/>
                </a:cubicBezTo>
                <a:cubicBezTo>
                  <a:pt x="2360" y="2031"/>
                  <a:pt x="2359" y="2031"/>
                  <a:pt x="2357" y="2032"/>
                </a:cubicBezTo>
                <a:cubicBezTo>
                  <a:pt x="2354" y="2033"/>
                  <a:pt x="2351" y="2033"/>
                  <a:pt x="2348" y="2034"/>
                </a:cubicBezTo>
                <a:cubicBezTo>
                  <a:pt x="2346" y="2035"/>
                  <a:pt x="2342" y="2035"/>
                  <a:pt x="2340" y="2035"/>
                </a:cubicBezTo>
                <a:cubicBezTo>
                  <a:pt x="2337" y="2036"/>
                  <a:pt x="2334" y="2037"/>
                  <a:pt x="2333" y="2040"/>
                </a:cubicBezTo>
                <a:cubicBezTo>
                  <a:pt x="2333" y="2041"/>
                  <a:pt x="2333" y="2043"/>
                  <a:pt x="2332" y="2044"/>
                </a:cubicBezTo>
                <a:cubicBezTo>
                  <a:pt x="2332" y="2044"/>
                  <a:pt x="2332" y="2045"/>
                  <a:pt x="2332" y="2046"/>
                </a:cubicBezTo>
                <a:cubicBezTo>
                  <a:pt x="2331" y="2047"/>
                  <a:pt x="2331" y="2046"/>
                  <a:pt x="2331" y="2045"/>
                </a:cubicBezTo>
                <a:cubicBezTo>
                  <a:pt x="2331" y="2044"/>
                  <a:pt x="2331" y="2044"/>
                  <a:pt x="2331" y="2043"/>
                </a:cubicBezTo>
                <a:cubicBezTo>
                  <a:pt x="2331" y="2042"/>
                  <a:pt x="2331" y="2042"/>
                  <a:pt x="2330" y="2041"/>
                </a:cubicBezTo>
                <a:cubicBezTo>
                  <a:pt x="2330" y="2041"/>
                  <a:pt x="2330" y="2038"/>
                  <a:pt x="2329" y="2037"/>
                </a:cubicBezTo>
                <a:cubicBezTo>
                  <a:pt x="2328" y="2037"/>
                  <a:pt x="2329" y="2040"/>
                  <a:pt x="2329" y="2041"/>
                </a:cubicBezTo>
                <a:cubicBezTo>
                  <a:pt x="2329" y="2042"/>
                  <a:pt x="2330" y="2045"/>
                  <a:pt x="2328" y="2045"/>
                </a:cubicBezTo>
                <a:cubicBezTo>
                  <a:pt x="2328" y="2045"/>
                  <a:pt x="2327" y="2044"/>
                  <a:pt x="2326" y="2045"/>
                </a:cubicBezTo>
                <a:cubicBezTo>
                  <a:pt x="2326" y="2045"/>
                  <a:pt x="2327" y="2046"/>
                  <a:pt x="2327" y="2046"/>
                </a:cubicBezTo>
                <a:cubicBezTo>
                  <a:pt x="2328" y="2047"/>
                  <a:pt x="2328" y="2048"/>
                  <a:pt x="2328" y="2048"/>
                </a:cubicBezTo>
                <a:cubicBezTo>
                  <a:pt x="2329" y="2050"/>
                  <a:pt x="2328" y="2051"/>
                  <a:pt x="2327" y="2052"/>
                </a:cubicBezTo>
                <a:cubicBezTo>
                  <a:pt x="2326" y="2053"/>
                  <a:pt x="2325" y="2055"/>
                  <a:pt x="2324" y="2056"/>
                </a:cubicBezTo>
                <a:cubicBezTo>
                  <a:pt x="2324" y="2057"/>
                  <a:pt x="2324" y="2058"/>
                  <a:pt x="2325" y="2058"/>
                </a:cubicBezTo>
                <a:cubicBezTo>
                  <a:pt x="2325" y="2059"/>
                  <a:pt x="2326" y="2059"/>
                  <a:pt x="2326" y="2060"/>
                </a:cubicBezTo>
                <a:cubicBezTo>
                  <a:pt x="2326" y="2062"/>
                  <a:pt x="2323" y="2060"/>
                  <a:pt x="2322" y="2061"/>
                </a:cubicBezTo>
                <a:cubicBezTo>
                  <a:pt x="2322" y="2062"/>
                  <a:pt x="2323" y="2062"/>
                  <a:pt x="2323" y="2063"/>
                </a:cubicBezTo>
                <a:cubicBezTo>
                  <a:pt x="2324" y="2063"/>
                  <a:pt x="2324" y="2064"/>
                  <a:pt x="2324" y="2064"/>
                </a:cubicBezTo>
                <a:cubicBezTo>
                  <a:pt x="2325" y="2065"/>
                  <a:pt x="2328" y="2065"/>
                  <a:pt x="2327" y="2066"/>
                </a:cubicBezTo>
                <a:cubicBezTo>
                  <a:pt x="2327" y="2066"/>
                  <a:pt x="2325" y="2065"/>
                  <a:pt x="2324" y="2065"/>
                </a:cubicBezTo>
                <a:cubicBezTo>
                  <a:pt x="2323" y="2064"/>
                  <a:pt x="2322" y="2063"/>
                  <a:pt x="2321" y="2064"/>
                </a:cubicBezTo>
                <a:cubicBezTo>
                  <a:pt x="2320" y="2064"/>
                  <a:pt x="2317" y="2064"/>
                  <a:pt x="2317" y="2063"/>
                </a:cubicBezTo>
                <a:cubicBezTo>
                  <a:pt x="2317" y="2062"/>
                  <a:pt x="2318" y="2062"/>
                  <a:pt x="2317" y="2062"/>
                </a:cubicBezTo>
                <a:cubicBezTo>
                  <a:pt x="2317" y="2061"/>
                  <a:pt x="2316" y="2061"/>
                  <a:pt x="2316" y="2061"/>
                </a:cubicBezTo>
                <a:cubicBezTo>
                  <a:pt x="2314" y="2060"/>
                  <a:pt x="2314" y="2058"/>
                  <a:pt x="2312" y="2058"/>
                </a:cubicBezTo>
                <a:cubicBezTo>
                  <a:pt x="2310" y="2058"/>
                  <a:pt x="2309" y="2058"/>
                  <a:pt x="2308" y="2059"/>
                </a:cubicBezTo>
                <a:cubicBezTo>
                  <a:pt x="2305" y="2059"/>
                  <a:pt x="2302" y="2060"/>
                  <a:pt x="2300" y="2058"/>
                </a:cubicBezTo>
                <a:cubicBezTo>
                  <a:pt x="2299" y="2057"/>
                  <a:pt x="2299" y="2056"/>
                  <a:pt x="2299" y="2055"/>
                </a:cubicBezTo>
                <a:cubicBezTo>
                  <a:pt x="2298" y="2055"/>
                  <a:pt x="2298" y="2054"/>
                  <a:pt x="2298" y="2053"/>
                </a:cubicBezTo>
                <a:cubicBezTo>
                  <a:pt x="2297" y="2053"/>
                  <a:pt x="2296" y="2053"/>
                  <a:pt x="2296" y="2052"/>
                </a:cubicBezTo>
                <a:cubicBezTo>
                  <a:pt x="2296" y="2052"/>
                  <a:pt x="2296" y="2051"/>
                  <a:pt x="2295" y="2051"/>
                </a:cubicBezTo>
                <a:cubicBezTo>
                  <a:pt x="2294" y="2051"/>
                  <a:pt x="2294" y="2052"/>
                  <a:pt x="2294" y="2052"/>
                </a:cubicBezTo>
                <a:cubicBezTo>
                  <a:pt x="2294" y="2052"/>
                  <a:pt x="2294" y="2052"/>
                  <a:pt x="2293" y="2053"/>
                </a:cubicBezTo>
                <a:cubicBezTo>
                  <a:pt x="2293" y="2053"/>
                  <a:pt x="2292" y="2053"/>
                  <a:pt x="2292" y="2053"/>
                </a:cubicBezTo>
                <a:cubicBezTo>
                  <a:pt x="2291" y="2054"/>
                  <a:pt x="2289" y="2055"/>
                  <a:pt x="2288" y="2056"/>
                </a:cubicBezTo>
                <a:cubicBezTo>
                  <a:pt x="2288" y="2057"/>
                  <a:pt x="2287" y="2058"/>
                  <a:pt x="2286" y="2059"/>
                </a:cubicBezTo>
                <a:cubicBezTo>
                  <a:pt x="2286" y="2061"/>
                  <a:pt x="2285" y="2061"/>
                  <a:pt x="2285" y="2063"/>
                </a:cubicBezTo>
                <a:cubicBezTo>
                  <a:pt x="2285" y="2064"/>
                  <a:pt x="2286" y="2065"/>
                  <a:pt x="2286" y="2067"/>
                </a:cubicBezTo>
                <a:cubicBezTo>
                  <a:pt x="2285" y="2068"/>
                  <a:pt x="2284" y="2068"/>
                  <a:pt x="2282" y="2068"/>
                </a:cubicBezTo>
                <a:cubicBezTo>
                  <a:pt x="2282" y="2069"/>
                  <a:pt x="2282" y="2069"/>
                  <a:pt x="2282" y="2069"/>
                </a:cubicBezTo>
                <a:cubicBezTo>
                  <a:pt x="2282" y="2070"/>
                  <a:pt x="2282" y="2069"/>
                  <a:pt x="2282" y="2070"/>
                </a:cubicBezTo>
                <a:cubicBezTo>
                  <a:pt x="2283" y="2071"/>
                  <a:pt x="2283" y="2071"/>
                  <a:pt x="2283" y="2072"/>
                </a:cubicBezTo>
                <a:cubicBezTo>
                  <a:pt x="2283" y="2072"/>
                  <a:pt x="2283" y="2073"/>
                  <a:pt x="2282" y="2074"/>
                </a:cubicBezTo>
                <a:cubicBezTo>
                  <a:pt x="2282" y="2074"/>
                  <a:pt x="2281" y="2075"/>
                  <a:pt x="2281" y="2075"/>
                </a:cubicBezTo>
                <a:cubicBezTo>
                  <a:pt x="2281" y="2077"/>
                  <a:pt x="2281" y="2078"/>
                  <a:pt x="2281" y="2079"/>
                </a:cubicBezTo>
                <a:cubicBezTo>
                  <a:pt x="2281" y="2081"/>
                  <a:pt x="2281" y="2082"/>
                  <a:pt x="2281" y="2084"/>
                </a:cubicBezTo>
                <a:cubicBezTo>
                  <a:pt x="2281" y="2085"/>
                  <a:pt x="2281" y="2086"/>
                  <a:pt x="2282" y="2087"/>
                </a:cubicBezTo>
                <a:cubicBezTo>
                  <a:pt x="2283" y="2087"/>
                  <a:pt x="2284" y="2087"/>
                  <a:pt x="2284" y="2087"/>
                </a:cubicBezTo>
                <a:cubicBezTo>
                  <a:pt x="2285" y="2088"/>
                  <a:pt x="2285" y="2088"/>
                  <a:pt x="2285" y="2089"/>
                </a:cubicBezTo>
                <a:cubicBezTo>
                  <a:pt x="2286" y="2089"/>
                  <a:pt x="2288" y="2090"/>
                  <a:pt x="2288" y="2091"/>
                </a:cubicBezTo>
                <a:cubicBezTo>
                  <a:pt x="2287" y="2092"/>
                  <a:pt x="2287" y="2093"/>
                  <a:pt x="2287" y="2094"/>
                </a:cubicBezTo>
                <a:cubicBezTo>
                  <a:pt x="2287" y="2095"/>
                  <a:pt x="2287" y="2096"/>
                  <a:pt x="2287" y="2096"/>
                </a:cubicBezTo>
                <a:cubicBezTo>
                  <a:pt x="2286" y="2097"/>
                  <a:pt x="2286" y="2097"/>
                  <a:pt x="2286" y="2097"/>
                </a:cubicBezTo>
                <a:cubicBezTo>
                  <a:pt x="2285" y="2097"/>
                  <a:pt x="2286" y="2097"/>
                  <a:pt x="2286" y="2096"/>
                </a:cubicBezTo>
                <a:cubicBezTo>
                  <a:pt x="2285" y="2096"/>
                  <a:pt x="2284" y="2096"/>
                  <a:pt x="2284" y="2097"/>
                </a:cubicBezTo>
                <a:cubicBezTo>
                  <a:pt x="2284" y="2098"/>
                  <a:pt x="2285" y="2098"/>
                  <a:pt x="2285" y="2099"/>
                </a:cubicBezTo>
                <a:cubicBezTo>
                  <a:pt x="2285" y="2100"/>
                  <a:pt x="2285" y="2100"/>
                  <a:pt x="2285" y="2101"/>
                </a:cubicBezTo>
                <a:cubicBezTo>
                  <a:pt x="2285" y="2103"/>
                  <a:pt x="2287" y="2104"/>
                  <a:pt x="2287" y="2105"/>
                </a:cubicBezTo>
                <a:cubicBezTo>
                  <a:pt x="2288" y="2106"/>
                  <a:pt x="2287" y="2108"/>
                  <a:pt x="2288" y="2109"/>
                </a:cubicBezTo>
                <a:cubicBezTo>
                  <a:pt x="2289" y="2109"/>
                  <a:pt x="2290" y="2110"/>
                  <a:pt x="2290" y="2110"/>
                </a:cubicBezTo>
                <a:cubicBezTo>
                  <a:pt x="2291" y="2110"/>
                  <a:pt x="2292" y="2110"/>
                  <a:pt x="2292" y="2111"/>
                </a:cubicBezTo>
                <a:cubicBezTo>
                  <a:pt x="2293" y="2111"/>
                  <a:pt x="2294" y="2111"/>
                  <a:pt x="2294" y="2112"/>
                </a:cubicBezTo>
                <a:cubicBezTo>
                  <a:pt x="2293" y="2112"/>
                  <a:pt x="2292" y="2112"/>
                  <a:pt x="2292" y="2113"/>
                </a:cubicBezTo>
                <a:cubicBezTo>
                  <a:pt x="2291" y="2114"/>
                  <a:pt x="2292" y="2114"/>
                  <a:pt x="2292" y="2115"/>
                </a:cubicBezTo>
                <a:cubicBezTo>
                  <a:pt x="2292" y="2116"/>
                  <a:pt x="2291" y="2116"/>
                  <a:pt x="2291" y="2117"/>
                </a:cubicBezTo>
                <a:cubicBezTo>
                  <a:pt x="2291" y="2119"/>
                  <a:pt x="2294" y="2117"/>
                  <a:pt x="2294" y="2117"/>
                </a:cubicBezTo>
                <a:cubicBezTo>
                  <a:pt x="2295" y="2116"/>
                  <a:pt x="2297" y="2116"/>
                  <a:pt x="2298" y="2115"/>
                </a:cubicBezTo>
                <a:cubicBezTo>
                  <a:pt x="2299" y="2115"/>
                  <a:pt x="2299" y="2113"/>
                  <a:pt x="2298" y="2112"/>
                </a:cubicBezTo>
                <a:cubicBezTo>
                  <a:pt x="2298" y="2112"/>
                  <a:pt x="2297" y="2112"/>
                  <a:pt x="2296" y="2112"/>
                </a:cubicBezTo>
                <a:cubicBezTo>
                  <a:pt x="2295" y="2111"/>
                  <a:pt x="2297" y="2111"/>
                  <a:pt x="2297" y="2111"/>
                </a:cubicBezTo>
                <a:cubicBezTo>
                  <a:pt x="2298" y="2111"/>
                  <a:pt x="2299" y="2110"/>
                  <a:pt x="2299" y="2110"/>
                </a:cubicBezTo>
                <a:cubicBezTo>
                  <a:pt x="2300" y="2111"/>
                  <a:pt x="2300" y="2112"/>
                  <a:pt x="2300" y="2113"/>
                </a:cubicBezTo>
                <a:cubicBezTo>
                  <a:pt x="2301" y="2114"/>
                  <a:pt x="2302" y="2115"/>
                  <a:pt x="2302" y="2115"/>
                </a:cubicBezTo>
                <a:cubicBezTo>
                  <a:pt x="2304" y="2117"/>
                  <a:pt x="2304" y="2119"/>
                  <a:pt x="2304" y="2121"/>
                </a:cubicBezTo>
                <a:cubicBezTo>
                  <a:pt x="2304" y="2122"/>
                  <a:pt x="2304" y="2123"/>
                  <a:pt x="2304" y="2123"/>
                </a:cubicBezTo>
                <a:cubicBezTo>
                  <a:pt x="2304" y="2124"/>
                  <a:pt x="2304" y="2124"/>
                  <a:pt x="2303" y="2125"/>
                </a:cubicBezTo>
                <a:cubicBezTo>
                  <a:pt x="2303" y="2125"/>
                  <a:pt x="2303" y="2125"/>
                  <a:pt x="2303" y="2126"/>
                </a:cubicBezTo>
                <a:cubicBezTo>
                  <a:pt x="2303" y="2126"/>
                  <a:pt x="2303" y="2127"/>
                  <a:pt x="2302" y="2127"/>
                </a:cubicBezTo>
                <a:cubicBezTo>
                  <a:pt x="2302" y="2128"/>
                  <a:pt x="2301" y="2127"/>
                  <a:pt x="2301" y="2128"/>
                </a:cubicBezTo>
                <a:cubicBezTo>
                  <a:pt x="2301" y="2129"/>
                  <a:pt x="2302" y="2129"/>
                  <a:pt x="2303" y="2129"/>
                </a:cubicBezTo>
                <a:cubicBezTo>
                  <a:pt x="2303" y="2130"/>
                  <a:pt x="2304" y="2131"/>
                  <a:pt x="2305" y="2131"/>
                </a:cubicBezTo>
                <a:cubicBezTo>
                  <a:pt x="2305" y="2132"/>
                  <a:pt x="2306" y="2133"/>
                  <a:pt x="2306" y="2134"/>
                </a:cubicBezTo>
                <a:cubicBezTo>
                  <a:pt x="2306" y="2135"/>
                  <a:pt x="2307" y="2136"/>
                  <a:pt x="2307" y="2138"/>
                </a:cubicBezTo>
                <a:cubicBezTo>
                  <a:pt x="2307" y="2139"/>
                  <a:pt x="2308" y="2141"/>
                  <a:pt x="2307" y="2142"/>
                </a:cubicBezTo>
                <a:cubicBezTo>
                  <a:pt x="2306" y="2142"/>
                  <a:pt x="2306" y="2142"/>
                  <a:pt x="2306" y="2143"/>
                </a:cubicBezTo>
                <a:cubicBezTo>
                  <a:pt x="2306" y="2144"/>
                  <a:pt x="2306" y="2146"/>
                  <a:pt x="2306" y="2147"/>
                </a:cubicBezTo>
                <a:cubicBezTo>
                  <a:pt x="2306" y="2148"/>
                  <a:pt x="2307" y="2148"/>
                  <a:pt x="2308" y="2148"/>
                </a:cubicBezTo>
                <a:cubicBezTo>
                  <a:pt x="2308" y="2149"/>
                  <a:pt x="2308" y="2150"/>
                  <a:pt x="2308" y="2151"/>
                </a:cubicBezTo>
                <a:cubicBezTo>
                  <a:pt x="2309" y="2152"/>
                  <a:pt x="2310" y="2152"/>
                  <a:pt x="2312" y="2152"/>
                </a:cubicBezTo>
                <a:cubicBezTo>
                  <a:pt x="2312" y="2152"/>
                  <a:pt x="2313" y="2152"/>
                  <a:pt x="2314" y="2153"/>
                </a:cubicBezTo>
                <a:cubicBezTo>
                  <a:pt x="2314" y="2153"/>
                  <a:pt x="2314" y="2153"/>
                  <a:pt x="2314" y="2153"/>
                </a:cubicBezTo>
                <a:cubicBezTo>
                  <a:pt x="2317" y="2153"/>
                  <a:pt x="2317" y="2153"/>
                  <a:pt x="2317" y="2153"/>
                </a:cubicBezTo>
                <a:cubicBezTo>
                  <a:pt x="2318" y="2152"/>
                  <a:pt x="2319" y="2152"/>
                  <a:pt x="2320" y="2153"/>
                </a:cubicBezTo>
                <a:cubicBezTo>
                  <a:pt x="2320" y="2153"/>
                  <a:pt x="2320" y="2153"/>
                  <a:pt x="2320" y="2153"/>
                </a:cubicBezTo>
                <a:cubicBezTo>
                  <a:pt x="2325" y="2153"/>
                  <a:pt x="2325" y="2153"/>
                  <a:pt x="2325" y="2153"/>
                </a:cubicBezTo>
                <a:cubicBezTo>
                  <a:pt x="2325" y="2152"/>
                  <a:pt x="2325" y="2152"/>
                  <a:pt x="2325" y="2152"/>
                </a:cubicBezTo>
                <a:cubicBezTo>
                  <a:pt x="2326" y="2151"/>
                  <a:pt x="2327" y="2151"/>
                  <a:pt x="2327" y="2151"/>
                </a:cubicBezTo>
                <a:cubicBezTo>
                  <a:pt x="2329" y="2151"/>
                  <a:pt x="2330" y="2149"/>
                  <a:pt x="2331" y="2150"/>
                </a:cubicBezTo>
                <a:cubicBezTo>
                  <a:pt x="2332" y="2150"/>
                  <a:pt x="2332" y="2151"/>
                  <a:pt x="2333" y="2151"/>
                </a:cubicBezTo>
                <a:cubicBezTo>
                  <a:pt x="2333" y="2152"/>
                  <a:pt x="2334" y="2152"/>
                  <a:pt x="2335" y="2151"/>
                </a:cubicBezTo>
                <a:cubicBezTo>
                  <a:pt x="2336" y="2151"/>
                  <a:pt x="2336" y="2150"/>
                  <a:pt x="2337" y="2149"/>
                </a:cubicBezTo>
                <a:cubicBezTo>
                  <a:pt x="2337" y="2149"/>
                  <a:pt x="2337" y="2148"/>
                  <a:pt x="2338" y="2148"/>
                </a:cubicBezTo>
                <a:cubicBezTo>
                  <a:pt x="2339" y="2149"/>
                  <a:pt x="2338" y="2150"/>
                  <a:pt x="2338" y="2150"/>
                </a:cubicBezTo>
                <a:cubicBezTo>
                  <a:pt x="2338" y="2151"/>
                  <a:pt x="2339" y="2152"/>
                  <a:pt x="2339" y="2153"/>
                </a:cubicBezTo>
                <a:cubicBezTo>
                  <a:pt x="2362" y="2153"/>
                  <a:pt x="2362" y="2153"/>
                  <a:pt x="2362" y="2153"/>
                </a:cubicBezTo>
                <a:cubicBezTo>
                  <a:pt x="2362" y="2153"/>
                  <a:pt x="2362" y="2152"/>
                  <a:pt x="2362" y="2152"/>
                </a:cubicBezTo>
                <a:cubicBezTo>
                  <a:pt x="2362" y="2152"/>
                  <a:pt x="2363" y="2151"/>
                  <a:pt x="2363" y="2151"/>
                </a:cubicBezTo>
                <a:cubicBezTo>
                  <a:pt x="2364" y="2151"/>
                  <a:pt x="2364" y="2152"/>
                  <a:pt x="2364" y="2153"/>
                </a:cubicBezTo>
                <a:cubicBezTo>
                  <a:pt x="2426" y="2153"/>
                  <a:pt x="2426" y="2153"/>
                  <a:pt x="2426" y="2153"/>
                </a:cubicBezTo>
                <a:cubicBezTo>
                  <a:pt x="2426" y="2153"/>
                  <a:pt x="2426" y="2152"/>
                  <a:pt x="2426" y="2152"/>
                </a:cubicBezTo>
                <a:cubicBezTo>
                  <a:pt x="2426" y="2152"/>
                  <a:pt x="2425" y="2151"/>
                  <a:pt x="2425" y="2150"/>
                </a:cubicBezTo>
                <a:cubicBezTo>
                  <a:pt x="2425" y="2149"/>
                  <a:pt x="2425" y="2150"/>
                  <a:pt x="2426" y="2150"/>
                </a:cubicBezTo>
                <a:cubicBezTo>
                  <a:pt x="2428" y="2150"/>
                  <a:pt x="2429" y="2149"/>
                  <a:pt x="2428" y="2147"/>
                </a:cubicBezTo>
                <a:cubicBezTo>
                  <a:pt x="2428" y="2147"/>
                  <a:pt x="2429" y="2146"/>
                  <a:pt x="2428" y="2145"/>
                </a:cubicBezTo>
                <a:cubicBezTo>
                  <a:pt x="2428" y="2145"/>
                  <a:pt x="2428" y="2144"/>
                  <a:pt x="2428" y="2144"/>
                </a:cubicBezTo>
                <a:cubicBezTo>
                  <a:pt x="2428" y="2143"/>
                  <a:pt x="2428" y="2142"/>
                  <a:pt x="2428" y="2141"/>
                </a:cubicBezTo>
                <a:cubicBezTo>
                  <a:pt x="2429" y="2141"/>
                  <a:pt x="2430" y="2141"/>
                  <a:pt x="2430" y="2141"/>
                </a:cubicBezTo>
                <a:cubicBezTo>
                  <a:pt x="2431" y="2140"/>
                  <a:pt x="2432" y="2139"/>
                  <a:pt x="2432" y="2139"/>
                </a:cubicBezTo>
                <a:cubicBezTo>
                  <a:pt x="2433" y="2138"/>
                  <a:pt x="2432" y="2137"/>
                  <a:pt x="2431" y="2137"/>
                </a:cubicBezTo>
                <a:cubicBezTo>
                  <a:pt x="2431" y="2137"/>
                  <a:pt x="2431" y="2136"/>
                  <a:pt x="2430" y="2135"/>
                </a:cubicBezTo>
                <a:cubicBezTo>
                  <a:pt x="2429" y="2135"/>
                  <a:pt x="2428" y="2135"/>
                  <a:pt x="2428" y="2135"/>
                </a:cubicBezTo>
                <a:cubicBezTo>
                  <a:pt x="2426" y="2134"/>
                  <a:pt x="2429" y="2134"/>
                  <a:pt x="2429" y="2132"/>
                </a:cubicBezTo>
                <a:cubicBezTo>
                  <a:pt x="2430" y="2132"/>
                  <a:pt x="2429" y="2131"/>
                  <a:pt x="2430" y="2130"/>
                </a:cubicBezTo>
                <a:cubicBezTo>
                  <a:pt x="2430" y="2130"/>
                  <a:pt x="2430" y="2129"/>
                  <a:pt x="2430" y="2128"/>
                </a:cubicBezTo>
                <a:cubicBezTo>
                  <a:pt x="2429" y="2127"/>
                  <a:pt x="2428" y="2128"/>
                  <a:pt x="2428" y="2128"/>
                </a:cubicBezTo>
                <a:cubicBezTo>
                  <a:pt x="2427" y="2127"/>
                  <a:pt x="2428" y="2126"/>
                  <a:pt x="2428" y="2126"/>
                </a:cubicBezTo>
                <a:cubicBezTo>
                  <a:pt x="2429" y="2126"/>
                  <a:pt x="2430" y="2126"/>
                  <a:pt x="2430" y="2125"/>
                </a:cubicBezTo>
                <a:cubicBezTo>
                  <a:pt x="2431" y="2124"/>
                  <a:pt x="2431" y="2124"/>
                  <a:pt x="2432" y="2123"/>
                </a:cubicBezTo>
                <a:cubicBezTo>
                  <a:pt x="2433" y="2123"/>
                  <a:pt x="2434" y="2122"/>
                  <a:pt x="2435" y="2121"/>
                </a:cubicBezTo>
                <a:cubicBezTo>
                  <a:pt x="2436" y="2119"/>
                  <a:pt x="2435" y="2118"/>
                  <a:pt x="2436" y="2117"/>
                </a:cubicBezTo>
                <a:cubicBezTo>
                  <a:pt x="2437" y="2115"/>
                  <a:pt x="2438" y="2118"/>
                  <a:pt x="2439" y="2118"/>
                </a:cubicBezTo>
                <a:cubicBezTo>
                  <a:pt x="2440" y="2118"/>
                  <a:pt x="2441" y="2116"/>
                  <a:pt x="2441" y="2116"/>
                </a:cubicBezTo>
                <a:cubicBezTo>
                  <a:pt x="2442" y="2115"/>
                  <a:pt x="2442" y="2115"/>
                  <a:pt x="2442" y="2114"/>
                </a:cubicBezTo>
                <a:cubicBezTo>
                  <a:pt x="2443" y="2113"/>
                  <a:pt x="2444" y="2113"/>
                  <a:pt x="2444" y="2113"/>
                </a:cubicBezTo>
                <a:cubicBezTo>
                  <a:pt x="2445" y="2112"/>
                  <a:pt x="2445" y="2111"/>
                  <a:pt x="2445" y="2110"/>
                </a:cubicBezTo>
                <a:cubicBezTo>
                  <a:pt x="2446" y="2108"/>
                  <a:pt x="2447" y="2108"/>
                  <a:pt x="2448" y="2109"/>
                </a:cubicBezTo>
                <a:cubicBezTo>
                  <a:pt x="2450" y="2109"/>
                  <a:pt x="2450" y="2109"/>
                  <a:pt x="2452" y="2108"/>
                </a:cubicBezTo>
                <a:cubicBezTo>
                  <a:pt x="2453" y="2108"/>
                  <a:pt x="2454" y="2107"/>
                  <a:pt x="2452" y="2106"/>
                </a:cubicBezTo>
                <a:cubicBezTo>
                  <a:pt x="2451" y="2105"/>
                  <a:pt x="2452" y="2104"/>
                  <a:pt x="2453" y="2103"/>
                </a:cubicBezTo>
                <a:cubicBezTo>
                  <a:pt x="2454" y="2102"/>
                  <a:pt x="2455" y="2101"/>
                  <a:pt x="2453" y="2100"/>
                </a:cubicBezTo>
                <a:cubicBezTo>
                  <a:pt x="2452" y="2099"/>
                  <a:pt x="2453" y="2101"/>
                  <a:pt x="2452" y="2101"/>
                </a:cubicBezTo>
                <a:cubicBezTo>
                  <a:pt x="2452" y="2101"/>
                  <a:pt x="2451" y="2102"/>
                  <a:pt x="2451" y="2102"/>
                </a:cubicBezTo>
                <a:cubicBezTo>
                  <a:pt x="2449" y="2104"/>
                  <a:pt x="2450" y="2101"/>
                  <a:pt x="2450" y="2100"/>
                </a:cubicBezTo>
                <a:cubicBezTo>
                  <a:pt x="2451" y="2099"/>
                  <a:pt x="2451" y="2099"/>
                  <a:pt x="2451" y="2098"/>
                </a:cubicBezTo>
                <a:cubicBezTo>
                  <a:pt x="2451" y="2095"/>
                  <a:pt x="2450" y="2093"/>
                  <a:pt x="2451" y="2090"/>
                </a:cubicBezTo>
                <a:cubicBezTo>
                  <a:pt x="2451" y="2089"/>
                  <a:pt x="2452" y="2088"/>
                  <a:pt x="2452" y="2086"/>
                </a:cubicBezTo>
                <a:cubicBezTo>
                  <a:pt x="2453" y="2085"/>
                  <a:pt x="2452" y="2083"/>
                  <a:pt x="2453" y="2082"/>
                </a:cubicBezTo>
                <a:cubicBezTo>
                  <a:pt x="2454" y="2081"/>
                  <a:pt x="2454" y="2081"/>
                  <a:pt x="2455" y="2081"/>
                </a:cubicBezTo>
                <a:cubicBezTo>
                  <a:pt x="2455" y="2080"/>
                  <a:pt x="2456" y="2079"/>
                  <a:pt x="2456" y="2079"/>
                </a:cubicBezTo>
                <a:cubicBezTo>
                  <a:pt x="2456" y="2077"/>
                  <a:pt x="2457" y="2076"/>
                  <a:pt x="2459" y="2076"/>
                </a:cubicBezTo>
                <a:cubicBezTo>
                  <a:pt x="2459" y="2076"/>
                  <a:pt x="2460" y="2076"/>
                  <a:pt x="2461" y="2076"/>
                </a:cubicBezTo>
                <a:cubicBezTo>
                  <a:pt x="2462" y="2076"/>
                  <a:pt x="2461" y="2075"/>
                  <a:pt x="2461" y="2075"/>
                </a:cubicBezTo>
                <a:cubicBezTo>
                  <a:pt x="2460" y="2074"/>
                  <a:pt x="2460" y="2074"/>
                  <a:pt x="2460" y="2073"/>
                </a:cubicBezTo>
                <a:cubicBezTo>
                  <a:pt x="2460" y="2073"/>
                  <a:pt x="2459" y="2071"/>
                  <a:pt x="2460" y="2071"/>
                </a:cubicBezTo>
                <a:cubicBezTo>
                  <a:pt x="2461" y="2071"/>
                  <a:pt x="2461" y="2073"/>
                  <a:pt x="2461" y="2073"/>
                </a:cubicBezTo>
                <a:cubicBezTo>
                  <a:pt x="2461" y="2074"/>
                  <a:pt x="2461" y="2074"/>
                  <a:pt x="2462" y="2074"/>
                </a:cubicBezTo>
                <a:cubicBezTo>
                  <a:pt x="2463" y="2075"/>
                  <a:pt x="2464" y="2076"/>
                  <a:pt x="2465" y="2076"/>
                </a:cubicBezTo>
                <a:cubicBezTo>
                  <a:pt x="2467" y="2076"/>
                  <a:pt x="2468" y="2075"/>
                  <a:pt x="2470" y="2076"/>
                </a:cubicBezTo>
                <a:cubicBezTo>
                  <a:pt x="2472" y="2076"/>
                  <a:pt x="2476" y="2076"/>
                  <a:pt x="2478" y="2075"/>
                </a:cubicBezTo>
                <a:cubicBezTo>
                  <a:pt x="2478" y="2075"/>
                  <a:pt x="2479" y="2074"/>
                  <a:pt x="2479" y="2074"/>
                </a:cubicBezTo>
                <a:close/>
                <a:moveTo>
                  <a:pt x="2224" y="2150"/>
                </a:moveTo>
                <a:cubicBezTo>
                  <a:pt x="2224" y="2149"/>
                  <a:pt x="2223" y="2149"/>
                  <a:pt x="2222" y="2147"/>
                </a:cubicBezTo>
                <a:cubicBezTo>
                  <a:pt x="2222" y="2147"/>
                  <a:pt x="2222" y="2146"/>
                  <a:pt x="2222" y="2146"/>
                </a:cubicBezTo>
                <a:cubicBezTo>
                  <a:pt x="2221" y="2145"/>
                  <a:pt x="2221" y="2145"/>
                  <a:pt x="2220" y="2144"/>
                </a:cubicBezTo>
                <a:cubicBezTo>
                  <a:pt x="2219" y="2143"/>
                  <a:pt x="2220" y="2142"/>
                  <a:pt x="2218" y="2142"/>
                </a:cubicBezTo>
                <a:cubicBezTo>
                  <a:pt x="2217" y="2141"/>
                  <a:pt x="2217" y="2139"/>
                  <a:pt x="2216" y="2139"/>
                </a:cubicBezTo>
                <a:cubicBezTo>
                  <a:pt x="2214" y="2139"/>
                  <a:pt x="2213" y="2139"/>
                  <a:pt x="2212" y="2138"/>
                </a:cubicBezTo>
                <a:cubicBezTo>
                  <a:pt x="2210" y="2138"/>
                  <a:pt x="2209" y="2138"/>
                  <a:pt x="2207" y="2138"/>
                </a:cubicBezTo>
                <a:cubicBezTo>
                  <a:pt x="2206" y="2138"/>
                  <a:pt x="2205" y="2138"/>
                  <a:pt x="2203" y="2138"/>
                </a:cubicBezTo>
                <a:cubicBezTo>
                  <a:pt x="2201" y="2137"/>
                  <a:pt x="2202" y="2138"/>
                  <a:pt x="2201" y="2139"/>
                </a:cubicBezTo>
                <a:cubicBezTo>
                  <a:pt x="2200" y="2140"/>
                  <a:pt x="2200" y="2140"/>
                  <a:pt x="2200" y="2142"/>
                </a:cubicBezTo>
                <a:cubicBezTo>
                  <a:pt x="2200" y="2142"/>
                  <a:pt x="2199" y="2143"/>
                  <a:pt x="2198" y="2144"/>
                </a:cubicBezTo>
                <a:cubicBezTo>
                  <a:pt x="2199" y="2143"/>
                  <a:pt x="2199" y="2143"/>
                  <a:pt x="2199" y="2142"/>
                </a:cubicBezTo>
                <a:cubicBezTo>
                  <a:pt x="2199" y="2141"/>
                  <a:pt x="2199" y="2141"/>
                  <a:pt x="2198" y="2141"/>
                </a:cubicBezTo>
                <a:cubicBezTo>
                  <a:pt x="2198" y="2140"/>
                  <a:pt x="2198" y="2140"/>
                  <a:pt x="2198" y="2139"/>
                </a:cubicBezTo>
                <a:cubicBezTo>
                  <a:pt x="2199" y="2139"/>
                  <a:pt x="2199" y="2139"/>
                  <a:pt x="2199" y="2139"/>
                </a:cubicBezTo>
                <a:cubicBezTo>
                  <a:pt x="2200" y="2138"/>
                  <a:pt x="2200" y="2138"/>
                  <a:pt x="2200" y="2138"/>
                </a:cubicBezTo>
                <a:cubicBezTo>
                  <a:pt x="2200" y="2137"/>
                  <a:pt x="2201" y="2137"/>
                  <a:pt x="2201" y="2137"/>
                </a:cubicBezTo>
                <a:cubicBezTo>
                  <a:pt x="2202" y="2136"/>
                  <a:pt x="2201" y="2135"/>
                  <a:pt x="2201" y="2135"/>
                </a:cubicBezTo>
                <a:cubicBezTo>
                  <a:pt x="2200" y="2134"/>
                  <a:pt x="2199" y="2134"/>
                  <a:pt x="2198" y="2133"/>
                </a:cubicBezTo>
                <a:cubicBezTo>
                  <a:pt x="2198" y="2133"/>
                  <a:pt x="2197" y="2132"/>
                  <a:pt x="2197" y="2132"/>
                </a:cubicBezTo>
                <a:cubicBezTo>
                  <a:pt x="2196" y="2132"/>
                  <a:pt x="2196" y="2132"/>
                  <a:pt x="2196" y="2131"/>
                </a:cubicBezTo>
                <a:cubicBezTo>
                  <a:pt x="2194" y="2130"/>
                  <a:pt x="2195" y="2128"/>
                  <a:pt x="2195" y="2126"/>
                </a:cubicBezTo>
                <a:cubicBezTo>
                  <a:pt x="2195" y="2125"/>
                  <a:pt x="2195" y="2125"/>
                  <a:pt x="2195" y="2124"/>
                </a:cubicBezTo>
                <a:cubicBezTo>
                  <a:pt x="2195" y="2123"/>
                  <a:pt x="2194" y="2122"/>
                  <a:pt x="2193" y="2120"/>
                </a:cubicBezTo>
                <a:cubicBezTo>
                  <a:pt x="2193" y="2119"/>
                  <a:pt x="2193" y="2117"/>
                  <a:pt x="2193" y="2116"/>
                </a:cubicBezTo>
                <a:cubicBezTo>
                  <a:pt x="2192" y="2115"/>
                  <a:pt x="2193" y="2113"/>
                  <a:pt x="2191" y="2113"/>
                </a:cubicBezTo>
                <a:cubicBezTo>
                  <a:pt x="2190" y="2113"/>
                  <a:pt x="2189" y="2113"/>
                  <a:pt x="2188" y="2113"/>
                </a:cubicBezTo>
                <a:cubicBezTo>
                  <a:pt x="2186" y="2113"/>
                  <a:pt x="2185" y="2112"/>
                  <a:pt x="2184" y="2112"/>
                </a:cubicBezTo>
                <a:cubicBezTo>
                  <a:pt x="2183" y="2111"/>
                  <a:pt x="2183" y="2111"/>
                  <a:pt x="2182" y="2111"/>
                </a:cubicBezTo>
                <a:cubicBezTo>
                  <a:pt x="2181" y="2111"/>
                  <a:pt x="2180" y="2110"/>
                  <a:pt x="2178" y="2110"/>
                </a:cubicBezTo>
                <a:cubicBezTo>
                  <a:pt x="2176" y="2110"/>
                  <a:pt x="2173" y="2107"/>
                  <a:pt x="2173" y="2104"/>
                </a:cubicBezTo>
                <a:cubicBezTo>
                  <a:pt x="2173" y="2102"/>
                  <a:pt x="2175" y="2103"/>
                  <a:pt x="2176" y="2102"/>
                </a:cubicBezTo>
                <a:cubicBezTo>
                  <a:pt x="2176" y="2101"/>
                  <a:pt x="2177" y="2100"/>
                  <a:pt x="2176" y="2100"/>
                </a:cubicBezTo>
                <a:cubicBezTo>
                  <a:pt x="2175" y="2100"/>
                  <a:pt x="2174" y="2101"/>
                  <a:pt x="2174" y="2100"/>
                </a:cubicBezTo>
                <a:cubicBezTo>
                  <a:pt x="2173" y="2100"/>
                  <a:pt x="2176" y="2099"/>
                  <a:pt x="2176" y="2099"/>
                </a:cubicBezTo>
                <a:cubicBezTo>
                  <a:pt x="2177" y="2098"/>
                  <a:pt x="2177" y="2098"/>
                  <a:pt x="2178" y="2098"/>
                </a:cubicBezTo>
                <a:cubicBezTo>
                  <a:pt x="2179" y="2098"/>
                  <a:pt x="2180" y="2098"/>
                  <a:pt x="2180" y="2097"/>
                </a:cubicBezTo>
                <a:cubicBezTo>
                  <a:pt x="2180" y="2096"/>
                  <a:pt x="2179" y="2097"/>
                  <a:pt x="2178" y="2097"/>
                </a:cubicBezTo>
                <a:cubicBezTo>
                  <a:pt x="2177" y="2097"/>
                  <a:pt x="2177" y="2097"/>
                  <a:pt x="2177" y="2096"/>
                </a:cubicBezTo>
                <a:cubicBezTo>
                  <a:pt x="2175" y="2095"/>
                  <a:pt x="2175" y="2097"/>
                  <a:pt x="2174" y="2098"/>
                </a:cubicBezTo>
                <a:cubicBezTo>
                  <a:pt x="2172" y="2096"/>
                  <a:pt x="2175" y="2095"/>
                  <a:pt x="2175" y="2095"/>
                </a:cubicBezTo>
                <a:cubicBezTo>
                  <a:pt x="2176" y="2094"/>
                  <a:pt x="2176" y="2093"/>
                  <a:pt x="2176" y="2093"/>
                </a:cubicBezTo>
                <a:cubicBezTo>
                  <a:pt x="2177" y="2093"/>
                  <a:pt x="2177" y="2093"/>
                  <a:pt x="2178" y="2094"/>
                </a:cubicBezTo>
                <a:cubicBezTo>
                  <a:pt x="2179" y="2094"/>
                  <a:pt x="2179" y="2093"/>
                  <a:pt x="2180" y="2093"/>
                </a:cubicBezTo>
                <a:cubicBezTo>
                  <a:pt x="2180" y="2092"/>
                  <a:pt x="2181" y="2092"/>
                  <a:pt x="2182" y="2092"/>
                </a:cubicBezTo>
                <a:cubicBezTo>
                  <a:pt x="2184" y="2092"/>
                  <a:pt x="2181" y="2090"/>
                  <a:pt x="2180" y="2090"/>
                </a:cubicBezTo>
                <a:cubicBezTo>
                  <a:pt x="2180" y="2088"/>
                  <a:pt x="2180" y="2087"/>
                  <a:pt x="2179" y="2086"/>
                </a:cubicBezTo>
                <a:cubicBezTo>
                  <a:pt x="2178" y="2085"/>
                  <a:pt x="2176" y="2085"/>
                  <a:pt x="2175" y="2084"/>
                </a:cubicBezTo>
                <a:cubicBezTo>
                  <a:pt x="2174" y="2083"/>
                  <a:pt x="2174" y="2082"/>
                  <a:pt x="2173" y="2082"/>
                </a:cubicBezTo>
                <a:cubicBezTo>
                  <a:pt x="2171" y="2081"/>
                  <a:pt x="2170" y="2082"/>
                  <a:pt x="2169" y="2083"/>
                </a:cubicBezTo>
                <a:cubicBezTo>
                  <a:pt x="2168" y="2084"/>
                  <a:pt x="2167" y="2083"/>
                  <a:pt x="2166" y="2082"/>
                </a:cubicBezTo>
                <a:cubicBezTo>
                  <a:pt x="2166" y="2081"/>
                  <a:pt x="2165" y="2080"/>
                  <a:pt x="2164" y="2079"/>
                </a:cubicBezTo>
                <a:cubicBezTo>
                  <a:pt x="2164" y="2079"/>
                  <a:pt x="2163" y="2079"/>
                  <a:pt x="2163" y="2079"/>
                </a:cubicBezTo>
                <a:cubicBezTo>
                  <a:pt x="2162" y="2078"/>
                  <a:pt x="2162" y="2078"/>
                  <a:pt x="2161" y="2078"/>
                </a:cubicBezTo>
                <a:cubicBezTo>
                  <a:pt x="2161" y="2078"/>
                  <a:pt x="2160" y="2078"/>
                  <a:pt x="2159" y="2078"/>
                </a:cubicBezTo>
                <a:cubicBezTo>
                  <a:pt x="2161" y="2077"/>
                  <a:pt x="2162" y="2077"/>
                  <a:pt x="2163" y="2077"/>
                </a:cubicBezTo>
                <a:cubicBezTo>
                  <a:pt x="2164" y="2077"/>
                  <a:pt x="2167" y="2078"/>
                  <a:pt x="2166" y="2077"/>
                </a:cubicBezTo>
                <a:cubicBezTo>
                  <a:pt x="2166" y="2076"/>
                  <a:pt x="2165" y="2076"/>
                  <a:pt x="2165" y="2076"/>
                </a:cubicBezTo>
                <a:cubicBezTo>
                  <a:pt x="2164" y="2076"/>
                  <a:pt x="2164" y="2075"/>
                  <a:pt x="2164" y="2075"/>
                </a:cubicBezTo>
                <a:cubicBezTo>
                  <a:pt x="2163" y="2074"/>
                  <a:pt x="2162" y="2074"/>
                  <a:pt x="2162" y="2074"/>
                </a:cubicBezTo>
                <a:cubicBezTo>
                  <a:pt x="2161" y="2074"/>
                  <a:pt x="2161" y="2074"/>
                  <a:pt x="2160" y="2073"/>
                </a:cubicBezTo>
                <a:cubicBezTo>
                  <a:pt x="2160" y="2072"/>
                  <a:pt x="2163" y="2074"/>
                  <a:pt x="2164" y="2074"/>
                </a:cubicBezTo>
                <a:cubicBezTo>
                  <a:pt x="2165" y="2074"/>
                  <a:pt x="2166" y="2075"/>
                  <a:pt x="2167" y="2076"/>
                </a:cubicBezTo>
                <a:cubicBezTo>
                  <a:pt x="2167" y="2076"/>
                  <a:pt x="2168" y="2076"/>
                  <a:pt x="2168" y="2075"/>
                </a:cubicBezTo>
                <a:cubicBezTo>
                  <a:pt x="2168" y="2074"/>
                  <a:pt x="2167" y="2075"/>
                  <a:pt x="2166" y="2074"/>
                </a:cubicBezTo>
                <a:cubicBezTo>
                  <a:pt x="2166" y="2074"/>
                  <a:pt x="2166" y="2073"/>
                  <a:pt x="2165" y="2072"/>
                </a:cubicBezTo>
                <a:cubicBezTo>
                  <a:pt x="2165" y="2072"/>
                  <a:pt x="2164" y="2072"/>
                  <a:pt x="2164" y="2071"/>
                </a:cubicBezTo>
                <a:cubicBezTo>
                  <a:pt x="2163" y="2071"/>
                  <a:pt x="2163" y="2070"/>
                  <a:pt x="2162" y="2070"/>
                </a:cubicBezTo>
                <a:cubicBezTo>
                  <a:pt x="2161" y="2070"/>
                  <a:pt x="2160" y="2070"/>
                  <a:pt x="2159" y="2070"/>
                </a:cubicBezTo>
                <a:cubicBezTo>
                  <a:pt x="2159" y="2071"/>
                  <a:pt x="2158" y="2072"/>
                  <a:pt x="2157" y="2071"/>
                </a:cubicBezTo>
                <a:cubicBezTo>
                  <a:pt x="2156" y="2071"/>
                  <a:pt x="2157" y="2070"/>
                  <a:pt x="2156" y="2070"/>
                </a:cubicBezTo>
                <a:cubicBezTo>
                  <a:pt x="2155" y="2069"/>
                  <a:pt x="2155" y="2070"/>
                  <a:pt x="2154" y="2070"/>
                </a:cubicBezTo>
                <a:cubicBezTo>
                  <a:pt x="2153" y="2069"/>
                  <a:pt x="2153" y="2068"/>
                  <a:pt x="2154" y="2068"/>
                </a:cubicBezTo>
                <a:cubicBezTo>
                  <a:pt x="2154" y="2067"/>
                  <a:pt x="2155" y="2068"/>
                  <a:pt x="2155" y="2067"/>
                </a:cubicBezTo>
                <a:cubicBezTo>
                  <a:pt x="2155" y="2066"/>
                  <a:pt x="2155" y="2066"/>
                  <a:pt x="2154" y="2065"/>
                </a:cubicBezTo>
                <a:cubicBezTo>
                  <a:pt x="2154" y="2064"/>
                  <a:pt x="2155" y="2063"/>
                  <a:pt x="2154" y="2063"/>
                </a:cubicBezTo>
                <a:cubicBezTo>
                  <a:pt x="2154" y="2062"/>
                  <a:pt x="2153" y="2063"/>
                  <a:pt x="2152" y="2062"/>
                </a:cubicBezTo>
                <a:cubicBezTo>
                  <a:pt x="2152" y="2062"/>
                  <a:pt x="2151" y="2062"/>
                  <a:pt x="2150" y="2062"/>
                </a:cubicBezTo>
                <a:cubicBezTo>
                  <a:pt x="2150" y="2062"/>
                  <a:pt x="2150" y="2061"/>
                  <a:pt x="2149" y="2061"/>
                </a:cubicBezTo>
                <a:cubicBezTo>
                  <a:pt x="2149" y="2061"/>
                  <a:pt x="2148" y="2061"/>
                  <a:pt x="2147" y="2061"/>
                </a:cubicBezTo>
                <a:cubicBezTo>
                  <a:pt x="2147" y="2061"/>
                  <a:pt x="2146" y="2060"/>
                  <a:pt x="2145" y="2061"/>
                </a:cubicBezTo>
                <a:cubicBezTo>
                  <a:pt x="2145" y="2062"/>
                  <a:pt x="2146" y="2062"/>
                  <a:pt x="2147" y="2062"/>
                </a:cubicBezTo>
                <a:cubicBezTo>
                  <a:pt x="2147" y="2063"/>
                  <a:pt x="2148" y="2063"/>
                  <a:pt x="2148" y="2064"/>
                </a:cubicBezTo>
                <a:cubicBezTo>
                  <a:pt x="2148" y="2064"/>
                  <a:pt x="2149" y="2064"/>
                  <a:pt x="2149" y="2065"/>
                </a:cubicBezTo>
                <a:cubicBezTo>
                  <a:pt x="2150" y="2066"/>
                  <a:pt x="2148" y="2067"/>
                  <a:pt x="2150" y="2069"/>
                </a:cubicBezTo>
                <a:cubicBezTo>
                  <a:pt x="2150" y="2069"/>
                  <a:pt x="2150" y="2070"/>
                  <a:pt x="2150" y="2071"/>
                </a:cubicBezTo>
                <a:cubicBezTo>
                  <a:pt x="2151" y="2072"/>
                  <a:pt x="2151" y="2072"/>
                  <a:pt x="2152" y="2073"/>
                </a:cubicBezTo>
                <a:cubicBezTo>
                  <a:pt x="2152" y="2073"/>
                  <a:pt x="2153" y="2074"/>
                  <a:pt x="2153" y="2073"/>
                </a:cubicBezTo>
                <a:cubicBezTo>
                  <a:pt x="2154" y="2073"/>
                  <a:pt x="2153" y="2072"/>
                  <a:pt x="2154" y="2071"/>
                </a:cubicBezTo>
                <a:cubicBezTo>
                  <a:pt x="2154" y="2070"/>
                  <a:pt x="2155" y="2071"/>
                  <a:pt x="2155" y="2072"/>
                </a:cubicBezTo>
                <a:cubicBezTo>
                  <a:pt x="2155" y="2072"/>
                  <a:pt x="2155" y="2072"/>
                  <a:pt x="2155" y="2073"/>
                </a:cubicBezTo>
                <a:cubicBezTo>
                  <a:pt x="2155" y="2073"/>
                  <a:pt x="2155" y="2073"/>
                  <a:pt x="2155" y="2074"/>
                </a:cubicBezTo>
                <a:cubicBezTo>
                  <a:pt x="2154" y="2074"/>
                  <a:pt x="2154" y="2074"/>
                  <a:pt x="2153" y="2074"/>
                </a:cubicBezTo>
                <a:cubicBezTo>
                  <a:pt x="2153" y="2075"/>
                  <a:pt x="2153" y="2076"/>
                  <a:pt x="2152" y="2075"/>
                </a:cubicBezTo>
                <a:cubicBezTo>
                  <a:pt x="2152" y="2075"/>
                  <a:pt x="2152" y="2074"/>
                  <a:pt x="2151" y="2074"/>
                </a:cubicBezTo>
                <a:cubicBezTo>
                  <a:pt x="2151" y="2073"/>
                  <a:pt x="2150" y="2073"/>
                  <a:pt x="2150" y="2073"/>
                </a:cubicBezTo>
                <a:cubicBezTo>
                  <a:pt x="2149" y="2072"/>
                  <a:pt x="2150" y="2072"/>
                  <a:pt x="2150" y="2071"/>
                </a:cubicBezTo>
                <a:cubicBezTo>
                  <a:pt x="2149" y="2070"/>
                  <a:pt x="2149" y="2070"/>
                  <a:pt x="2149" y="2069"/>
                </a:cubicBezTo>
                <a:cubicBezTo>
                  <a:pt x="2148" y="2069"/>
                  <a:pt x="2148" y="2068"/>
                  <a:pt x="2148" y="2067"/>
                </a:cubicBezTo>
                <a:cubicBezTo>
                  <a:pt x="2148" y="2067"/>
                  <a:pt x="2148" y="2066"/>
                  <a:pt x="2147" y="2066"/>
                </a:cubicBezTo>
                <a:cubicBezTo>
                  <a:pt x="2146" y="2065"/>
                  <a:pt x="2146" y="2065"/>
                  <a:pt x="2146" y="2064"/>
                </a:cubicBezTo>
                <a:cubicBezTo>
                  <a:pt x="2145" y="2064"/>
                  <a:pt x="2145" y="2063"/>
                  <a:pt x="2144" y="2063"/>
                </a:cubicBezTo>
                <a:cubicBezTo>
                  <a:pt x="2144" y="2063"/>
                  <a:pt x="2143" y="2063"/>
                  <a:pt x="2143" y="2062"/>
                </a:cubicBezTo>
                <a:cubicBezTo>
                  <a:pt x="2142" y="2062"/>
                  <a:pt x="2143" y="2061"/>
                  <a:pt x="2142" y="2061"/>
                </a:cubicBezTo>
                <a:cubicBezTo>
                  <a:pt x="2142" y="2060"/>
                  <a:pt x="2142" y="2061"/>
                  <a:pt x="2141" y="2060"/>
                </a:cubicBezTo>
                <a:cubicBezTo>
                  <a:pt x="2141" y="2060"/>
                  <a:pt x="2141" y="2060"/>
                  <a:pt x="2140" y="2060"/>
                </a:cubicBezTo>
                <a:cubicBezTo>
                  <a:pt x="2140" y="2059"/>
                  <a:pt x="2139" y="2060"/>
                  <a:pt x="2138" y="2060"/>
                </a:cubicBezTo>
                <a:cubicBezTo>
                  <a:pt x="2138" y="2059"/>
                  <a:pt x="2137" y="2059"/>
                  <a:pt x="2138" y="2058"/>
                </a:cubicBezTo>
                <a:cubicBezTo>
                  <a:pt x="2138" y="2057"/>
                  <a:pt x="2139" y="2057"/>
                  <a:pt x="2139" y="2057"/>
                </a:cubicBezTo>
                <a:cubicBezTo>
                  <a:pt x="2140" y="2056"/>
                  <a:pt x="2140" y="2055"/>
                  <a:pt x="2140" y="2055"/>
                </a:cubicBezTo>
                <a:cubicBezTo>
                  <a:pt x="2140" y="2055"/>
                  <a:pt x="2142" y="2054"/>
                  <a:pt x="2142" y="2054"/>
                </a:cubicBezTo>
                <a:cubicBezTo>
                  <a:pt x="2141" y="2053"/>
                  <a:pt x="2141" y="2053"/>
                  <a:pt x="2141" y="2053"/>
                </a:cubicBezTo>
                <a:cubicBezTo>
                  <a:pt x="2140" y="2053"/>
                  <a:pt x="2140" y="2053"/>
                  <a:pt x="2140" y="2052"/>
                </a:cubicBezTo>
                <a:cubicBezTo>
                  <a:pt x="2140" y="2051"/>
                  <a:pt x="2140" y="2051"/>
                  <a:pt x="2139" y="2051"/>
                </a:cubicBezTo>
                <a:cubicBezTo>
                  <a:pt x="2138" y="2050"/>
                  <a:pt x="2138" y="2050"/>
                  <a:pt x="2137" y="2051"/>
                </a:cubicBezTo>
                <a:cubicBezTo>
                  <a:pt x="2137" y="2051"/>
                  <a:pt x="2136" y="2051"/>
                  <a:pt x="2136" y="2051"/>
                </a:cubicBezTo>
                <a:cubicBezTo>
                  <a:pt x="2135" y="2051"/>
                  <a:pt x="2135" y="2051"/>
                  <a:pt x="2134" y="2051"/>
                </a:cubicBezTo>
                <a:cubicBezTo>
                  <a:pt x="2133" y="2052"/>
                  <a:pt x="2134" y="2053"/>
                  <a:pt x="2133" y="2054"/>
                </a:cubicBezTo>
                <a:cubicBezTo>
                  <a:pt x="2133" y="2054"/>
                  <a:pt x="2133" y="2054"/>
                  <a:pt x="2133" y="2055"/>
                </a:cubicBezTo>
                <a:cubicBezTo>
                  <a:pt x="2133" y="2055"/>
                  <a:pt x="2133" y="2055"/>
                  <a:pt x="2134" y="2056"/>
                </a:cubicBezTo>
                <a:cubicBezTo>
                  <a:pt x="2134" y="2056"/>
                  <a:pt x="2134" y="2057"/>
                  <a:pt x="2134" y="2057"/>
                </a:cubicBezTo>
                <a:cubicBezTo>
                  <a:pt x="2134" y="2058"/>
                  <a:pt x="2134" y="2058"/>
                  <a:pt x="2134" y="2059"/>
                </a:cubicBezTo>
                <a:cubicBezTo>
                  <a:pt x="2133" y="2059"/>
                  <a:pt x="2133" y="2058"/>
                  <a:pt x="2133" y="2057"/>
                </a:cubicBezTo>
                <a:cubicBezTo>
                  <a:pt x="2133" y="2056"/>
                  <a:pt x="2132" y="2056"/>
                  <a:pt x="2132" y="2056"/>
                </a:cubicBezTo>
                <a:cubicBezTo>
                  <a:pt x="2131" y="2054"/>
                  <a:pt x="2131" y="2053"/>
                  <a:pt x="2130" y="2052"/>
                </a:cubicBezTo>
                <a:cubicBezTo>
                  <a:pt x="2129" y="2052"/>
                  <a:pt x="2129" y="2052"/>
                  <a:pt x="2129" y="2051"/>
                </a:cubicBezTo>
                <a:cubicBezTo>
                  <a:pt x="2128" y="2051"/>
                  <a:pt x="2128" y="2050"/>
                  <a:pt x="2128" y="2050"/>
                </a:cubicBezTo>
                <a:cubicBezTo>
                  <a:pt x="2127" y="2049"/>
                  <a:pt x="2126" y="2050"/>
                  <a:pt x="2125" y="2049"/>
                </a:cubicBezTo>
                <a:cubicBezTo>
                  <a:pt x="2125" y="2049"/>
                  <a:pt x="2121" y="2048"/>
                  <a:pt x="2121" y="2049"/>
                </a:cubicBezTo>
                <a:cubicBezTo>
                  <a:pt x="2121" y="2050"/>
                  <a:pt x="2122" y="2049"/>
                  <a:pt x="2122" y="2050"/>
                </a:cubicBezTo>
                <a:cubicBezTo>
                  <a:pt x="2122" y="2050"/>
                  <a:pt x="2122" y="2050"/>
                  <a:pt x="2122" y="2051"/>
                </a:cubicBezTo>
                <a:cubicBezTo>
                  <a:pt x="2122" y="2051"/>
                  <a:pt x="2122" y="2051"/>
                  <a:pt x="2122" y="2051"/>
                </a:cubicBezTo>
                <a:cubicBezTo>
                  <a:pt x="2122" y="2052"/>
                  <a:pt x="2122" y="2052"/>
                  <a:pt x="2122" y="2052"/>
                </a:cubicBezTo>
                <a:cubicBezTo>
                  <a:pt x="2122" y="2053"/>
                  <a:pt x="2121" y="2052"/>
                  <a:pt x="2121" y="2051"/>
                </a:cubicBezTo>
                <a:cubicBezTo>
                  <a:pt x="2120" y="2051"/>
                  <a:pt x="2120" y="2051"/>
                  <a:pt x="2119" y="2051"/>
                </a:cubicBezTo>
                <a:cubicBezTo>
                  <a:pt x="2118" y="2051"/>
                  <a:pt x="2118" y="2050"/>
                  <a:pt x="2118" y="2050"/>
                </a:cubicBezTo>
                <a:cubicBezTo>
                  <a:pt x="2117" y="2049"/>
                  <a:pt x="2117" y="2049"/>
                  <a:pt x="2116" y="2049"/>
                </a:cubicBezTo>
                <a:cubicBezTo>
                  <a:pt x="2115" y="2048"/>
                  <a:pt x="2114" y="2048"/>
                  <a:pt x="2113" y="2046"/>
                </a:cubicBezTo>
                <a:cubicBezTo>
                  <a:pt x="2113" y="2046"/>
                  <a:pt x="2113" y="2045"/>
                  <a:pt x="2113" y="2044"/>
                </a:cubicBezTo>
                <a:cubicBezTo>
                  <a:pt x="2113" y="2044"/>
                  <a:pt x="2113" y="2044"/>
                  <a:pt x="2112" y="2043"/>
                </a:cubicBezTo>
                <a:cubicBezTo>
                  <a:pt x="2112" y="2043"/>
                  <a:pt x="2112" y="2042"/>
                  <a:pt x="2111" y="2042"/>
                </a:cubicBezTo>
                <a:cubicBezTo>
                  <a:pt x="2111" y="2041"/>
                  <a:pt x="2110" y="2041"/>
                  <a:pt x="2110" y="2041"/>
                </a:cubicBezTo>
                <a:cubicBezTo>
                  <a:pt x="2109" y="2041"/>
                  <a:pt x="2109" y="2041"/>
                  <a:pt x="2108" y="2041"/>
                </a:cubicBezTo>
                <a:cubicBezTo>
                  <a:pt x="2107" y="2041"/>
                  <a:pt x="2107" y="2042"/>
                  <a:pt x="2106" y="2041"/>
                </a:cubicBezTo>
                <a:cubicBezTo>
                  <a:pt x="2106" y="2041"/>
                  <a:pt x="2106" y="2040"/>
                  <a:pt x="2106" y="2040"/>
                </a:cubicBezTo>
                <a:cubicBezTo>
                  <a:pt x="2106" y="2039"/>
                  <a:pt x="2106" y="2039"/>
                  <a:pt x="2106" y="2038"/>
                </a:cubicBezTo>
                <a:cubicBezTo>
                  <a:pt x="2105" y="2037"/>
                  <a:pt x="2105" y="2036"/>
                  <a:pt x="2105" y="2035"/>
                </a:cubicBezTo>
                <a:cubicBezTo>
                  <a:pt x="2104" y="2034"/>
                  <a:pt x="2102" y="2033"/>
                  <a:pt x="2101" y="2033"/>
                </a:cubicBezTo>
                <a:cubicBezTo>
                  <a:pt x="2100" y="2032"/>
                  <a:pt x="2099" y="2031"/>
                  <a:pt x="2099" y="2030"/>
                </a:cubicBezTo>
                <a:cubicBezTo>
                  <a:pt x="2098" y="2028"/>
                  <a:pt x="2096" y="2028"/>
                  <a:pt x="2095" y="2026"/>
                </a:cubicBezTo>
                <a:cubicBezTo>
                  <a:pt x="2094" y="2025"/>
                  <a:pt x="2092" y="2024"/>
                  <a:pt x="2091" y="2023"/>
                </a:cubicBezTo>
                <a:cubicBezTo>
                  <a:pt x="2090" y="2022"/>
                  <a:pt x="2089" y="2022"/>
                  <a:pt x="2088" y="2022"/>
                </a:cubicBezTo>
                <a:cubicBezTo>
                  <a:pt x="2086" y="2021"/>
                  <a:pt x="2083" y="2020"/>
                  <a:pt x="2082" y="2018"/>
                </a:cubicBezTo>
                <a:cubicBezTo>
                  <a:pt x="2080" y="2017"/>
                  <a:pt x="2080" y="2016"/>
                  <a:pt x="2078" y="2014"/>
                </a:cubicBezTo>
                <a:cubicBezTo>
                  <a:pt x="2077" y="2013"/>
                  <a:pt x="2076" y="2013"/>
                  <a:pt x="2075" y="2013"/>
                </a:cubicBezTo>
                <a:cubicBezTo>
                  <a:pt x="2074" y="2012"/>
                  <a:pt x="2074" y="2012"/>
                  <a:pt x="2073" y="2012"/>
                </a:cubicBezTo>
                <a:cubicBezTo>
                  <a:pt x="2072" y="2011"/>
                  <a:pt x="2071" y="2012"/>
                  <a:pt x="2071" y="2011"/>
                </a:cubicBezTo>
                <a:cubicBezTo>
                  <a:pt x="2070" y="2009"/>
                  <a:pt x="2071" y="2009"/>
                  <a:pt x="2072" y="2009"/>
                </a:cubicBezTo>
                <a:cubicBezTo>
                  <a:pt x="2072" y="2007"/>
                  <a:pt x="2071" y="2007"/>
                  <a:pt x="2071" y="2006"/>
                </a:cubicBezTo>
                <a:cubicBezTo>
                  <a:pt x="2070" y="2006"/>
                  <a:pt x="2070" y="2005"/>
                  <a:pt x="2070" y="2005"/>
                </a:cubicBezTo>
                <a:cubicBezTo>
                  <a:pt x="2069" y="2004"/>
                  <a:pt x="2068" y="2004"/>
                  <a:pt x="2067" y="2003"/>
                </a:cubicBezTo>
                <a:cubicBezTo>
                  <a:pt x="2067" y="2003"/>
                  <a:pt x="2067" y="2003"/>
                  <a:pt x="2066" y="2002"/>
                </a:cubicBezTo>
                <a:cubicBezTo>
                  <a:pt x="2066" y="2002"/>
                  <a:pt x="2066" y="2001"/>
                  <a:pt x="2066" y="2001"/>
                </a:cubicBezTo>
                <a:cubicBezTo>
                  <a:pt x="2066" y="2001"/>
                  <a:pt x="2066" y="2001"/>
                  <a:pt x="2066" y="2001"/>
                </a:cubicBezTo>
                <a:cubicBezTo>
                  <a:pt x="2066" y="2000"/>
                  <a:pt x="2066" y="2000"/>
                  <a:pt x="2065" y="2000"/>
                </a:cubicBezTo>
                <a:cubicBezTo>
                  <a:pt x="2065" y="1999"/>
                  <a:pt x="2065" y="1998"/>
                  <a:pt x="2065" y="1997"/>
                </a:cubicBezTo>
                <a:cubicBezTo>
                  <a:pt x="2065" y="1996"/>
                  <a:pt x="2064" y="1995"/>
                  <a:pt x="2063" y="1994"/>
                </a:cubicBezTo>
                <a:cubicBezTo>
                  <a:pt x="2062" y="1993"/>
                  <a:pt x="2061" y="1992"/>
                  <a:pt x="2060" y="1992"/>
                </a:cubicBezTo>
                <a:cubicBezTo>
                  <a:pt x="2059" y="1991"/>
                  <a:pt x="2057" y="1988"/>
                  <a:pt x="2055" y="1988"/>
                </a:cubicBezTo>
                <a:cubicBezTo>
                  <a:pt x="2054" y="1988"/>
                  <a:pt x="2054" y="1989"/>
                  <a:pt x="2054" y="1989"/>
                </a:cubicBezTo>
                <a:cubicBezTo>
                  <a:pt x="2053" y="1990"/>
                  <a:pt x="2053" y="1990"/>
                  <a:pt x="2052" y="1990"/>
                </a:cubicBezTo>
                <a:cubicBezTo>
                  <a:pt x="2051" y="1990"/>
                  <a:pt x="2051" y="1990"/>
                  <a:pt x="2050" y="1990"/>
                </a:cubicBezTo>
                <a:cubicBezTo>
                  <a:pt x="2049" y="1990"/>
                  <a:pt x="2049" y="1990"/>
                  <a:pt x="2049" y="1990"/>
                </a:cubicBezTo>
                <a:cubicBezTo>
                  <a:pt x="2048" y="1989"/>
                  <a:pt x="2048" y="1989"/>
                  <a:pt x="2048" y="1989"/>
                </a:cubicBezTo>
                <a:cubicBezTo>
                  <a:pt x="2047" y="1988"/>
                  <a:pt x="2047" y="1989"/>
                  <a:pt x="2046" y="1988"/>
                </a:cubicBezTo>
                <a:cubicBezTo>
                  <a:pt x="2045" y="1988"/>
                  <a:pt x="2044" y="1988"/>
                  <a:pt x="2043" y="1988"/>
                </a:cubicBezTo>
                <a:cubicBezTo>
                  <a:pt x="2042" y="1988"/>
                  <a:pt x="2042" y="1989"/>
                  <a:pt x="2041" y="1989"/>
                </a:cubicBezTo>
                <a:cubicBezTo>
                  <a:pt x="2039" y="1989"/>
                  <a:pt x="2038" y="1988"/>
                  <a:pt x="2036" y="1989"/>
                </a:cubicBezTo>
                <a:cubicBezTo>
                  <a:pt x="2035" y="1989"/>
                  <a:pt x="2034" y="1989"/>
                  <a:pt x="2033" y="1988"/>
                </a:cubicBezTo>
                <a:cubicBezTo>
                  <a:pt x="2032" y="1988"/>
                  <a:pt x="2032" y="1987"/>
                  <a:pt x="2031" y="1987"/>
                </a:cubicBezTo>
                <a:cubicBezTo>
                  <a:pt x="2031" y="1987"/>
                  <a:pt x="2030" y="1987"/>
                  <a:pt x="2030" y="1987"/>
                </a:cubicBezTo>
                <a:cubicBezTo>
                  <a:pt x="2029" y="1987"/>
                  <a:pt x="2028" y="1987"/>
                  <a:pt x="2027" y="1986"/>
                </a:cubicBezTo>
                <a:cubicBezTo>
                  <a:pt x="2026" y="1985"/>
                  <a:pt x="2026" y="1985"/>
                  <a:pt x="2025" y="1984"/>
                </a:cubicBezTo>
                <a:cubicBezTo>
                  <a:pt x="2024" y="1984"/>
                  <a:pt x="2023" y="1984"/>
                  <a:pt x="2023" y="1983"/>
                </a:cubicBezTo>
                <a:cubicBezTo>
                  <a:pt x="2022" y="1983"/>
                  <a:pt x="2022" y="1982"/>
                  <a:pt x="2021" y="1982"/>
                </a:cubicBezTo>
                <a:cubicBezTo>
                  <a:pt x="2020" y="1982"/>
                  <a:pt x="2019" y="1982"/>
                  <a:pt x="2018" y="1982"/>
                </a:cubicBezTo>
                <a:cubicBezTo>
                  <a:pt x="2017" y="1981"/>
                  <a:pt x="2016" y="1981"/>
                  <a:pt x="2015" y="1981"/>
                </a:cubicBezTo>
                <a:cubicBezTo>
                  <a:pt x="2014" y="1982"/>
                  <a:pt x="2014" y="1982"/>
                  <a:pt x="2014" y="1982"/>
                </a:cubicBezTo>
                <a:cubicBezTo>
                  <a:pt x="2013" y="1983"/>
                  <a:pt x="2013" y="1982"/>
                  <a:pt x="2012" y="1983"/>
                </a:cubicBezTo>
                <a:cubicBezTo>
                  <a:pt x="2012" y="1983"/>
                  <a:pt x="2012" y="1984"/>
                  <a:pt x="2011" y="1984"/>
                </a:cubicBezTo>
                <a:cubicBezTo>
                  <a:pt x="2011" y="1985"/>
                  <a:pt x="2012" y="1987"/>
                  <a:pt x="2013" y="1988"/>
                </a:cubicBezTo>
                <a:cubicBezTo>
                  <a:pt x="2014" y="1989"/>
                  <a:pt x="2014" y="1991"/>
                  <a:pt x="2015" y="1992"/>
                </a:cubicBezTo>
                <a:cubicBezTo>
                  <a:pt x="2016" y="1994"/>
                  <a:pt x="2017" y="1996"/>
                  <a:pt x="2018" y="1998"/>
                </a:cubicBezTo>
                <a:cubicBezTo>
                  <a:pt x="2019" y="2000"/>
                  <a:pt x="2021" y="2001"/>
                  <a:pt x="2023" y="2003"/>
                </a:cubicBezTo>
                <a:cubicBezTo>
                  <a:pt x="2024" y="2004"/>
                  <a:pt x="2025" y="2006"/>
                  <a:pt x="2026" y="2007"/>
                </a:cubicBezTo>
                <a:cubicBezTo>
                  <a:pt x="2029" y="2010"/>
                  <a:pt x="2031" y="2012"/>
                  <a:pt x="2033" y="2014"/>
                </a:cubicBezTo>
                <a:cubicBezTo>
                  <a:pt x="2034" y="2015"/>
                  <a:pt x="2035" y="2016"/>
                  <a:pt x="2036" y="2017"/>
                </a:cubicBezTo>
                <a:cubicBezTo>
                  <a:pt x="2038" y="2018"/>
                  <a:pt x="2039" y="2019"/>
                  <a:pt x="2040" y="2020"/>
                </a:cubicBezTo>
                <a:cubicBezTo>
                  <a:pt x="2041" y="2020"/>
                  <a:pt x="2043" y="2021"/>
                  <a:pt x="2044" y="2021"/>
                </a:cubicBezTo>
                <a:cubicBezTo>
                  <a:pt x="2045" y="2022"/>
                  <a:pt x="2046" y="2023"/>
                  <a:pt x="2047" y="2024"/>
                </a:cubicBezTo>
                <a:cubicBezTo>
                  <a:pt x="2048" y="2025"/>
                  <a:pt x="2049" y="2026"/>
                  <a:pt x="2050" y="2027"/>
                </a:cubicBezTo>
                <a:cubicBezTo>
                  <a:pt x="2052" y="2028"/>
                  <a:pt x="2053" y="2029"/>
                  <a:pt x="2054" y="2030"/>
                </a:cubicBezTo>
                <a:cubicBezTo>
                  <a:pt x="2055" y="2032"/>
                  <a:pt x="2056" y="2033"/>
                  <a:pt x="2057" y="2034"/>
                </a:cubicBezTo>
                <a:cubicBezTo>
                  <a:pt x="2058" y="2036"/>
                  <a:pt x="2059" y="2036"/>
                  <a:pt x="2059" y="2038"/>
                </a:cubicBezTo>
                <a:cubicBezTo>
                  <a:pt x="2060" y="2039"/>
                  <a:pt x="2060" y="2040"/>
                  <a:pt x="2059" y="2041"/>
                </a:cubicBezTo>
                <a:cubicBezTo>
                  <a:pt x="2059" y="2042"/>
                  <a:pt x="2059" y="2043"/>
                  <a:pt x="2060" y="2044"/>
                </a:cubicBezTo>
                <a:cubicBezTo>
                  <a:pt x="2060" y="2045"/>
                  <a:pt x="2060" y="2045"/>
                  <a:pt x="2061" y="2046"/>
                </a:cubicBezTo>
                <a:cubicBezTo>
                  <a:pt x="2061" y="2046"/>
                  <a:pt x="2061" y="2047"/>
                  <a:pt x="2061" y="2048"/>
                </a:cubicBezTo>
                <a:cubicBezTo>
                  <a:pt x="2063" y="2049"/>
                  <a:pt x="2065" y="2048"/>
                  <a:pt x="2067" y="2049"/>
                </a:cubicBezTo>
                <a:cubicBezTo>
                  <a:pt x="2068" y="2049"/>
                  <a:pt x="2069" y="2051"/>
                  <a:pt x="2070" y="2051"/>
                </a:cubicBezTo>
                <a:cubicBezTo>
                  <a:pt x="2072" y="2052"/>
                  <a:pt x="2073" y="2052"/>
                  <a:pt x="2074" y="2053"/>
                </a:cubicBezTo>
                <a:cubicBezTo>
                  <a:pt x="2075" y="2054"/>
                  <a:pt x="2076" y="2055"/>
                  <a:pt x="2077" y="2056"/>
                </a:cubicBezTo>
                <a:cubicBezTo>
                  <a:pt x="2078" y="2056"/>
                  <a:pt x="2080" y="2057"/>
                  <a:pt x="2081" y="2058"/>
                </a:cubicBezTo>
                <a:cubicBezTo>
                  <a:pt x="2082" y="2059"/>
                  <a:pt x="2081" y="2060"/>
                  <a:pt x="2082" y="2061"/>
                </a:cubicBezTo>
                <a:cubicBezTo>
                  <a:pt x="2082" y="2063"/>
                  <a:pt x="2082" y="2064"/>
                  <a:pt x="2083" y="2066"/>
                </a:cubicBezTo>
                <a:cubicBezTo>
                  <a:pt x="2084" y="2069"/>
                  <a:pt x="2085" y="2072"/>
                  <a:pt x="2085" y="2075"/>
                </a:cubicBezTo>
                <a:cubicBezTo>
                  <a:pt x="2085" y="2076"/>
                  <a:pt x="2086" y="2078"/>
                  <a:pt x="2086" y="2079"/>
                </a:cubicBezTo>
                <a:cubicBezTo>
                  <a:pt x="2087" y="2080"/>
                  <a:pt x="2087" y="2082"/>
                  <a:pt x="2088" y="2083"/>
                </a:cubicBezTo>
                <a:cubicBezTo>
                  <a:pt x="2088" y="2084"/>
                  <a:pt x="2088" y="2084"/>
                  <a:pt x="2088" y="2085"/>
                </a:cubicBezTo>
                <a:cubicBezTo>
                  <a:pt x="2089" y="2086"/>
                  <a:pt x="2088" y="2086"/>
                  <a:pt x="2089" y="2087"/>
                </a:cubicBezTo>
                <a:cubicBezTo>
                  <a:pt x="2090" y="2088"/>
                  <a:pt x="2091" y="2088"/>
                  <a:pt x="2092" y="2088"/>
                </a:cubicBezTo>
                <a:cubicBezTo>
                  <a:pt x="2093" y="2088"/>
                  <a:pt x="2094" y="2089"/>
                  <a:pt x="2095" y="2089"/>
                </a:cubicBezTo>
                <a:cubicBezTo>
                  <a:pt x="2096" y="2090"/>
                  <a:pt x="2097" y="2090"/>
                  <a:pt x="2098" y="2091"/>
                </a:cubicBezTo>
                <a:cubicBezTo>
                  <a:pt x="2099" y="2092"/>
                  <a:pt x="2099" y="2093"/>
                  <a:pt x="2100" y="2094"/>
                </a:cubicBezTo>
                <a:cubicBezTo>
                  <a:pt x="2101" y="2095"/>
                  <a:pt x="2101" y="2095"/>
                  <a:pt x="2102" y="2096"/>
                </a:cubicBezTo>
                <a:cubicBezTo>
                  <a:pt x="2102" y="2097"/>
                  <a:pt x="2103" y="2098"/>
                  <a:pt x="2104" y="2099"/>
                </a:cubicBezTo>
                <a:cubicBezTo>
                  <a:pt x="2105" y="2101"/>
                  <a:pt x="2106" y="2101"/>
                  <a:pt x="2107" y="2103"/>
                </a:cubicBezTo>
                <a:cubicBezTo>
                  <a:pt x="2108" y="2104"/>
                  <a:pt x="2108" y="2105"/>
                  <a:pt x="2109" y="2105"/>
                </a:cubicBezTo>
                <a:cubicBezTo>
                  <a:pt x="2110" y="2106"/>
                  <a:pt x="2111" y="2108"/>
                  <a:pt x="2112" y="2109"/>
                </a:cubicBezTo>
                <a:cubicBezTo>
                  <a:pt x="2113" y="2110"/>
                  <a:pt x="2113" y="2112"/>
                  <a:pt x="2113" y="2113"/>
                </a:cubicBezTo>
                <a:cubicBezTo>
                  <a:pt x="2113" y="2115"/>
                  <a:pt x="2113" y="2116"/>
                  <a:pt x="2114" y="2117"/>
                </a:cubicBezTo>
                <a:cubicBezTo>
                  <a:pt x="2115" y="2119"/>
                  <a:pt x="2116" y="2120"/>
                  <a:pt x="2117" y="2121"/>
                </a:cubicBezTo>
                <a:cubicBezTo>
                  <a:pt x="2118" y="2124"/>
                  <a:pt x="2121" y="2126"/>
                  <a:pt x="2122" y="2129"/>
                </a:cubicBezTo>
                <a:cubicBezTo>
                  <a:pt x="2124" y="2132"/>
                  <a:pt x="2124" y="2135"/>
                  <a:pt x="2125" y="2138"/>
                </a:cubicBezTo>
                <a:cubicBezTo>
                  <a:pt x="2127" y="2144"/>
                  <a:pt x="2130" y="2148"/>
                  <a:pt x="2135" y="2153"/>
                </a:cubicBezTo>
                <a:cubicBezTo>
                  <a:pt x="2224" y="2153"/>
                  <a:pt x="2224" y="2153"/>
                  <a:pt x="2224" y="2153"/>
                </a:cubicBezTo>
                <a:cubicBezTo>
                  <a:pt x="2224" y="2153"/>
                  <a:pt x="2224" y="2153"/>
                  <a:pt x="2224" y="2153"/>
                </a:cubicBezTo>
                <a:cubicBezTo>
                  <a:pt x="2224" y="2152"/>
                  <a:pt x="2224" y="2151"/>
                  <a:pt x="2224" y="2150"/>
                </a:cubicBezTo>
                <a:close/>
                <a:moveTo>
                  <a:pt x="2114" y="2150"/>
                </a:moveTo>
                <a:cubicBezTo>
                  <a:pt x="2113" y="2150"/>
                  <a:pt x="2113" y="2149"/>
                  <a:pt x="2112" y="2149"/>
                </a:cubicBezTo>
                <a:cubicBezTo>
                  <a:pt x="2112" y="2148"/>
                  <a:pt x="2111" y="2148"/>
                  <a:pt x="2111" y="2147"/>
                </a:cubicBezTo>
                <a:cubicBezTo>
                  <a:pt x="2110" y="2147"/>
                  <a:pt x="2110" y="2147"/>
                  <a:pt x="2110" y="2146"/>
                </a:cubicBezTo>
                <a:cubicBezTo>
                  <a:pt x="2109" y="2145"/>
                  <a:pt x="2109" y="2144"/>
                  <a:pt x="2109" y="2143"/>
                </a:cubicBezTo>
                <a:cubicBezTo>
                  <a:pt x="2109" y="2143"/>
                  <a:pt x="2108" y="2142"/>
                  <a:pt x="2107" y="2142"/>
                </a:cubicBezTo>
                <a:cubicBezTo>
                  <a:pt x="2106" y="2140"/>
                  <a:pt x="2106" y="2143"/>
                  <a:pt x="2106" y="2144"/>
                </a:cubicBezTo>
                <a:cubicBezTo>
                  <a:pt x="2106" y="2145"/>
                  <a:pt x="2106" y="2147"/>
                  <a:pt x="2107" y="2148"/>
                </a:cubicBezTo>
                <a:cubicBezTo>
                  <a:pt x="2108" y="2149"/>
                  <a:pt x="2108" y="2147"/>
                  <a:pt x="2110" y="2148"/>
                </a:cubicBezTo>
                <a:cubicBezTo>
                  <a:pt x="2111" y="2148"/>
                  <a:pt x="2112" y="2150"/>
                  <a:pt x="2112" y="2152"/>
                </a:cubicBezTo>
                <a:cubicBezTo>
                  <a:pt x="2112" y="2152"/>
                  <a:pt x="2112" y="2152"/>
                  <a:pt x="2112" y="2153"/>
                </a:cubicBezTo>
                <a:cubicBezTo>
                  <a:pt x="2115" y="2153"/>
                  <a:pt x="2115" y="2153"/>
                  <a:pt x="2115" y="2153"/>
                </a:cubicBezTo>
                <a:cubicBezTo>
                  <a:pt x="2115" y="2152"/>
                  <a:pt x="2115" y="2151"/>
                  <a:pt x="2114" y="2150"/>
                </a:cubicBezTo>
                <a:close/>
                <a:moveTo>
                  <a:pt x="2267" y="2146"/>
                </a:moveTo>
                <a:cubicBezTo>
                  <a:pt x="2267" y="2146"/>
                  <a:pt x="2267" y="2145"/>
                  <a:pt x="2266" y="2145"/>
                </a:cubicBezTo>
                <a:cubicBezTo>
                  <a:pt x="2265" y="2144"/>
                  <a:pt x="2263" y="2144"/>
                  <a:pt x="2262" y="2143"/>
                </a:cubicBezTo>
                <a:cubicBezTo>
                  <a:pt x="2261" y="2142"/>
                  <a:pt x="2259" y="2141"/>
                  <a:pt x="2258" y="2142"/>
                </a:cubicBezTo>
                <a:cubicBezTo>
                  <a:pt x="2257" y="2143"/>
                  <a:pt x="2257" y="2145"/>
                  <a:pt x="2257" y="2146"/>
                </a:cubicBezTo>
                <a:cubicBezTo>
                  <a:pt x="2256" y="2146"/>
                  <a:pt x="2256" y="2147"/>
                  <a:pt x="2255" y="2147"/>
                </a:cubicBezTo>
                <a:cubicBezTo>
                  <a:pt x="2254" y="2148"/>
                  <a:pt x="2253" y="2148"/>
                  <a:pt x="2253" y="2149"/>
                </a:cubicBezTo>
                <a:cubicBezTo>
                  <a:pt x="2254" y="2150"/>
                  <a:pt x="2255" y="2151"/>
                  <a:pt x="2255" y="2151"/>
                </a:cubicBezTo>
                <a:cubicBezTo>
                  <a:pt x="2255" y="2152"/>
                  <a:pt x="2255" y="2152"/>
                  <a:pt x="2255" y="2153"/>
                </a:cubicBezTo>
                <a:cubicBezTo>
                  <a:pt x="2267" y="2153"/>
                  <a:pt x="2267" y="2153"/>
                  <a:pt x="2267" y="2153"/>
                </a:cubicBezTo>
                <a:cubicBezTo>
                  <a:pt x="2267" y="2153"/>
                  <a:pt x="2267" y="2153"/>
                  <a:pt x="2267" y="2152"/>
                </a:cubicBezTo>
                <a:cubicBezTo>
                  <a:pt x="2268" y="2151"/>
                  <a:pt x="2270" y="2150"/>
                  <a:pt x="2268" y="2148"/>
                </a:cubicBezTo>
                <a:cubicBezTo>
                  <a:pt x="2268" y="2147"/>
                  <a:pt x="2268" y="2147"/>
                  <a:pt x="2267" y="2146"/>
                </a:cubicBezTo>
                <a:close/>
                <a:moveTo>
                  <a:pt x="2240" y="2150"/>
                </a:moveTo>
                <a:cubicBezTo>
                  <a:pt x="2240" y="2149"/>
                  <a:pt x="2239" y="2149"/>
                  <a:pt x="2239" y="2150"/>
                </a:cubicBezTo>
                <a:cubicBezTo>
                  <a:pt x="2238" y="2150"/>
                  <a:pt x="2238" y="2151"/>
                  <a:pt x="2237" y="2151"/>
                </a:cubicBezTo>
                <a:cubicBezTo>
                  <a:pt x="2236" y="2151"/>
                  <a:pt x="2236" y="2150"/>
                  <a:pt x="2236" y="2150"/>
                </a:cubicBezTo>
                <a:cubicBezTo>
                  <a:pt x="2236" y="2149"/>
                  <a:pt x="2236" y="2148"/>
                  <a:pt x="2236" y="2147"/>
                </a:cubicBezTo>
                <a:cubicBezTo>
                  <a:pt x="2237" y="2147"/>
                  <a:pt x="2237" y="2147"/>
                  <a:pt x="2238" y="2146"/>
                </a:cubicBezTo>
                <a:cubicBezTo>
                  <a:pt x="2238" y="2146"/>
                  <a:pt x="2238" y="2145"/>
                  <a:pt x="2239" y="2145"/>
                </a:cubicBezTo>
                <a:cubicBezTo>
                  <a:pt x="2239" y="2144"/>
                  <a:pt x="2240" y="2144"/>
                  <a:pt x="2241" y="2144"/>
                </a:cubicBezTo>
                <a:cubicBezTo>
                  <a:pt x="2242" y="2142"/>
                  <a:pt x="2238" y="2142"/>
                  <a:pt x="2238" y="2142"/>
                </a:cubicBezTo>
                <a:cubicBezTo>
                  <a:pt x="2236" y="2142"/>
                  <a:pt x="2235" y="2142"/>
                  <a:pt x="2233" y="2142"/>
                </a:cubicBezTo>
                <a:cubicBezTo>
                  <a:pt x="2232" y="2142"/>
                  <a:pt x="2231" y="2141"/>
                  <a:pt x="2230" y="2140"/>
                </a:cubicBezTo>
                <a:cubicBezTo>
                  <a:pt x="2229" y="2139"/>
                  <a:pt x="2229" y="2137"/>
                  <a:pt x="2228" y="2136"/>
                </a:cubicBezTo>
                <a:cubicBezTo>
                  <a:pt x="2228" y="2134"/>
                  <a:pt x="2228" y="2133"/>
                  <a:pt x="2227" y="2131"/>
                </a:cubicBezTo>
                <a:cubicBezTo>
                  <a:pt x="2226" y="2130"/>
                  <a:pt x="2226" y="2129"/>
                  <a:pt x="2226" y="2127"/>
                </a:cubicBezTo>
                <a:cubicBezTo>
                  <a:pt x="2226" y="2126"/>
                  <a:pt x="2226" y="2126"/>
                  <a:pt x="2226" y="2125"/>
                </a:cubicBezTo>
                <a:cubicBezTo>
                  <a:pt x="2225" y="2124"/>
                  <a:pt x="2225" y="2124"/>
                  <a:pt x="2224" y="2123"/>
                </a:cubicBezTo>
                <a:cubicBezTo>
                  <a:pt x="2224" y="2122"/>
                  <a:pt x="2222" y="2121"/>
                  <a:pt x="2221" y="2122"/>
                </a:cubicBezTo>
                <a:cubicBezTo>
                  <a:pt x="2220" y="2122"/>
                  <a:pt x="2220" y="2123"/>
                  <a:pt x="2219" y="2123"/>
                </a:cubicBezTo>
                <a:cubicBezTo>
                  <a:pt x="2219" y="2123"/>
                  <a:pt x="2218" y="2122"/>
                  <a:pt x="2217" y="2123"/>
                </a:cubicBezTo>
                <a:cubicBezTo>
                  <a:pt x="2217" y="2124"/>
                  <a:pt x="2221" y="2124"/>
                  <a:pt x="2219" y="2125"/>
                </a:cubicBezTo>
                <a:cubicBezTo>
                  <a:pt x="2218" y="2126"/>
                  <a:pt x="2217" y="2123"/>
                  <a:pt x="2216" y="2123"/>
                </a:cubicBezTo>
                <a:cubicBezTo>
                  <a:pt x="2215" y="2122"/>
                  <a:pt x="2214" y="2123"/>
                  <a:pt x="2213" y="2124"/>
                </a:cubicBezTo>
                <a:cubicBezTo>
                  <a:pt x="2212" y="2124"/>
                  <a:pt x="2212" y="2124"/>
                  <a:pt x="2211" y="2125"/>
                </a:cubicBezTo>
                <a:cubicBezTo>
                  <a:pt x="2210" y="2125"/>
                  <a:pt x="2210" y="2126"/>
                  <a:pt x="2211" y="2127"/>
                </a:cubicBezTo>
                <a:cubicBezTo>
                  <a:pt x="2211" y="2127"/>
                  <a:pt x="2212" y="2127"/>
                  <a:pt x="2212" y="2128"/>
                </a:cubicBezTo>
                <a:cubicBezTo>
                  <a:pt x="2212" y="2128"/>
                  <a:pt x="2211" y="2129"/>
                  <a:pt x="2211" y="2129"/>
                </a:cubicBezTo>
                <a:cubicBezTo>
                  <a:pt x="2209" y="2130"/>
                  <a:pt x="2208" y="2130"/>
                  <a:pt x="2207" y="2132"/>
                </a:cubicBezTo>
                <a:cubicBezTo>
                  <a:pt x="2206" y="2134"/>
                  <a:pt x="2208" y="2133"/>
                  <a:pt x="2210" y="2134"/>
                </a:cubicBezTo>
                <a:cubicBezTo>
                  <a:pt x="2211" y="2134"/>
                  <a:pt x="2211" y="2134"/>
                  <a:pt x="2213" y="2134"/>
                </a:cubicBezTo>
                <a:cubicBezTo>
                  <a:pt x="2213" y="2134"/>
                  <a:pt x="2214" y="2133"/>
                  <a:pt x="2214" y="2133"/>
                </a:cubicBezTo>
                <a:cubicBezTo>
                  <a:pt x="2215" y="2133"/>
                  <a:pt x="2215" y="2134"/>
                  <a:pt x="2216" y="2134"/>
                </a:cubicBezTo>
                <a:cubicBezTo>
                  <a:pt x="2217" y="2134"/>
                  <a:pt x="2218" y="2133"/>
                  <a:pt x="2219" y="2134"/>
                </a:cubicBezTo>
                <a:cubicBezTo>
                  <a:pt x="2220" y="2135"/>
                  <a:pt x="2219" y="2137"/>
                  <a:pt x="2220" y="2138"/>
                </a:cubicBezTo>
                <a:cubicBezTo>
                  <a:pt x="2221" y="2139"/>
                  <a:pt x="2221" y="2140"/>
                  <a:pt x="2222" y="2141"/>
                </a:cubicBezTo>
                <a:cubicBezTo>
                  <a:pt x="2223" y="2142"/>
                  <a:pt x="2223" y="2143"/>
                  <a:pt x="2223" y="2145"/>
                </a:cubicBezTo>
                <a:cubicBezTo>
                  <a:pt x="2223" y="2146"/>
                  <a:pt x="2224" y="2148"/>
                  <a:pt x="2225" y="2148"/>
                </a:cubicBezTo>
                <a:cubicBezTo>
                  <a:pt x="2227" y="2149"/>
                  <a:pt x="2228" y="2149"/>
                  <a:pt x="2229" y="2150"/>
                </a:cubicBezTo>
                <a:cubicBezTo>
                  <a:pt x="2230" y="2151"/>
                  <a:pt x="2230" y="2152"/>
                  <a:pt x="2232" y="2152"/>
                </a:cubicBezTo>
                <a:cubicBezTo>
                  <a:pt x="2233" y="2152"/>
                  <a:pt x="2234" y="2152"/>
                  <a:pt x="2235" y="2153"/>
                </a:cubicBezTo>
                <a:cubicBezTo>
                  <a:pt x="2239" y="2153"/>
                  <a:pt x="2239" y="2153"/>
                  <a:pt x="2239" y="2153"/>
                </a:cubicBezTo>
                <a:cubicBezTo>
                  <a:pt x="2239" y="2152"/>
                  <a:pt x="2239" y="2152"/>
                  <a:pt x="2240" y="2152"/>
                </a:cubicBezTo>
                <a:cubicBezTo>
                  <a:pt x="2241" y="2151"/>
                  <a:pt x="2241" y="2152"/>
                  <a:pt x="2241" y="2151"/>
                </a:cubicBezTo>
                <a:cubicBezTo>
                  <a:pt x="2241" y="2150"/>
                  <a:pt x="2241" y="2150"/>
                  <a:pt x="2240" y="2150"/>
                </a:cubicBezTo>
                <a:close/>
                <a:moveTo>
                  <a:pt x="50" y="901"/>
                </a:moveTo>
                <a:cubicBezTo>
                  <a:pt x="49" y="900"/>
                  <a:pt x="50" y="898"/>
                  <a:pt x="48" y="899"/>
                </a:cubicBezTo>
                <a:cubicBezTo>
                  <a:pt x="48" y="900"/>
                  <a:pt x="48" y="900"/>
                  <a:pt x="47" y="901"/>
                </a:cubicBezTo>
                <a:cubicBezTo>
                  <a:pt x="47" y="901"/>
                  <a:pt x="46" y="901"/>
                  <a:pt x="46" y="902"/>
                </a:cubicBezTo>
                <a:cubicBezTo>
                  <a:pt x="45" y="902"/>
                  <a:pt x="45" y="903"/>
                  <a:pt x="45" y="903"/>
                </a:cubicBezTo>
                <a:cubicBezTo>
                  <a:pt x="44" y="904"/>
                  <a:pt x="44" y="904"/>
                  <a:pt x="43" y="904"/>
                </a:cubicBezTo>
                <a:cubicBezTo>
                  <a:pt x="42" y="905"/>
                  <a:pt x="41" y="907"/>
                  <a:pt x="42" y="908"/>
                </a:cubicBezTo>
                <a:cubicBezTo>
                  <a:pt x="42" y="909"/>
                  <a:pt x="44" y="909"/>
                  <a:pt x="45" y="908"/>
                </a:cubicBezTo>
                <a:cubicBezTo>
                  <a:pt x="46" y="908"/>
                  <a:pt x="46" y="907"/>
                  <a:pt x="47" y="906"/>
                </a:cubicBezTo>
                <a:cubicBezTo>
                  <a:pt x="47" y="906"/>
                  <a:pt x="48" y="906"/>
                  <a:pt x="48" y="905"/>
                </a:cubicBezTo>
                <a:cubicBezTo>
                  <a:pt x="49" y="905"/>
                  <a:pt x="49" y="905"/>
                  <a:pt x="49" y="904"/>
                </a:cubicBezTo>
                <a:cubicBezTo>
                  <a:pt x="50" y="903"/>
                  <a:pt x="51" y="903"/>
                  <a:pt x="51" y="902"/>
                </a:cubicBezTo>
                <a:cubicBezTo>
                  <a:pt x="50" y="901"/>
                  <a:pt x="50" y="901"/>
                  <a:pt x="50" y="901"/>
                </a:cubicBezTo>
                <a:close/>
                <a:moveTo>
                  <a:pt x="13" y="794"/>
                </a:moveTo>
                <a:cubicBezTo>
                  <a:pt x="13" y="794"/>
                  <a:pt x="13" y="793"/>
                  <a:pt x="13" y="793"/>
                </a:cubicBezTo>
                <a:cubicBezTo>
                  <a:pt x="14" y="793"/>
                  <a:pt x="14" y="793"/>
                  <a:pt x="14" y="793"/>
                </a:cubicBezTo>
                <a:cubicBezTo>
                  <a:pt x="15" y="792"/>
                  <a:pt x="14" y="791"/>
                  <a:pt x="13" y="792"/>
                </a:cubicBezTo>
                <a:cubicBezTo>
                  <a:pt x="12" y="792"/>
                  <a:pt x="11" y="793"/>
                  <a:pt x="13" y="794"/>
                </a:cubicBezTo>
                <a:close/>
                <a:moveTo>
                  <a:pt x="22" y="815"/>
                </a:moveTo>
                <a:cubicBezTo>
                  <a:pt x="22" y="816"/>
                  <a:pt x="22" y="816"/>
                  <a:pt x="23" y="816"/>
                </a:cubicBezTo>
                <a:cubicBezTo>
                  <a:pt x="23" y="816"/>
                  <a:pt x="24" y="816"/>
                  <a:pt x="25" y="816"/>
                </a:cubicBezTo>
                <a:cubicBezTo>
                  <a:pt x="25" y="818"/>
                  <a:pt x="23" y="818"/>
                  <a:pt x="22" y="818"/>
                </a:cubicBezTo>
                <a:cubicBezTo>
                  <a:pt x="21" y="818"/>
                  <a:pt x="21" y="819"/>
                  <a:pt x="22" y="819"/>
                </a:cubicBezTo>
                <a:cubicBezTo>
                  <a:pt x="23" y="820"/>
                  <a:pt x="23" y="819"/>
                  <a:pt x="24" y="819"/>
                </a:cubicBezTo>
                <a:cubicBezTo>
                  <a:pt x="24" y="819"/>
                  <a:pt x="24" y="820"/>
                  <a:pt x="24" y="820"/>
                </a:cubicBezTo>
                <a:cubicBezTo>
                  <a:pt x="24" y="820"/>
                  <a:pt x="24" y="820"/>
                  <a:pt x="25" y="820"/>
                </a:cubicBezTo>
                <a:cubicBezTo>
                  <a:pt x="25" y="821"/>
                  <a:pt x="25" y="822"/>
                  <a:pt x="24" y="822"/>
                </a:cubicBezTo>
                <a:cubicBezTo>
                  <a:pt x="24" y="822"/>
                  <a:pt x="24" y="821"/>
                  <a:pt x="23" y="821"/>
                </a:cubicBezTo>
                <a:cubicBezTo>
                  <a:pt x="23" y="821"/>
                  <a:pt x="22" y="821"/>
                  <a:pt x="22" y="822"/>
                </a:cubicBezTo>
                <a:cubicBezTo>
                  <a:pt x="21" y="824"/>
                  <a:pt x="24" y="822"/>
                  <a:pt x="24" y="824"/>
                </a:cubicBezTo>
                <a:cubicBezTo>
                  <a:pt x="24" y="825"/>
                  <a:pt x="23" y="824"/>
                  <a:pt x="23" y="824"/>
                </a:cubicBezTo>
                <a:cubicBezTo>
                  <a:pt x="21" y="825"/>
                  <a:pt x="23" y="825"/>
                  <a:pt x="23" y="826"/>
                </a:cubicBezTo>
                <a:cubicBezTo>
                  <a:pt x="22" y="827"/>
                  <a:pt x="22" y="826"/>
                  <a:pt x="21" y="826"/>
                </a:cubicBezTo>
                <a:cubicBezTo>
                  <a:pt x="21" y="827"/>
                  <a:pt x="22" y="827"/>
                  <a:pt x="22" y="828"/>
                </a:cubicBezTo>
                <a:cubicBezTo>
                  <a:pt x="22" y="829"/>
                  <a:pt x="19" y="828"/>
                  <a:pt x="19" y="828"/>
                </a:cubicBezTo>
                <a:cubicBezTo>
                  <a:pt x="19" y="829"/>
                  <a:pt x="19" y="830"/>
                  <a:pt x="19" y="830"/>
                </a:cubicBezTo>
                <a:cubicBezTo>
                  <a:pt x="19" y="831"/>
                  <a:pt x="21" y="830"/>
                  <a:pt x="20" y="831"/>
                </a:cubicBezTo>
                <a:cubicBezTo>
                  <a:pt x="20" y="832"/>
                  <a:pt x="19" y="832"/>
                  <a:pt x="18" y="832"/>
                </a:cubicBezTo>
                <a:cubicBezTo>
                  <a:pt x="17" y="833"/>
                  <a:pt x="18" y="833"/>
                  <a:pt x="19" y="833"/>
                </a:cubicBezTo>
                <a:cubicBezTo>
                  <a:pt x="20" y="833"/>
                  <a:pt x="20" y="834"/>
                  <a:pt x="19" y="834"/>
                </a:cubicBezTo>
                <a:cubicBezTo>
                  <a:pt x="19" y="834"/>
                  <a:pt x="18" y="834"/>
                  <a:pt x="18" y="834"/>
                </a:cubicBezTo>
                <a:cubicBezTo>
                  <a:pt x="18" y="834"/>
                  <a:pt x="17" y="835"/>
                  <a:pt x="17" y="835"/>
                </a:cubicBezTo>
                <a:cubicBezTo>
                  <a:pt x="16" y="835"/>
                  <a:pt x="16" y="834"/>
                  <a:pt x="15" y="834"/>
                </a:cubicBezTo>
                <a:cubicBezTo>
                  <a:pt x="14" y="835"/>
                  <a:pt x="12" y="836"/>
                  <a:pt x="13" y="836"/>
                </a:cubicBezTo>
                <a:cubicBezTo>
                  <a:pt x="14" y="837"/>
                  <a:pt x="16" y="836"/>
                  <a:pt x="16" y="836"/>
                </a:cubicBezTo>
                <a:cubicBezTo>
                  <a:pt x="17" y="836"/>
                  <a:pt x="18" y="836"/>
                  <a:pt x="18" y="836"/>
                </a:cubicBezTo>
                <a:cubicBezTo>
                  <a:pt x="18" y="837"/>
                  <a:pt x="17" y="837"/>
                  <a:pt x="17" y="838"/>
                </a:cubicBezTo>
                <a:cubicBezTo>
                  <a:pt x="18" y="838"/>
                  <a:pt x="18" y="839"/>
                  <a:pt x="19" y="839"/>
                </a:cubicBezTo>
                <a:cubicBezTo>
                  <a:pt x="20" y="840"/>
                  <a:pt x="20" y="841"/>
                  <a:pt x="22" y="841"/>
                </a:cubicBezTo>
                <a:cubicBezTo>
                  <a:pt x="23" y="840"/>
                  <a:pt x="24" y="841"/>
                  <a:pt x="25" y="841"/>
                </a:cubicBezTo>
                <a:cubicBezTo>
                  <a:pt x="26" y="841"/>
                  <a:pt x="26" y="840"/>
                  <a:pt x="26" y="840"/>
                </a:cubicBezTo>
                <a:cubicBezTo>
                  <a:pt x="27" y="840"/>
                  <a:pt x="27" y="840"/>
                  <a:pt x="28" y="839"/>
                </a:cubicBezTo>
                <a:cubicBezTo>
                  <a:pt x="28" y="839"/>
                  <a:pt x="28" y="838"/>
                  <a:pt x="29" y="838"/>
                </a:cubicBezTo>
                <a:cubicBezTo>
                  <a:pt x="30" y="837"/>
                  <a:pt x="31" y="837"/>
                  <a:pt x="32" y="836"/>
                </a:cubicBezTo>
                <a:cubicBezTo>
                  <a:pt x="33" y="836"/>
                  <a:pt x="33" y="835"/>
                  <a:pt x="33" y="835"/>
                </a:cubicBezTo>
                <a:cubicBezTo>
                  <a:pt x="33" y="834"/>
                  <a:pt x="33" y="833"/>
                  <a:pt x="33" y="833"/>
                </a:cubicBezTo>
                <a:cubicBezTo>
                  <a:pt x="35" y="832"/>
                  <a:pt x="34" y="834"/>
                  <a:pt x="34" y="834"/>
                </a:cubicBezTo>
                <a:cubicBezTo>
                  <a:pt x="34" y="835"/>
                  <a:pt x="33" y="835"/>
                  <a:pt x="34" y="836"/>
                </a:cubicBezTo>
                <a:cubicBezTo>
                  <a:pt x="34" y="836"/>
                  <a:pt x="36" y="835"/>
                  <a:pt x="35" y="836"/>
                </a:cubicBezTo>
                <a:cubicBezTo>
                  <a:pt x="35" y="836"/>
                  <a:pt x="34" y="837"/>
                  <a:pt x="34" y="837"/>
                </a:cubicBezTo>
                <a:cubicBezTo>
                  <a:pt x="32" y="837"/>
                  <a:pt x="32" y="838"/>
                  <a:pt x="31" y="839"/>
                </a:cubicBezTo>
                <a:cubicBezTo>
                  <a:pt x="29" y="839"/>
                  <a:pt x="29" y="840"/>
                  <a:pt x="29" y="841"/>
                </a:cubicBezTo>
                <a:cubicBezTo>
                  <a:pt x="28" y="842"/>
                  <a:pt x="28" y="842"/>
                  <a:pt x="28" y="843"/>
                </a:cubicBezTo>
                <a:cubicBezTo>
                  <a:pt x="27" y="844"/>
                  <a:pt x="26" y="845"/>
                  <a:pt x="27" y="846"/>
                </a:cubicBezTo>
                <a:cubicBezTo>
                  <a:pt x="27" y="847"/>
                  <a:pt x="27" y="847"/>
                  <a:pt x="26" y="848"/>
                </a:cubicBezTo>
                <a:cubicBezTo>
                  <a:pt x="25" y="850"/>
                  <a:pt x="27" y="851"/>
                  <a:pt x="26" y="852"/>
                </a:cubicBezTo>
                <a:cubicBezTo>
                  <a:pt x="26" y="853"/>
                  <a:pt x="25" y="853"/>
                  <a:pt x="25" y="853"/>
                </a:cubicBezTo>
                <a:cubicBezTo>
                  <a:pt x="24" y="854"/>
                  <a:pt x="25" y="854"/>
                  <a:pt x="25" y="855"/>
                </a:cubicBezTo>
                <a:cubicBezTo>
                  <a:pt x="24" y="856"/>
                  <a:pt x="24" y="856"/>
                  <a:pt x="23" y="857"/>
                </a:cubicBezTo>
                <a:cubicBezTo>
                  <a:pt x="23" y="858"/>
                  <a:pt x="24" y="857"/>
                  <a:pt x="24" y="858"/>
                </a:cubicBezTo>
                <a:cubicBezTo>
                  <a:pt x="25" y="859"/>
                  <a:pt x="22" y="860"/>
                  <a:pt x="24" y="861"/>
                </a:cubicBezTo>
                <a:cubicBezTo>
                  <a:pt x="25" y="862"/>
                  <a:pt x="26" y="860"/>
                  <a:pt x="28" y="861"/>
                </a:cubicBezTo>
                <a:cubicBezTo>
                  <a:pt x="27" y="862"/>
                  <a:pt x="27" y="862"/>
                  <a:pt x="26" y="863"/>
                </a:cubicBezTo>
                <a:cubicBezTo>
                  <a:pt x="24" y="863"/>
                  <a:pt x="24" y="865"/>
                  <a:pt x="23" y="866"/>
                </a:cubicBezTo>
                <a:cubicBezTo>
                  <a:pt x="22" y="867"/>
                  <a:pt x="24" y="868"/>
                  <a:pt x="23" y="870"/>
                </a:cubicBezTo>
                <a:cubicBezTo>
                  <a:pt x="23" y="871"/>
                  <a:pt x="21" y="871"/>
                  <a:pt x="21" y="873"/>
                </a:cubicBezTo>
                <a:cubicBezTo>
                  <a:pt x="20" y="874"/>
                  <a:pt x="22" y="874"/>
                  <a:pt x="24" y="874"/>
                </a:cubicBezTo>
                <a:cubicBezTo>
                  <a:pt x="25" y="874"/>
                  <a:pt x="27" y="875"/>
                  <a:pt x="26" y="873"/>
                </a:cubicBezTo>
                <a:cubicBezTo>
                  <a:pt x="26" y="872"/>
                  <a:pt x="26" y="871"/>
                  <a:pt x="26" y="869"/>
                </a:cubicBezTo>
                <a:cubicBezTo>
                  <a:pt x="27" y="869"/>
                  <a:pt x="27" y="869"/>
                  <a:pt x="28" y="868"/>
                </a:cubicBezTo>
                <a:cubicBezTo>
                  <a:pt x="28" y="867"/>
                  <a:pt x="28" y="867"/>
                  <a:pt x="28" y="866"/>
                </a:cubicBezTo>
                <a:cubicBezTo>
                  <a:pt x="27" y="865"/>
                  <a:pt x="28" y="864"/>
                  <a:pt x="28" y="863"/>
                </a:cubicBezTo>
                <a:cubicBezTo>
                  <a:pt x="29" y="863"/>
                  <a:pt x="31" y="863"/>
                  <a:pt x="31" y="862"/>
                </a:cubicBezTo>
                <a:cubicBezTo>
                  <a:pt x="31" y="861"/>
                  <a:pt x="31" y="861"/>
                  <a:pt x="30" y="860"/>
                </a:cubicBezTo>
                <a:cubicBezTo>
                  <a:pt x="30" y="860"/>
                  <a:pt x="30" y="859"/>
                  <a:pt x="30" y="858"/>
                </a:cubicBezTo>
                <a:cubicBezTo>
                  <a:pt x="29" y="858"/>
                  <a:pt x="29" y="858"/>
                  <a:pt x="28" y="857"/>
                </a:cubicBezTo>
                <a:cubicBezTo>
                  <a:pt x="28" y="855"/>
                  <a:pt x="29" y="855"/>
                  <a:pt x="30" y="854"/>
                </a:cubicBezTo>
                <a:cubicBezTo>
                  <a:pt x="31" y="854"/>
                  <a:pt x="32" y="852"/>
                  <a:pt x="33" y="852"/>
                </a:cubicBezTo>
                <a:cubicBezTo>
                  <a:pt x="33" y="852"/>
                  <a:pt x="33" y="852"/>
                  <a:pt x="32" y="853"/>
                </a:cubicBezTo>
                <a:cubicBezTo>
                  <a:pt x="32" y="853"/>
                  <a:pt x="32" y="854"/>
                  <a:pt x="32" y="854"/>
                </a:cubicBezTo>
                <a:cubicBezTo>
                  <a:pt x="31" y="855"/>
                  <a:pt x="31" y="855"/>
                  <a:pt x="30" y="856"/>
                </a:cubicBezTo>
                <a:cubicBezTo>
                  <a:pt x="30" y="857"/>
                  <a:pt x="30" y="857"/>
                  <a:pt x="31" y="857"/>
                </a:cubicBezTo>
                <a:cubicBezTo>
                  <a:pt x="31" y="858"/>
                  <a:pt x="31" y="858"/>
                  <a:pt x="31" y="858"/>
                </a:cubicBezTo>
                <a:cubicBezTo>
                  <a:pt x="32" y="858"/>
                  <a:pt x="31" y="859"/>
                  <a:pt x="31" y="859"/>
                </a:cubicBezTo>
                <a:cubicBezTo>
                  <a:pt x="32" y="860"/>
                  <a:pt x="32" y="860"/>
                  <a:pt x="33" y="859"/>
                </a:cubicBezTo>
                <a:cubicBezTo>
                  <a:pt x="33" y="859"/>
                  <a:pt x="32" y="858"/>
                  <a:pt x="33" y="857"/>
                </a:cubicBezTo>
                <a:cubicBezTo>
                  <a:pt x="34" y="857"/>
                  <a:pt x="35" y="858"/>
                  <a:pt x="35" y="858"/>
                </a:cubicBezTo>
                <a:cubicBezTo>
                  <a:pt x="36" y="858"/>
                  <a:pt x="35" y="859"/>
                  <a:pt x="36" y="859"/>
                </a:cubicBezTo>
                <a:cubicBezTo>
                  <a:pt x="37" y="860"/>
                  <a:pt x="37" y="860"/>
                  <a:pt x="37" y="859"/>
                </a:cubicBezTo>
                <a:cubicBezTo>
                  <a:pt x="38" y="859"/>
                  <a:pt x="39" y="858"/>
                  <a:pt x="39" y="858"/>
                </a:cubicBezTo>
                <a:cubicBezTo>
                  <a:pt x="40" y="857"/>
                  <a:pt x="39" y="855"/>
                  <a:pt x="39" y="854"/>
                </a:cubicBezTo>
                <a:cubicBezTo>
                  <a:pt x="40" y="853"/>
                  <a:pt x="40" y="853"/>
                  <a:pt x="40" y="852"/>
                </a:cubicBezTo>
                <a:cubicBezTo>
                  <a:pt x="40" y="852"/>
                  <a:pt x="40" y="851"/>
                  <a:pt x="41" y="851"/>
                </a:cubicBezTo>
                <a:cubicBezTo>
                  <a:pt x="43" y="851"/>
                  <a:pt x="42" y="853"/>
                  <a:pt x="42" y="854"/>
                </a:cubicBezTo>
                <a:cubicBezTo>
                  <a:pt x="42" y="855"/>
                  <a:pt x="44" y="856"/>
                  <a:pt x="44" y="857"/>
                </a:cubicBezTo>
                <a:cubicBezTo>
                  <a:pt x="43" y="857"/>
                  <a:pt x="43" y="857"/>
                  <a:pt x="42" y="857"/>
                </a:cubicBezTo>
                <a:cubicBezTo>
                  <a:pt x="42" y="857"/>
                  <a:pt x="41" y="856"/>
                  <a:pt x="41" y="856"/>
                </a:cubicBezTo>
                <a:cubicBezTo>
                  <a:pt x="39" y="857"/>
                  <a:pt x="40" y="858"/>
                  <a:pt x="40" y="859"/>
                </a:cubicBezTo>
                <a:cubicBezTo>
                  <a:pt x="41" y="861"/>
                  <a:pt x="40" y="861"/>
                  <a:pt x="40" y="863"/>
                </a:cubicBezTo>
                <a:cubicBezTo>
                  <a:pt x="39" y="864"/>
                  <a:pt x="40" y="865"/>
                  <a:pt x="40" y="865"/>
                </a:cubicBezTo>
                <a:cubicBezTo>
                  <a:pt x="41" y="865"/>
                  <a:pt x="41" y="865"/>
                  <a:pt x="41" y="865"/>
                </a:cubicBezTo>
                <a:cubicBezTo>
                  <a:pt x="42" y="866"/>
                  <a:pt x="42" y="866"/>
                  <a:pt x="43" y="866"/>
                </a:cubicBezTo>
                <a:cubicBezTo>
                  <a:pt x="44" y="867"/>
                  <a:pt x="44" y="868"/>
                  <a:pt x="43" y="870"/>
                </a:cubicBezTo>
                <a:cubicBezTo>
                  <a:pt x="43" y="871"/>
                  <a:pt x="43" y="872"/>
                  <a:pt x="43" y="874"/>
                </a:cubicBezTo>
                <a:cubicBezTo>
                  <a:pt x="42" y="875"/>
                  <a:pt x="41" y="876"/>
                  <a:pt x="40" y="876"/>
                </a:cubicBezTo>
                <a:cubicBezTo>
                  <a:pt x="39" y="878"/>
                  <a:pt x="38" y="879"/>
                  <a:pt x="38" y="881"/>
                </a:cubicBezTo>
                <a:cubicBezTo>
                  <a:pt x="37" y="882"/>
                  <a:pt x="37" y="884"/>
                  <a:pt x="36" y="884"/>
                </a:cubicBezTo>
                <a:cubicBezTo>
                  <a:pt x="35" y="885"/>
                  <a:pt x="34" y="883"/>
                  <a:pt x="33" y="885"/>
                </a:cubicBezTo>
                <a:cubicBezTo>
                  <a:pt x="33" y="886"/>
                  <a:pt x="34" y="887"/>
                  <a:pt x="35" y="887"/>
                </a:cubicBezTo>
                <a:cubicBezTo>
                  <a:pt x="36" y="888"/>
                  <a:pt x="36" y="889"/>
                  <a:pt x="37" y="890"/>
                </a:cubicBezTo>
                <a:cubicBezTo>
                  <a:pt x="37" y="891"/>
                  <a:pt x="38" y="893"/>
                  <a:pt x="39" y="893"/>
                </a:cubicBezTo>
                <a:cubicBezTo>
                  <a:pt x="41" y="894"/>
                  <a:pt x="39" y="891"/>
                  <a:pt x="38" y="890"/>
                </a:cubicBezTo>
                <a:cubicBezTo>
                  <a:pt x="36" y="887"/>
                  <a:pt x="41" y="886"/>
                  <a:pt x="43" y="888"/>
                </a:cubicBezTo>
                <a:cubicBezTo>
                  <a:pt x="43" y="888"/>
                  <a:pt x="43" y="889"/>
                  <a:pt x="44" y="889"/>
                </a:cubicBezTo>
                <a:cubicBezTo>
                  <a:pt x="44" y="890"/>
                  <a:pt x="45" y="890"/>
                  <a:pt x="45" y="890"/>
                </a:cubicBezTo>
                <a:cubicBezTo>
                  <a:pt x="46" y="891"/>
                  <a:pt x="47" y="892"/>
                  <a:pt x="48" y="892"/>
                </a:cubicBezTo>
                <a:cubicBezTo>
                  <a:pt x="50" y="892"/>
                  <a:pt x="49" y="892"/>
                  <a:pt x="49" y="891"/>
                </a:cubicBezTo>
                <a:cubicBezTo>
                  <a:pt x="49" y="890"/>
                  <a:pt x="50" y="890"/>
                  <a:pt x="50" y="889"/>
                </a:cubicBezTo>
                <a:cubicBezTo>
                  <a:pt x="50" y="888"/>
                  <a:pt x="48" y="888"/>
                  <a:pt x="48" y="887"/>
                </a:cubicBezTo>
                <a:cubicBezTo>
                  <a:pt x="48" y="887"/>
                  <a:pt x="48" y="886"/>
                  <a:pt x="48" y="886"/>
                </a:cubicBezTo>
                <a:cubicBezTo>
                  <a:pt x="49" y="885"/>
                  <a:pt x="49" y="886"/>
                  <a:pt x="50" y="886"/>
                </a:cubicBezTo>
                <a:cubicBezTo>
                  <a:pt x="51" y="886"/>
                  <a:pt x="52" y="887"/>
                  <a:pt x="52" y="888"/>
                </a:cubicBezTo>
                <a:cubicBezTo>
                  <a:pt x="53" y="888"/>
                  <a:pt x="53" y="889"/>
                  <a:pt x="54" y="890"/>
                </a:cubicBezTo>
                <a:cubicBezTo>
                  <a:pt x="55" y="890"/>
                  <a:pt x="55" y="889"/>
                  <a:pt x="56" y="889"/>
                </a:cubicBezTo>
                <a:cubicBezTo>
                  <a:pt x="57" y="889"/>
                  <a:pt x="56" y="890"/>
                  <a:pt x="57" y="890"/>
                </a:cubicBezTo>
                <a:cubicBezTo>
                  <a:pt x="58" y="890"/>
                  <a:pt x="58" y="889"/>
                  <a:pt x="59" y="888"/>
                </a:cubicBezTo>
                <a:cubicBezTo>
                  <a:pt x="59" y="888"/>
                  <a:pt x="60" y="888"/>
                  <a:pt x="61" y="887"/>
                </a:cubicBezTo>
                <a:cubicBezTo>
                  <a:pt x="62" y="887"/>
                  <a:pt x="62" y="887"/>
                  <a:pt x="62" y="886"/>
                </a:cubicBezTo>
                <a:cubicBezTo>
                  <a:pt x="63" y="885"/>
                  <a:pt x="63" y="885"/>
                  <a:pt x="64" y="885"/>
                </a:cubicBezTo>
                <a:cubicBezTo>
                  <a:pt x="64" y="885"/>
                  <a:pt x="64" y="885"/>
                  <a:pt x="65" y="884"/>
                </a:cubicBezTo>
                <a:cubicBezTo>
                  <a:pt x="65" y="883"/>
                  <a:pt x="67" y="883"/>
                  <a:pt x="68" y="883"/>
                </a:cubicBezTo>
                <a:cubicBezTo>
                  <a:pt x="69" y="883"/>
                  <a:pt x="73" y="882"/>
                  <a:pt x="73" y="884"/>
                </a:cubicBezTo>
                <a:cubicBezTo>
                  <a:pt x="72" y="884"/>
                  <a:pt x="72" y="884"/>
                  <a:pt x="71" y="884"/>
                </a:cubicBezTo>
                <a:cubicBezTo>
                  <a:pt x="71" y="884"/>
                  <a:pt x="71" y="884"/>
                  <a:pt x="71" y="885"/>
                </a:cubicBezTo>
                <a:cubicBezTo>
                  <a:pt x="70" y="885"/>
                  <a:pt x="70" y="885"/>
                  <a:pt x="70" y="885"/>
                </a:cubicBezTo>
                <a:cubicBezTo>
                  <a:pt x="69" y="885"/>
                  <a:pt x="69" y="885"/>
                  <a:pt x="69" y="886"/>
                </a:cubicBezTo>
                <a:cubicBezTo>
                  <a:pt x="69" y="887"/>
                  <a:pt x="68" y="888"/>
                  <a:pt x="67" y="889"/>
                </a:cubicBezTo>
                <a:cubicBezTo>
                  <a:pt x="66" y="890"/>
                  <a:pt x="66" y="891"/>
                  <a:pt x="66" y="892"/>
                </a:cubicBezTo>
                <a:cubicBezTo>
                  <a:pt x="65" y="893"/>
                  <a:pt x="64" y="894"/>
                  <a:pt x="64" y="895"/>
                </a:cubicBezTo>
                <a:cubicBezTo>
                  <a:pt x="64" y="897"/>
                  <a:pt x="64" y="898"/>
                  <a:pt x="65" y="899"/>
                </a:cubicBezTo>
                <a:cubicBezTo>
                  <a:pt x="67" y="900"/>
                  <a:pt x="67" y="902"/>
                  <a:pt x="69" y="903"/>
                </a:cubicBezTo>
                <a:cubicBezTo>
                  <a:pt x="69" y="903"/>
                  <a:pt x="69" y="903"/>
                  <a:pt x="69" y="904"/>
                </a:cubicBezTo>
                <a:cubicBezTo>
                  <a:pt x="69" y="904"/>
                  <a:pt x="69" y="905"/>
                  <a:pt x="70" y="905"/>
                </a:cubicBezTo>
                <a:cubicBezTo>
                  <a:pt x="70" y="905"/>
                  <a:pt x="71" y="905"/>
                  <a:pt x="71" y="905"/>
                </a:cubicBezTo>
                <a:cubicBezTo>
                  <a:pt x="72" y="906"/>
                  <a:pt x="72" y="906"/>
                  <a:pt x="72" y="907"/>
                </a:cubicBezTo>
                <a:cubicBezTo>
                  <a:pt x="71" y="909"/>
                  <a:pt x="73" y="909"/>
                  <a:pt x="74" y="908"/>
                </a:cubicBezTo>
                <a:cubicBezTo>
                  <a:pt x="75" y="907"/>
                  <a:pt x="75" y="906"/>
                  <a:pt x="75" y="906"/>
                </a:cubicBezTo>
                <a:cubicBezTo>
                  <a:pt x="76" y="906"/>
                  <a:pt x="76" y="905"/>
                  <a:pt x="76" y="905"/>
                </a:cubicBezTo>
                <a:cubicBezTo>
                  <a:pt x="76" y="905"/>
                  <a:pt x="76" y="904"/>
                  <a:pt x="77" y="904"/>
                </a:cubicBezTo>
                <a:cubicBezTo>
                  <a:pt x="77" y="904"/>
                  <a:pt x="78" y="905"/>
                  <a:pt x="78" y="905"/>
                </a:cubicBezTo>
                <a:cubicBezTo>
                  <a:pt x="78" y="906"/>
                  <a:pt x="78" y="907"/>
                  <a:pt x="77" y="907"/>
                </a:cubicBezTo>
                <a:cubicBezTo>
                  <a:pt x="77" y="907"/>
                  <a:pt x="76" y="908"/>
                  <a:pt x="76" y="908"/>
                </a:cubicBezTo>
                <a:cubicBezTo>
                  <a:pt x="76" y="909"/>
                  <a:pt x="76" y="909"/>
                  <a:pt x="77" y="909"/>
                </a:cubicBezTo>
                <a:cubicBezTo>
                  <a:pt x="77" y="910"/>
                  <a:pt x="76" y="910"/>
                  <a:pt x="76" y="911"/>
                </a:cubicBezTo>
                <a:cubicBezTo>
                  <a:pt x="75" y="911"/>
                  <a:pt x="75" y="911"/>
                  <a:pt x="75" y="912"/>
                </a:cubicBezTo>
                <a:cubicBezTo>
                  <a:pt x="74" y="913"/>
                  <a:pt x="74" y="914"/>
                  <a:pt x="75" y="915"/>
                </a:cubicBezTo>
                <a:cubicBezTo>
                  <a:pt x="76" y="916"/>
                  <a:pt x="77" y="916"/>
                  <a:pt x="77" y="918"/>
                </a:cubicBezTo>
                <a:cubicBezTo>
                  <a:pt x="76" y="919"/>
                  <a:pt x="75" y="920"/>
                  <a:pt x="74" y="921"/>
                </a:cubicBezTo>
                <a:cubicBezTo>
                  <a:pt x="72" y="923"/>
                  <a:pt x="74" y="926"/>
                  <a:pt x="77" y="927"/>
                </a:cubicBezTo>
                <a:cubicBezTo>
                  <a:pt x="77" y="927"/>
                  <a:pt x="78" y="928"/>
                  <a:pt x="78" y="928"/>
                </a:cubicBezTo>
                <a:cubicBezTo>
                  <a:pt x="78" y="929"/>
                  <a:pt x="77" y="929"/>
                  <a:pt x="77" y="929"/>
                </a:cubicBezTo>
                <a:cubicBezTo>
                  <a:pt x="76" y="928"/>
                  <a:pt x="75" y="927"/>
                  <a:pt x="74" y="927"/>
                </a:cubicBezTo>
                <a:cubicBezTo>
                  <a:pt x="73" y="926"/>
                  <a:pt x="72" y="926"/>
                  <a:pt x="72" y="927"/>
                </a:cubicBezTo>
                <a:cubicBezTo>
                  <a:pt x="72" y="927"/>
                  <a:pt x="73" y="928"/>
                  <a:pt x="73" y="928"/>
                </a:cubicBezTo>
                <a:cubicBezTo>
                  <a:pt x="73" y="929"/>
                  <a:pt x="74" y="929"/>
                  <a:pt x="73" y="930"/>
                </a:cubicBezTo>
                <a:cubicBezTo>
                  <a:pt x="72" y="930"/>
                  <a:pt x="71" y="930"/>
                  <a:pt x="71" y="929"/>
                </a:cubicBezTo>
                <a:cubicBezTo>
                  <a:pt x="69" y="929"/>
                  <a:pt x="68" y="928"/>
                  <a:pt x="67" y="928"/>
                </a:cubicBezTo>
                <a:cubicBezTo>
                  <a:pt x="66" y="928"/>
                  <a:pt x="64" y="929"/>
                  <a:pt x="63" y="929"/>
                </a:cubicBezTo>
                <a:cubicBezTo>
                  <a:pt x="63" y="929"/>
                  <a:pt x="62" y="929"/>
                  <a:pt x="61" y="929"/>
                </a:cubicBezTo>
                <a:cubicBezTo>
                  <a:pt x="61" y="929"/>
                  <a:pt x="60" y="928"/>
                  <a:pt x="59" y="928"/>
                </a:cubicBezTo>
                <a:cubicBezTo>
                  <a:pt x="59" y="929"/>
                  <a:pt x="59" y="929"/>
                  <a:pt x="58" y="930"/>
                </a:cubicBezTo>
                <a:cubicBezTo>
                  <a:pt x="58" y="930"/>
                  <a:pt x="57" y="930"/>
                  <a:pt x="56" y="930"/>
                </a:cubicBezTo>
                <a:cubicBezTo>
                  <a:pt x="55" y="931"/>
                  <a:pt x="54" y="931"/>
                  <a:pt x="53" y="932"/>
                </a:cubicBezTo>
                <a:cubicBezTo>
                  <a:pt x="52" y="932"/>
                  <a:pt x="51" y="933"/>
                  <a:pt x="50" y="934"/>
                </a:cubicBezTo>
                <a:cubicBezTo>
                  <a:pt x="49" y="936"/>
                  <a:pt x="48" y="939"/>
                  <a:pt x="46" y="939"/>
                </a:cubicBezTo>
                <a:cubicBezTo>
                  <a:pt x="46" y="939"/>
                  <a:pt x="45" y="939"/>
                  <a:pt x="45" y="939"/>
                </a:cubicBezTo>
                <a:cubicBezTo>
                  <a:pt x="45" y="939"/>
                  <a:pt x="44" y="939"/>
                  <a:pt x="44" y="940"/>
                </a:cubicBezTo>
                <a:cubicBezTo>
                  <a:pt x="43" y="940"/>
                  <a:pt x="42" y="941"/>
                  <a:pt x="42" y="942"/>
                </a:cubicBezTo>
                <a:cubicBezTo>
                  <a:pt x="41" y="943"/>
                  <a:pt x="43" y="943"/>
                  <a:pt x="44" y="943"/>
                </a:cubicBezTo>
                <a:cubicBezTo>
                  <a:pt x="45" y="943"/>
                  <a:pt x="45" y="942"/>
                  <a:pt x="46" y="942"/>
                </a:cubicBezTo>
                <a:cubicBezTo>
                  <a:pt x="46" y="941"/>
                  <a:pt x="47" y="941"/>
                  <a:pt x="48" y="941"/>
                </a:cubicBezTo>
                <a:cubicBezTo>
                  <a:pt x="49" y="940"/>
                  <a:pt x="50" y="940"/>
                  <a:pt x="51" y="940"/>
                </a:cubicBezTo>
                <a:cubicBezTo>
                  <a:pt x="52" y="940"/>
                  <a:pt x="52" y="940"/>
                  <a:pt x="53" y="939"/>
                </a:cubicBezTo>
                <a:cubicBezTo>
                  <a:pt x="53" y="939"/>
                  <a:pt x="54" y="938"/>
                  <a:pt x="55" y="938"/>
                </a:cubicBezTo>
                <a:cubicBezTo>
                  <a:pt x="55" y="940"/>
                  <a:pt x="54" y="941"/>
                  <a:pt x="54" y="943"/>
                </a:cubicBezTo>
                <a:cubicBezTo>
                  <a:pt x="54" y="944"/>
                  <a:pt x="54" y="943"/>
                  <a:pt x="54" y="943"/>
                </a:cubicBezTo>
                <a:cubicBezTo>
                  <a:pt x="56" y="944"/>
                  <a:pt x="53" y="948"/>
                  <a:pt x="55" y="948"/>
                </a:cubicBezTo>
                <a:cubicBezTo>
                  <a:pt x="55" y="948"/>
                  <a:pt x="56" y="947"/>
                  <a:pt x="57" y="948"/>
                </a:cubicBezTo>
                <a:cubicBezTo>
                  <a:pt x="57" y="949"/>
                  <a:pt x="56" y="950"/>
                  <a:pt x="56" y="950"/>
                </a:cubicBezTo>
                <a:cubicBezTo>
                  <a:pt x="56" y="951"/>
                  <a:pt x="56" y="952"/>
                  <a:pt x="55" y="953"/>
                </a:cubicBezTo>
                <a:cubicBezTo>
                  <a:pt x="55" y="955"/>
                  <a:pt x="53" y="956"/>
                  <a:pt x="52" y="957"/>
                </a:cubicBezTo>
                <a:cubicBezTo>
                  <a:pt x="51" y="958"/>
                  <a:pt x="50" y="959"/>
                  <a:pt x="49" y="959"/>
                </a:cubicBezTo>
                <a:cubicBezTo>
                  <a:pt x="48" y="959"/>
                  <a:pt x="47" y="959"/>
                  <a:pt x="46" y="959"/>
                </a:cubicBezTo>
                <a:cubicBezTo>
                  <a:pt x="45" y="959"/>
                  <a:pt x="44" y="961"/>
                  <a:pt x="42" y="961"/>
                </a:cubicBezTo>
                <a:cubicBezTo>
                  <a:pt x="41" y="962"/>
                  <a:pt x="40" y="963"/>
                  <a:pt x="39" y="963"/>
                </a:cubicBezTo>
                <a:cubicBezTo>
                  <a:pt x="38" y="963"/>
                  <a:pt x="37" y="962"/>
                  <a:pt x="37" y="962"/>
                </a:cubicBezTo>
                <a:cubicBezTo>
                  <a:pt x="36" y="963"/>
                  <a:pt x="36" y="964"/>
                  <a:pt x="35" y="964"/>
                </a:cubicBezTo>
                <a:cubicBezTo>
                  <a:pt x="34" y="965"/>
                  <a:pt x="33" y="964"/>
                  <a:pt x="31" y="965"/>
                </a:cubicBezTo>
                <a:cubicBezTo>
                  <a:pt x="31" y="965"/>
                  <a:pt x="30" y="965"/>
                  <a:pt x="30" y="966"/>
                </a:cubicBezTo>
                <a:cubicBezTo>
                  <a:pt x="30" y="966"/>
                  <a:pt x="31" y="966"/>
                  <a:pt x="31" y="967"/>
                </a:cubicBezTo>
                <a:cubicBezTo>
                  <a:pt x="32" y="967"/>
                  <a:pt x="32" y="968"/>
                  <a:pt x="32" y="968"/>
                </a:cubicBezTo>
                <a:cubicBezTo>
                  <a:pt x="33" y="968"/>
                  <a:pt x="33" y="968"/>
                  <a:pt x="33" y="968"/>
                </a:cubicBezTo>
                <a:cubicBezTo>
                  <a:pt x="35" y="968"/>
                  <a:pt x="35" y="969"/>
                  <a:pt x="34" y="970"/>
                </a:cubicBezTo>
                <a:cubicBezTo>
                  <a:pt x="33" y="970"/>
                  <a:pt x="32" y="970"/>
                  <a:pt x="32" y="972"/>
                </a:cubicBezTo>
                <a:cubicBezTo>
                  <a:pt x="33" y="972"/>
                  <a:pt x="34" y="972"/>
                  <a:pt x="34" y="971"/>
                </a:cubicBezTo>
                <a:cubicBezTo>
                  <a:pt x="35" y="971"/>
                  <a:pt x="36" y="971"/>
                  <a:pt x="36" y="971"/>
                </a:cubicBezTo>
                <a:cubicBezTo>
                  <a:pt x="37" y="971"/>
                  <a:pt x="37" y="970"/>
                  <a:pt x="37" y="970"/>
                </a:cubicBezTo>
                <a:cubicBezTo>
                  <a:pt x="38" y="970"/>
                  <a:pt x="38" y="970"/>
                  <a:pt x="38" y="970"/>
                </a:cubicBezTo>
                <a:cubicBezTo>
                  <a:pt x="38" y="970"/>
                  <a:pt x="40" y="969"/>
                  <a:pt x="40" y="970"/>
                </a:cubicBezTo>
                <a:cubicBezTo>
                  <a:pt x="40" y="970"/>
                  <a:pt x="37" y="972"/>
                  <a:pt x="37" y="972"/>
                </a:cubicBezTo>
                <a:cubicBezTo>
                  <a:pt x="36" y="972"/>
                  <a:pt x="35" y="972"/>
                  <a:pt x="35" y="973"/>
                </a:cubicBezTo>
                <a:cubicBezTo>
                  <a:pt x="35" y="974"/>
                  <a:pt x="36" y="974"/>
                  <a:pt x="37" y="974"/>
                </a:cubicBezTo>
                <a:cubicBezTo>
                  <a:pt x="38" y="974"/>
                  <a:pt x="39" y="974"/>
                  <a:pt x="40" y="973"/>
                </a:cubicBezTo>
                <a:cubicBezTo>
                  <a:pt x="42" y="971"/>
                  <a:pt x="44" y="972"/>
                  <a:pt x="46" y="971"/>
                </a:cubicBezTo>
                <a:cubicBezTo>
                  <a:pt x="47" y="970"/>
                  <a:pt x="47" y="970"/>
                  <a:pt x="47" y="969"/>
                </a:cubicBezTo>
                <a:cubicBezTo>
                  <a:pt x="47" y="968"/>
                  <a:pt x="49" y="969"/>
                  <a:pt x="50" y="969"/>
                </a:cubicBezTo>
                <a:cubicBezTo>
                  <a:pt x="50" y="969"/>
                  <a:pt x="50" y="970"/>
                  <a:pt x="51" y="970"/>
                </a:cubicBezTo>
                <a:cubicBezTo>
                  <a:pt x="51" y="971"/>
                  <a:pt x="52" y="971"/>
                  <a:pt x="52" y="971"/>
                </a:cubicBezTo>
                <a:cubicBezTo>
                  <a:pt x="53" y="971"/>
                  <a:pt x="53" y="971"/>
                  <a:pt x="54" y="971"/>
                </a:cubicBezTo>
                <a:cubicBezTo>
                  <a:pt x="54" y="972"/>
                  <a:pt x="52" y="973"/>
                  <a:pt x="52" y="973"/>
                </a:cubicBezTo>
                <a:cubicBezTo>
                  <a:pt x="51" y="973"/>
                  <a:pt x="51" y="974"/>
                  <a:pt x="51" y="974"/>
                </a:cubicBezTo>
                <a:cubicBezTo>
                  <a:pt x="51" y="974"/>
                  <a:pt x="51" y="974"/>
                  <a:pt x="51" y="974"/>
                </a:cubicBezTo>
                <a:cubicBezTo>
                  <a:pt x="52" y="976"/>
                  <a:pt x="54" y="974"/>
                  <a:pt x="55" y="974"/>
                </a:cubicBezTo>
                <a:cubicBezTo>
                  <a:pt x="56" y="974"/>
                  <a:pt x="57" y="975"/>
                  <a:pt x="57" y="975"/>
                </a:cubicBezTo>
                <a:cubicBezTo>
                  <a:pt x="58" y="975"/>
                  <a:pt x="59" y="974"/>
                  <a:pt x="59" y="974"/>
                </a:cubicBezTo>
                <a:cubicBezTo>
                  <a:pt x="61" y="973"/>
                  <a:pt x="62" y="974"/>
                  <a:pt x="63" y="975"/>
                </a:cubicBezTo>
                <a:cubicBezTo>
                  <a:pt x="64" y="976"/>
                  <a:pt x="63" y="977"/>
                  <a:pt x="64" y="978"/>
                </a:cubicBezTo>
                <a:cubicBezTo>
                  <a:pt x="65" y="978"/>
                  <a:pt x="66" y="979"/>
                  <a:pt x="67" y="979"/>
                </a:cubicBezTo>
                <a:cubicBezTo>
                  <a:pt x="67" y="979"/>
                  <a:pt x="68" y="978"/>
                  <a:pt x="69" y="978"/>
                </a:cubicBezTo>
                <a:cubicBezTo>
                  <a:pt x="70" y="978"/>
                  <a:pt x="71" y="978"/>
                  <a:pt x="72" y="978"/>
                </a:cubicBezTo>
                <a:cubicBezTo>
                  <a:pt x="74" y="978"/>
                  <a:pt x="74" y="976"/>
                  <a:pt x="75" y="976"/>
                </a:cubicBezTo>
                <a:cubicBezTo>
                  <a:pt x="76" y="975"/>
                  <a:pt x="77" y="975"/>
                  <a:pt x="78" y="975"/>
                </a:cubicBezTo>
                <a:cubicBezTo>
                  <a:pt x="79" y="975"/>
                  <a:pt x="79" y="975"/>
                  <a:pt x="80" y="974"/>
                </a:cubicBezTo>
                <a:cubicBezTo>
                  <a:pt x="81" y="974"/>
                  <a:pt x="82" y="974"/>
                  <a:pt x="83" y="974"/>
                </a:cubicBezTo>
                <a:cubicBezTo>
                  <a:pt x="85" y="974"/>
                  <a:pt x="85" y="971"/>
                  <a:pt x="87" y="970"/>
                </a:cubicBezTo>
                <a:cubicBezTo>
                  <a:pt x="87" y="971"/>
                  <a:pt x="85" y="972"/>
                  <a:pt x="85" y="973"/>
                </a:cubicBezTo>
                <a:cubicBezTo>
                  <a:pt x="84" y="974"/>
                  <a:pt x="83" y="974"/>
                  <a:pt x="82" y="975"/>
                </a:cubicBezTo>
                <a:cubicBezTo>
                  <a:pt x="81" y="976"/>
                  <a:pt x="81" y="976"/>
                  <a:pt x="81" y="977"/>
                </a:cubicBezTo>
                <a:cubicBezTo>
                  <a:pt x="79" y="979"/>
                  <a:pt x="77" y="980"/>
                  <a:pt x="76" y="982"/>
                </a:cubicBezTo>
                <a:cubicBezTo>
                  <a:pt x="76" y="984"/>
                  <a:pt x="75" y="984"/>
                  <a:pt x="73" y="984"/>
                </a:cubicBezTo>
                <a:cubicBezTo>
                  <a:pt x="72" y="984"/>
                  <a:pt x="70" y="984"/>
                  <a:pt x="69" y="984"/>
                </a:cubicBezTo>
                <a:cubicBezTo>
                  <a:pt x="68" y="983"/>
                  <a:pt x="66" y="984"/>
                  <a:pt x="65" y="984"/>
                </a:cubicBezTo>
                <a:cubicBezTo>
                  <a:pt x="65" y="984"/>
                  <a:pt x="65" y="983"/>
                  <a:pt x="64" y="983"/>
                </a:cubicBezTo>
                <a:cubicBezTo>
                  <a:pt x="64" y="983"/>
                  <a:pt x="63" y="983"/>
                  <a:pt x="63" y="983"/>
                </a:cubicBezTo>
                <a:cubicBezTo>
                  <a:pt x="62" y="983"/>
                  <a:pt x="61" y="983"/>
                  <a:pt x="61" y="983"/>
                </a:cubicBezTo>
                <a:cubicBezTo>
                  <a:pt x="59" y="984"/>
                  <a:pt x="58" y="984"/>
                  <a:pt x="56" y="984"/>
                </a:cubicBezTo>
                <a:cubicBezTo>
                  <a:pt x="55" y="984"/>
                  <a:pt x="53" y="984"/>
                  <a:pt x="53" y="985"/>
                </a:cubicBezTo>
                <a:cubicBezTo>
                  <a:pt x="52" y="986"/>
                  <a:pt x="52" y="987"/>
                  <a:pt x="51" y="988"/>
                </a:cubicBezTo>
                <a:cubicBezTo>
                  <a:pt x="50" y="988"/>
                  <a:pt x="49" y="988"/>
                  <a:pt x="48" y="988"/>
                </a:cubicBezTo>
                <a:cubicBezTo>
                  <a:pt x="48" y="988"/>
                  <a:pt x="47" y="989"/>
                  <a:pt x="47" y="989"/>
                </a:cubicBezTo>
                <a:cubicBezTo>
                  <a:pt x="47" y="991"/>
                  <a:pt x="47" y="992"/>
                  <a:pt x="47" y="994"/>
                </a:cubicBezTo>
                <a:cubicBezTo>
                  <a:pt x="46" y="994"/>
                  <a:pt x="46" y="995"/>
                  <a:pt x="45" y="996"/>
                </a:cubicBezTo>
                <a:cubicBezTo>
                  <a:pt x="45" y="996"/>
                  <a:pt x="44" y="996"/>
                  <a:pt x="44" y="997"/>
                </a:cubicBezTo>
                <a:cubicBezTo>
                  <a:pt x="43" y="998"/>
                  <a:pt x="43" y="999"/>
                  <a:pt x="43" y="1000"/>
                </a:cubicBezTo>
                <a:cubicBezTo>
                  <a:pt x="42" y="1000"/>
                  <a:pt x="42" y="1001"/>
                  <a:pt x="41" y="1001"/>
                </a:cubicBezTo>
                <a:cubicBezTo>
                  <a:pt x="41" y="1001"/>
                  <a:pt x="40" y="1000"/>
                  <a:pt x="40" y="1000"/>
                </a:cubicBezTo>
                <a:cubicBezTo>
                  <a:pt x="39" y="1001"/>
                  <a:pt x="39" y="1001"/>
                  <a:pt x="39" y="1002"/>
                </a:cubicBezTo>
                <a:cubicBezTo>
                  <a:pt x="39" y="1002"/>
                  <a:pt x="39" y="1003"/>
                  <a:pt x="38" y="1003"/>
                </a:cubicBezTo>
                <a:cubicBezTo>
                  <a:pt x="38" y="1003"/>
                  <a:pt x="37" y="1003"/>
                  <a:pt x="36" y="1003"/>
                </a:cubicBezTo>
                <a:cubicBezTo>
                  <a:pt x="35" y="1004"/>
                  <a:pt x="34" y="1005"/>
                  <a:pt x="33" y="1006"/>
                </a:cubicBezTo>
                <a:cubicBezTo>
                  <a:pt x="32" y="1008"/>
                  <a:pt x="32" y="1008"/>
                  <a:pt x="30" y="1008"/>
                </a:cubicBezTo>
                <a:cubicBezTo>
                  <a:pt x="29" y="1009"/>
                  <a:pt x="28" y="1009"/>
                  <a:pt x="27" y="1010"/>
                </a:cubicBezTo>
                <a:cubicBezTo>
                  <a:pt x="27" y="1010"/>
                  <a:pt x="27" y="1011"/>
                  <a:pt x="26" y="1012"/>
                </a:cubicBezTo>
                <a:cubicBezTo>
                  <a:pt x="25" y="1012"/>
                  <a:pt x="22" y="1012"/>
                  <a:pt x="22" y="1014"/>
                </a:cubicBezTo>
                <a:cubicBezTo>
                  <a:pt x="22" y="1015"/>
                  <a:pt x="26" y="1014"/>
                  <a:pt x="26" y="1014"/>
                </a:cubicBezTo>
                <a:cubicBezTo>
                  <a:pt x="27" y="1014"/>
                  <a:pt x="28" y="1014"/>
                  <a:pt x="29" y="1014"/>
                </a:cubicBezTo>
                <a:cubicBezTo>
                  <a:pt x="30" y="1014"/>
                  <a:pt x="32" y="1014"/>
                  <a:pt x="32" y="1016"/>
                </a:cubicBezTo>
                <a:cubicBezTo>
                  <a:pt x="32" y="1016"/>
                  <a:pt x="32" y="1018"/>
                  <a:pt x="33" y="1018"/>
                </a:cubicBezTo>
                <a:cubicBezTo>
                  <a:pt x="34" y="1018"/>
                  <a:pt x="34" y="1017"/>
                  <a:pt x="34" y="1017"/>
                </a:cubicBezTo>
                <a:cubicBezTo>
                  <a:pt x="34" y="1015"/>
                  <a:pt x="36" y="1015"/>
                  <a:pt x="36" y="1013"/>
                </a:cubicBezTo>
                <a:cubicBezTo>
                  <a:pt x="36" y="1012"/>
                  <a:pt x="37" y="1011"/>
                  <a:pt x="38" y="1010"/>
                </a:cubicBezTo>
                <a:cubicBezTo>
                  <a:pt x="39" y="1010"/>
                  <a:pt x="40" y="1011"/>
                  <a:pt x="41" y="1010"/>
                </a:cubicBezTo>
                <a:cubicBezTo>
                  <a:pt x="41" y="1010"/>
                  <a:pt x="42" y="1010"/>
                  <a:pt x="42" y="1010"/>
                </a:cubicBezTo>
                <a:cubicBezTo>
                  <a:pt x="43" y="1009"/>
                  <a:pt x="43" y="1008"/>
                  <a:pt x="44" y="1008"/>
                </a:cubicBezTo>
                <a:cubicBezTo>
                  <a:pt x="45" y="1008"/>
                  <a:pt x="46" y="1009"/>
                  <a:pt x="47" y="1009"/>
                </a:cubicBezTo>
                <a:cubicBezTo>
                  <a:pt x="48" y="1008"/>
                  <a:pt x="49" y="1007"/>
                  <a:pt x="50" y="1007"/>
                </a:cubicBezTo>
                <a:cubicBezTo>
                  <a:pt x="51" y="1007"/>
                  <a:pt x="53" y="1008"/>
                  <a:pt x="53" y="1008"/>
                </a:cubicBezTo>
                <a:cubicBezTo>
                  <a:pt x="54" y="1007"/>
                  <a:pt x="53" y="1007"/>
                  <a:pt x="53" y="1006"/>
                </a:cubicBezTo>
                <a:cubicBezTo>
                  <a:pt x="53" y="1005"/>
                  <a:pt x="54" y="1005"/>
                  <a:pt x="54" y="1006"/>
                </a:cubicBezTo>
                <a:cubicBezTo>
                  <a:pt x="55" y="1007"/>
                  <a:pt x="54" y="1007"/>
                  <a:pt x="55" y="1008"/>
                </a:cubicBezTo>
                <a:cubicBezTo>
                  <a:pt x="56" y="1008"/>
                  <a:pt x="57" y="1008"/>
                  <a:pt x="57" y="1008"/>
                </a:cubicBezTo>
                <a:cubicBezTo>
                  <a:pt x="58" y="1008"/>
                  <a:pt x="58" y="1008"/>
                  <a:pt x="59" y="1009"/>
                </a:cubicBezTo>
                <a:cubicBezTo>
                  <a:pt x="59" y="1010"/>
                  <a:pt x="59" y="1010"/>
                  <a:pt x="60" y="1010"/>
                </a:cubicBezTo>
                <a:cubicBezTo>
                  <a:pt x="60" y="1011"/>
                  <a:pt x="61" y="1010"/>
                  <a:pt x="62" y="1011"/>
                </a:cubicBezTo>
                <a:cubicBezTo>
                  <a:pt x="62" y="1011"/>
                  <a:pt x="62" y="1012"/>
                  <a:pt x="63" y="1012"/>
                </a:cubicBezTo>
                <a:cubicBezTo>
                  <a:pt x="64" y="1011"/>
                  <a:pt x="63" y="1009"/>
                  <a:pt x="64" y="1008"/>
                </a:cubicBezTo>
                <a:cubicBezTo>
                  <a:pt x="64" y="1007"/>
                  <a:pt x="65" y="1007"/>
                  <a:pt x="65" y="1006"/>
                </a:cubicBezTo>
                <a:cubicBezTo>
                  <a:pt x="65" y="1005"/>
                  <a:pt x="65" y="1005"/>
                  <a:pt x="66" y="1004"/>
                </a:cubicBezTo>
                <a:cubicBezTo>
                  <a:pt x="66" y="1003"/>
                  <a:pt x="68" y="1002"/>
                  <a:pt x="68" y="1000"/>
                </a:cubicBezTo>
                <a:cubicBezTo>
                  <a:pt x="68" y="1000"/>
                  <a:pt x="67" y="1000"/>
                  <a:pt x="67" y="999"/>
                </a:cubicBezTo>
                <a:cubicBezTo>
                  <a:pt x="67" y="998"/>
                  <a:pt x="67" y="998"/>
                  <a:pt x="68" y="998"/>
                </a:cubicBezTo>
                <a:cubicBezTo>
                  <a:pt x="70" y="998"/>
                  <a:pt x="71" y="998"/>
                  <a:pt x="72" y="998"/>
                </a:cubicBezTo>
                <a:cubicBezTo>
                  <a:pt x="74" y="998"/>
                  <a:pt x="75" y="997"/>
                  <a:pt x="77" y="997"/>
                </a:cubicBezTo>
                <a:cubicBezTo>
                  <a:pt x="78" y="997"/>
                  <a:pt x="79" y="998"/>
                  <a:pt x="81" y="998"/>
                </a:cubicBezTo>
                <a:cubicBezTo>
                  <a:pt x="81" y="998"/>
                  <a:pt x="82" y="998"/>
                  <a:pt x="83" y="998"/>
                </a:cubicBezTo>
                <a:cubicBezTo>
                  <a:pt x="85" y="998"/>
                  <a:pt x="85" y="1000"/>
                  <a:pt x="86" y="1001"/>
                </a:cubicBezTo>
                <a:cubicBezTo>
                  <a:pt x="86" y="1002"/>
                  <a:pt x="87" y="1003"/>
                  <a:pt x="87" y="1003"/>
                </a:cubicBezTo>
                <a:cubicBezTo>
                  <a:pt x="88" y="1003"/>
                  <a:pt x="88" y="1003"/>
                  <a:pt x="88" y="1002"/>
                </a:cubicBezTo>
                <a:cubicBezTo>
                  <a:pt x="88" y="1000"/>
                  <a:pt x="88" y="1000"/>
                  <a:pt x="90" y="1000"/>
                </a:cubicBezTo>
                <a:cubicBezTo>
                  <a:pt x="91" y="1000"/>
                  <a:pt x="92" y="1000"/>
                  <a:pt x="94" y="1000"/>
                </a:cubicBezTo>
                <a:cubicBezTo>
                  <a:pt x="95" y="1000"/>
                  <a:pt x="96" y="1001"/>
                  <a:pt x="97" y="1001"/>
                </a:cubicBezTo>
                <a:cubicBezTo>
                  <a:pt x="97" y="1001"/>
                  <a:pt x="98" y="1000"/>
                  <a:pt x="98" y="1000"/>
                </a:cubicBezTo>
                <a:cubicBezTo>
                  <a:pt x="98" y="999"/>
                  <a:pt x="98" y="999"/>
                  <a:pt x="97" y="999"/>
                </a:cubicBezTo>
                <a:cubicBezTo>
                  <a:pt x="97" y="998"/>
                  <a:pt x="96" y="998"/>
                  <a:pt x="96" y="997"/>
                </a:cubicBezTo>
                <a:cubicBezTo>
                  <a:pt x="94" y="995"/>
                  <a:pt x="98" y="997"/>
                  <a:pt x="98" y="997"/>
                </a:cubicBezTo>
                <a:cubicBezTo>
                  <a:pt x="99" y="997"/>
                  <a:pt x="99" y="997"/>
                  <a:pt x="100" y="997"/>
                </a:cubicBezTo>
                <a:cubicBezTo>
                  <a:pt x="102" y="997"/>
                  <a:pt x="103" y="998"/>
                  <a:pt x="104" y="997"/>
                </a:cubicBezTo>
                <a:cubicBezTo>
                  <a:pt x="104" y="996"/>
                  <a:pt x="104" y="996"/>
                  <a:pt x="105" y="995"/>
                </a:cubicBezTo>
                <a:cubicBezTo>
                  <a:pt x="105" y="995"/>
                  <a:pt x="106" y="995"/>
                  <a:pt x="106" y="994"/>
                </a:cubicBezTo>
                <a:cubicBezTo>
                  <a:pt x="107" y="994"/>
                  <a:pt x="106" y="993"/>
                  <a:pt x="107" y="993"/>
                </a:cubicBezTo>
                <a:cubicBezTo>
                  <a:pt x="108" y="992"/>
                  <a:pt x="110" y="992"/>
                  <a:pt x="110" y="993"/>
                </a:cubicBezTo>
                <a:cubicBezTo>
                  <a:pt x="111" y="993"/>
                  <a:pt x="113" y="993"/>
                  <a:pt x="114" y="994"/>
                </a:cubicBezTo>
                <a:cubicBezTo>
                  <a:pt x="114" y="995"/>
                  <a:pt x="114" y="995"/>
                  <a:pt x="114" y="995"/>
                </a:cubicBezTo>
                <a:cubicBezTo>
                  <a:pt x="115" y="995"/>
                  <a:pt x="115" y="994"/>
                  <a:pt x="116" y="994"/>
                </a:cubicBezTo>
                <a:cubicBezTo>
                  <a:pt x="117" y="994"/>
                  <a:pt x="117" y="995"/>
                  <a:pt x="118" y="995"/>
                </a:cubicBezTo>
                <a:cubicBezTo>
                  <a:pt x="118" y="995"/>
                  <a:pt x="119" y="995"/>
                  <a:pt x="119" y="996"/>
                </a:cubicBezTo>
                <a:cubicBezTo>
                  <a:pt x="119" y="996"/>
                  <a:pt x="119" y="997"/>
                  <a:pt x="119" y="997"/>
                </a:cubicBezTo>
                <a:cubicBezTo>
                  <a:pt x="120" y="998"/>
                  <a:pt x="121" y="997"/>
                  <a:pt x="121" y="997"/>
                </a:cubicBezTo>
                <a:cubicBezTo>
                  <a:pt x="122" y="996"/>
                  <a:pt x="123" y="996"/>
                  <a:pt x="124" y="996"/>
                </a:cubicBezTo>
                <a:cubicBezTo>
                  <a:pt x="124" y="996"/>
                  <a:pt x="125" y="996"/>
                  <a:pt x="126" y="996"/>
                </a:cubicBezTo>
                <a:cubicBezTo>
                  <a:pt x="126" y="996"/>
                  <a:pt x="127" y="995"/>
                  <a:pt x="127" y="995"/>
                </a:cubicBezTo>
                <a:cubicBezTo>
                  <a:pt x="129" y="994"/>
                  <a:pt x="132" y="994"/>
                  <a:pt x="134" y="995"/>
                </a:cubicBezTo>
                <a:cubicBezTo>
                  <a:pt x="135" y="995"/>
                  <a:pt x="136" y="995"/>
                  <a:pt x="137" y="995"/>
                </a:cubicBezTo>
                <a:cubicBezTo>
                  <a:pt x="138" y="996"/>
                  <a:pt x="139" y="996"/>
                  <a:pt x="140" y="997"/>
                </a:cubicBezTo>
                <a:cubicBezTo>
                  <a:pt x="141" y="997"/>
                  <a:pt x="143" y="996"/>
                  <a:pt x="145" y="996"/>
                </a:cubicBezTo>
                <a:cubicBezTo>
                  <a:pt x="146" y="995"/>
                  <a:pt x="147" y="995"/>
                  <a:pt x="148" y="994"/>
                </a:cubicBezTo>
                <a:cubicBezTo>
                  <a:pt x="149" y="993"/>
                  <a:pt x="151" y="992"/>
                  <a:pt x="152" y="992"/>
                </a:cubicBezTo>
                <a:cubicBezTo>
                  <a:pt x="154" y="992"/>
                  <a:pt x="155" y="991"/>
                  <a:pt x="156" y="990"/>
                </a:cubicBezTo>
                <a:cubicBezTo>
                  <a:pt x="157" y="989"/>
                  <a:pt x="158" y="988"/>
                  <a:pt x="159" y="988"/>
                </a:cubicBezTo>
                <a:cubicBezTo>
                  <a:pt x="160" y="987"/>
                  <a:pt x="161" y="987"/>
                  <a:pt x="161" y="987"/>
                </a:cubicBezTo>
                <a:cubicBezTo>
                  <a:pt x="163" y="985"/>
                  <a:pt x="162" y="984"/>
                  <a:pt x="163" y="982"/>
                </a:cubicBezTo>
                <a:cubicBezTo>
                  <a:pt x="163" y="981"/>
                  <a:pt x="164" y="981"/>
                  <a:pt x="164" y="980"/>
                </a:cubicBezTo>
                <a:cubicBezTo>
                  <a:pt x="165" y="979"/>
                  <a:pt x="164" y="979"/>
                  <a:pt x="163" y="979"/>
                </a:cubicBezTo>
                <a:cubicBezTo>
                  <a:pt x="162" y="979"/>
                  <a:pt x="162" y="979"/>
                  <a:pt x="162" y="979"/>
                </a:cubicBezTo>
                <a:cubicBezTo>
                  <a:pt x="161" y="979"/>
                  <a:pt x="161" y="979"/>
                  <a:pt x="160" y="979"/>
                </a:cubicBezTo>
                <a:cubicBezTo>
                  <a:pt x="159" y="980"/>
                  <a:pt x="159" y="980"/>
                  <a:pt x="158" y="979"/>
                </a:cubicBezTo>
                <a:cubicBezTo>
                  <a:pt x="157" y="979"/>
                  <a:pt x="157" y="979"/>
                  <a:pt x="157" y="978"/>
                </a:cubicBezTo>
                <a:cubicBezTo>
                  <a:pt x="155" y="978"/>
                  <a:pt x="154" y="979"/>
                  <a:pt x="153" y="979"/>
                </a:cubicBezTo>
                <a:cubicBezTo>
                  <a:pt x="151" y="979"/>
                  <a:pt x="150" y="978"/>
                  <a:pt x="148" y="978"/>
                </a:cubicBezTo>
                <a:cubicBezTo>
                  <a:pt x="147" y="978"/>
                  <a:pt x="146" y="979"/>
                  <a:pt x="144" y="978"/>
                </a:cubicBezTo>
                <a:cubicBezTo>
                  <a:pt x="145" y="977"/>
                  <a:pt x="145" y="978"/>
                  <a:pt x="146" y="977"/>
                </a:cubicBezTo>
                <a:cubicBezTo>
                  <a:pt x="146" y="977"/>
                  <a:pt x="146" y="977"/>
                  <a:pt x="147" y="976"/>
                </a:cubicBezTo>
                <a:cubicBezTo>
                  <a:pt x="148" y="975"/>
                  <a:pt x="149" y="977"/>
                  <a:pt x="151" y="977"/>
                </a:cubicBezTo>
                <a:cubicBezTo>
                  <a:pt x="152" y="976"/>
                  <a:pt x="152" y="976"/>
                  <a:pt x="152" y="975"/>
                </a:cubicBezTo>
                <a:cubicBezTo>
                  <a:pt x="153" y="974"/>
                  <a:pt x="153" y="975"/>
                  <a:pt x="154" y="974"/>
                </a:cubicBezTo>
                <a:cubicBezTo>
                  <a:pt x="154" y="974"/>
                  <a:pt x="154" y="972"/>
                  <a:pt x="154" y="972"/>
                </a:cubicBezTo>
                <a:cubicBezTo>
                  <a:pt x="153" y="972"/>
                  <a:pt x="152" y="973"/>
                  <a:pt x="152" y="973"/>
                </a:cubicBezTo>
                <a:cubicBezTo>
                  <a:pt x="151" y="973"/>
                  <a:pt x="150" y="973"/>
                  <a:pt x="151" y="972"/>
                </a:cubicBezTo>
                <a:cubicBezTo>
                  <a:pt x="151" y="972"/>
                  <a:pt x="152" y="972"/>
                  <a:pt x="152" y="971"/>
                </a:cubicBezTo>
                <a:cubicBezTo>
                  <a:pt x="153" y="971"/>
                  <a:pt x="152" y="970"/>
                  <a:pt x="152" y="970"/>
                </a:cubicBezTo>
                <a:cubicBezTo>
                  <a:pt x="152" y="969"/>
                  <a:pt x="153" y="970"/>
                  <a:pt x="153" y="969"/>
                </a:cubicBezTo>
                <a:cubicBezTo>
                  <a:pt x="154" y="969"/>
                  <a:pt x="154" y="970"/>
                  <a:pt x="155" y="970"/>
                </a:cubicBezTo>
                <a:cubicBezTo>
                  <a:pt x="156" y="969"/>
                  <a:pt x="156" y="969"/>
                  <a:pt x="157" y="970"/>
                </a:cubicBezTo>
                <a:cubicBezTo>
                  <a:pt x="158" y="970"/>
                  <a:pt x="159" y="970"/>
                  <a:pt x="159" y="970"/>
                </a:cubicBezTo>
                <a:cubicBezTo>
                  <a:pt x="160" y="970"/>
                  <a:pt x="160" y="968"/>
                  <a:pt x="160" y="968"/>
                </a:cubicBezTo>
                <a:cubicBezTo>
                  <a:pt x="159" y="967"/>
                  <a:pt x="159" y="966"/>
                  <a:pt x="159" y="966"/>
                </a:cubicBezTo>
                <a:cubicBezTo>
                  <a:pt x="158" y="966"/>
                  <a:pt x="157" y="966"/>
                  <a:pt x="158" y="965"/>
                </a:cubicBezTo>
                <a:cubicBezTo>
                  <a:pt x="159" y="965"/>
                  <a:pt x="159" y="965"/>
                  <a:pt x="161" y="965"/>
                </a:cubicBezTo>
                <a:cubicBezTo>
                  <a:pt x="162" y="966"/>
                  <a:pt x="162" y="965"/>
                  <a:pt x="163" y="964"/>
                </a:cubicBezTo>
                <a:cubicBezTo>
                  <a:pt x="164" y="963"/>
                  <a:pt x="165" y="963"/>
                  <a:pt x="166" y="963"/>
                </a:cubicBezTo>
                <a:cubicBezTo>
                  <a:pt x="167" y="962"/>
                  <a:pt x="168" y="960"/>
                  <a:pt x="168" y="959"/>
                </a:cubicBezTo>
                <a:cubicBezTo>
                  <a:pt x="168" y="958"/>
                  <a:pt x="168" y="957"/>
                  <a:pt x="168" y="956"/>
                </a:cubicBezTo>
                <a:cubicBezTo>
                  <a:pt x="169" y="955"/>
                  <a:pt x="170" y="954"/>
                  <a:pt x="170" y="953"/>
                </a:cubicBezTo>
                <a:cubicBezTo>
                  <a:pt x="170" y="952"/>
                  <a:pt x="170" y="952"/>
                  <a:pt x="170" y="951"/>
                </a:cubicBezTo>
                <a:cubicBezTo>
                  <a:pt x="170" y="950"/>
                  <a:pt x="170" y="950"/>
                  <a:pt x="170" y="949"/>
                </a:cubicBezTo>
                <a:cubicBezTo>
                  <a:pt x="170" y="947"/>
                  <a:pt x="170" y="946"/>
                  <a:pt x="169" y="945"/>
                </a:cubicBezTo>
                <a:cubicBezTo>
                  <a:pt x="168" y="943"/>
                  <a:pt x="165" y="941"/>
                  <a:pt x="163" y="940"/>
                </a:cubicBezTo>
                <a:cubicBezTo>
                  <a:pt x="162" y="940"/>
                  <a:pt x="161" y="939"/>
                  <a:pt x="159" y="939"/>
                </a:cubicBezTo>
                <a:cubicBezTo>
                  <a:pt x="158" y="938"/>
                  <a:pt x="157" y="938"/>
                  <a:pt x="156" y="938"/>
                </a:cubicBezTo>
                <a:cubicBezTo>
                  <a:pt x="155" y="937"/>
                  <a:pt x="153" y="938"/>
                  <a:pt x="152" y="938"/>
                </a:cubicBezTo>
                <a:cubicBezTo>
                  <a:pt x="151" y="937"/>
                  <a:pt x="150" y="937"/>
                  <a:pt x="149" y="937"/>
                </a:cubicBezTo>
                <a:cubicBezTo>
                  <a:pt x="148" y="938"/>
                  <a:pt x="147" y="938"/>
                  <a:pt x="146" y="939"/>
                </a:cubicBezTo>
                <a:cubicBezTo>
                  <a:pt x="145" y="940"/>
                  <a:pt x="144" y="940"/>
                  <a:pt x="142" y="941"/>
                </a:cubicBezTo>
                <a:cubicBezTo>
                  <a:pt x="142" y="942"/>
                  <a:pt x="141" y="943"/>
                  <a:pt x="140" y="943"/>
                </a:cubicBezTo>
                <a:cubicBezTo>
                  <a:pt x="140" y="942"/>
                  <a:pt x="139" y="941"/>
                  <a:pt x="138" y="940"/>
                </a:cubicBezTo>
                <a:cubicBezTo>
                  <a:pt x="138" y="940"/>
                  <a:pt x="135" y="941"/>
                  <a:pt x="135" y="939"/>
                </a:cubicBezTo>
                <a:cubicBezTo>
                  <a:pt x="137" y="939"/>
                  <a:pt x="138" y="938"/>
                  <a:pt x="139" y="937"/>
                </a:cubicBezTo>
                <a:cubicBezTo>
                  <a:pt x="142" y="935"/>
                  <a:pt x="142" y="932"/>
                  <a:pt x="141" y="929"/>
                </a:cubicBezTo>
                <a:cubicBezTo>
                  <a:pt x="140" y="928"/>
                  <a:pt x="138" y="928"/>
                  <a:pt x="138" y="927"/>
                </a:cubicBezTo>
                <a:cubicBezTo>
                  <a:pt x="137" y="926"/>
                  <a:pt x="136" y="925"/>
                  <a:pt x="135" y="924"/>
                </a:cubicBezTo>
                <a:cubicBezTo>
                  <a:pt x="134" y="923"/>
                  <a:pt x="133" y="922"/>
                  <a:pt x="132" y="921"/>
                </a:cubicBezTo>
                <a:cubicBezTo>
                  <a:pt x="132" y="920"/>
                  <a:pt x="131" y="920"/>
                  <a:pt x="131" y="919"/>
                </a:cubicBezTo>
                <a:cubicBezTo>
                  <a:pt x="130" y="919"/>
                  <a:pt x="130" y="918"/>
                  <a:pt x="129" y="918"/>
                </a:cubicBezTo>
                <a:cubicBezTo>
                  <a:pt x="128" y="918"/>
                  <a:pt x="126" y="918"/>
                  <a:pt x="127" y="917"/>
                </a:cubicBezTo>
                <a:cubicBezTo>
                  <a:pt x="127" y="917"/>
                  <a:pt x="129" y="917"/>
                  <a:pt x="129" y="917"/>
                </a:cubicBezTo>
                <a:cubicBezTo>
                  <a:pt x="131" y="917"/>
                  <a:pt x="132" y="918"/>
                  <a:pt x="133" y="919"/>
                </a:cubicBezTo>
                <a:cubicBezTo>
                  <a:pt x="133" y="920"/>
                  <a:pt x="134" y="920"/>
                  <a:pt x="135" y="920"/>
                </a:cubicBezTo>
                <a:cubicBezTo>
                  <a:pt x="135" y="920"/>
                  <a:pt x="136" y="920"/>
                  <a:pt x="136" y="921"/>
                </a:cubicBezTo>
                <a:cubicBezTo>
                  <a:pt x="138" y="922"/>
                  <a:pt x="138" y="920"/>
                  <a:pt x="137" y="919"/>
                </a:cubicBezTo>
                <a:cubicBezTo>
                  <a:pt x="137" y="918"/>
                  <a:pt x="136" y="917"/>
                  <a:pt x="136" y="915"/>
                </a:cubicBezTo>
                <a:cubicBezTo>
                  <a:pt x="135" y="914"/>
                  <a:pt x="135" y="913"/>
                  <a:pt x="134" y="912"/>
                </a:cubicBezTo>
                <a:cubicBezTo>
                  <a:pt x="133" y="910"/>
                  <a:pt x="132" y="909"/>
                  <a:pt x="132" y="907"/>
                </a:cubicBezTo>
                <a:cubicBezTo>
                  <a:pt x="132" y="907"/>
                  <a:pt x="133" y="906"/>
                  <a:pt x="132" y="906"/>
                </a:cubicBezTo>
                <a:cubicBezTo>
                  <a:pt x="131" y="905"/>
                  <a:pt x="130" y="905"/>
                  <a:pt x="129" y="904"/>
                </a:cubicBezTo>
                <a:cubicBezTo>
                  <a:pt x="127" y="903"/>
                  <a:pt x="127" y="901"/>
                  <a:pt x="126" y="900"/>
                </a:cubicBezTo>
                <a:cubicBezTo>
                  <a:pt x="125" y="899"/>
                  <a:pt x="123" y="899"/>
                  <a:pt x="122" y="897"/>
                </a:cubicBezTo>
                <a:cubicBezTo>
                  <a:pt x="122" y="897"/>
                  <a:pt x="122" y="896"/>
                  <a:pt x="122" y="896"/>
                </a:cubicBezTo>
                <a:cubicBezTo>
                  <a:pt x="121" y="895"/>
                  <a:pt x="121" y="895"/>
                  <a:pt x="120" y="895"/>
                </a:cubicBezTo>
                <a:cubicBezTo>
                  <a:pt x="119" y="895"/>
                  <a:pt x="118" y="895"/>
                  <a:pt x="118" y="894"/>
                </a:cubicBezTo>
                <a:cubicBezTo>
                  <a:pt x="117" y="894"/>
                  <a:pt x="117" y="893"/>
                  <a:pt x="116" y="893"/>
                </a:cubicBezTo>
                <a:cubicBezTo>
                  <a:pt x="115" y="893"/>
                  <a:pt x="114" y="893"/>
                  <a:pt x="114" y="892"/>
                </a:cubicBezTo>
                <a:cubicBezTo>
                  <a:pt x="112" y="892"/>
                  <a:pt x="111" y="892"/>
                  <a:pt x="110" y="891"/>
                </a:cubicBezTo>
                <a:cubicBezTo>
                  <a:pt x="109" y="890"/>
                  <a:pt x="109" y="888"/>
                  <a:pt x="108" y="887"/>
                </a:cubicBezTo>
                <a:cubicBezTo>
                  <a:pt x="108" y="886"/>
                  <a:pt x="107" y="885"/>
                  <a:pt x="107" y="884"/>
                </a:cubicBezTo>
                <a:cubicBezTo>
                  <a:pt x="107" y="883"/>
                  <a:pt x="107" y="882"/>
                  <a:pt x="107" y="881"/>
                </a:cubicBezTo>
                <a:cubicBezTo>
                  <a:pt x="107" y="879"/>
                  <a:pt x="105" y="878"/>
                  <a:pt x="105" y="876"/>
                </a:cubicBezTo>
                <a:cubicBezTo>
                  <a:pt x="104" y="875"/>
                  <a:pt x="104" y="873"/>
                  <a:pt x="104" y="871"/>
                </a:cubicBezTo>
                <a:cubicBezTo>
                  <a:pt x="104" y="868"/>
                  <a:pt x="101" y="866"/>
                  <a:pt x="99" y="864"/>
                </a:cubicBezTo>
                <a:cubicBezTo>
                  <a:pt x="98" y="863"/>
                  <a:pt x="97" y="862"/>
                  <a:pt x="96" y="862"/>
                </a:cubicBezTo>
                <a:cubicBezTo>
                  <a:pt x="95" y="861"/>
                  <a:pt x="94" y="861"/>
                  <a:pt x="92" y="860"/>
                </a:cubicBezTo>
                <a:cubicBezTo>
                  <a:pt x="90" y="860"/>
                  <a:pt x="89" y="858"/>
                  <a:pt x="87" y="857"/>
                </a:cubicBezTo>
                <a:cubicBezTo>
                  <a:pt x="85" y="856"/>
                  <a:pt x="83" y="856"/>
                  <a:pt x="81" y="856"/>
                </a:cubicBezTo>
                <a:cubicBezTo>
                  <a:pt x="80" y="856"/>
                  <a:pt x="80" y="856"/>
                  <a:pt x="79" y="856"/>
                </a:cubicBezTo>
                <a:cubicBezTo>
                  <a:pt x="77" y="855"/>
                  <a:pt x="75" y="855"/>
                  <a:pt x="74" y="855"/>
                </a:cubicBezTo>
                <a:cubicBezTo>
                  <a:pt x="73" y="855"/>
                  <a:pt x="72" y="855"/>
                  <a:pt x="72" y="855"/>
                </a:cubicBezTo>
                <a:cubicBezTo>
                  <a:pt x="71" y="855"/>
                  <a:pt x="70" y="855"/>
                  <a:pt x="69" y="855"/>
                </a:cubicBezTo>
                <a:cubicBezTo>
                  <a:pt x="69" y="855"/>
                  <a:pt x="68" y="855"/>
                  <a:pt x="68" y="855"/>
                </a:cubicBezTo>
                <a:cubicBezTo>
                  <a:pt x="67" y="854"/>
                  <a:pt x="67" y="854"/>
                  <a:pt x="68" y="854"/>
                </a:cubicBezTo>
                <a:cubicBezTo>
                  <a:pt x="69" y="855"/>
                  <a:pt x="70" y="855"/>
                  <a:pt x="71" y="854"/>
                </a:cubicBezTo>
                <a:cubicBezTo>
                  <a:pt x="73" y="853"/>
                  <a:pt x="74" y="853"/>
                  <a:pt x="75" y="852"/>
                </a:cubicBezTo>
                <a:cubicBezTo>
                  <a:pt x="76" y="852"/>
                  <a:pt x="76" y="850"/>
                  <a:pt x="78" y="850"/>
                </a:cubicBezTo>
                <a:cubicBezTo>
                  <a:pt x="79" y="850"/>
                  <a:pt x="81" y="851"/>
                  <a:pt x="81" y="850"/>
                </a:cubicBezTo>
                <a:cubicBezTo>
                  <a:pt x="82" y="849"/>
                  <a:pt x="82" y="849"/>
                  <a:pt x="82" y="849"/>
                </a:cubicBezTo>
                <a:cubicBezTo>
                  <a:pt x="82" y="848"/>
                  <a:pt x="82" y="848"/>
                  <a:pt x="82" y="847"/>
                </a:cubicBezTo>
                <a:cubicBezTo>
                  <a:pt x="82" y="847"/>
                  <a:pt x="81" y="846"/>
                  <a:pt x="81" y="845"/>
                </a:cubicBezTo>
                <a:cubicBezTo>
                  <a:pt x="81" y="844"/>
                  <a:pt x="81" y="844"/>
                  <a:pt x="80" y="844"/>
                </a:cubicBezTo>
                <a:cubicBezTo>
                  <a:pt x="79" y="844"/>
                  <a:pt x="77" y="845"/>
                  <a:pt x="77" y="844"/>
                </a:cubicBezTo>
                <a:cubicBezTo>
                  <a:pt x="77" y="843"/>
                  <a:pt x="79" y="843"/>
                  <a:pt x="80" y="843"/>
                </a:cubicBezTo>
                <a:cubicBezTo>
                  <a:pt x="81" y="843"/>
                  <a:pt x="81" y="842"/>
                  <a:pt x="82" y="842"/>
                </a:cubicBezTo>
                <a:cubicBezTo>
                  <a:pt x="82" y="841"/>
                  <a:pt x="83" y="841"/>
                  <a:pt x="84" y="841"/>
                </a:cubicBezTo>
                <a:cubicBezTo>
                  <a:pt x="84" y="840"/>
                  <a:pt x="85" y="839"/>
                  <a:pt x="85" y="838"/>
                </a:cubicBezTo>
                <a:cubicBezTo>
                  <a:pt x="85" y="837"/>
                  <a:pt x="87" y="836"/>
                  <a:pt x="88" y="835"/>
                </a:cubicBezTo>
                <a:cubicBezTo>
                  <a:pt x="89" y="834"/>
                  <a:pt x="91" y="833"/>
                  <a:pt x="91" y="831"/>
                </a:cubicBezTo>
                <a:cubicBezTo>
                  <a:pt x="92" y="830"/>
                  <a:pt x="92" y="828"/>
                  <a:pt x="93" y="827"/>
                </a:cubicBezTo>
                <a:cubicBezTo>
                  <a:pt x="94" y="826"/>
                  <a:pt x="95" y="825"/>
                  <a:pt x="95" y="824"/>
                </a:cubicBezTo>
                <a:cubicBezTo>
                  <a:pt x="95" y="823"/>
                  <a:pt x="95" y="821"/>
                  <a:pt x="96" y="820"/>
                </a:cubicBezTo>
                <a:cubicBezTo>
                  <a:pt x="96" y="820"/>
                  <a:pt x="97" y="819"/>
                  <a:pt x="98" y="818"/>
                </a:cubicBezTo>
                <a:cubicBezTo>
                  <a:pt x="98" y="818"/>
                  <a:pt x="98" y="817"/>
                  <a:pt x="98" y="816"/>
                </a:cubicBezTo>
                <a:cubicBezTo>
                  <a:pt x="98" y="816"/>
                  <a:pt x="99" y="815"/>
                  <a:pt x="99" y="815"/>
                </a:cubicBezTo>
                <a:cubicBezTo>
                  <a:pt x="100" y="814"/>
                  <a:pt x="101" y="812"/>
                  <a:pt x="100" y="811"/>
                </a:cubicBezTo>
                <a:cubicBezTo>
                  <a:pt x="99" y="810"/>
                  <a:pt x="97" y="810"/>
                  <a:pt x="96" y="810"/>
                </a:cubicBezTo>
                <a:cubicBezTo>
                  <a:pt x="95" y="810"/>
                  <a:pt x="94" y="810"/>
                  <a:pt x="92" y="810"/>
                </a:cubicBezTo>
                <a:cubicBezTo>
                  <a:pt x="92" y="810"/>
                  <a:pt x="91" y="810"/>
                  <a:pt x="90" y="810"/>
                </a:cubicBezTo>
                <a:cubicBezTo>
                  <a:pt x="89" y="810"/>
                  <a:pt x="89" y="810"/>
                  <a:pt x="88" y="809"/>
                </a:cubicBezTo>
                <a:cubicBezTo>
                  <a:pt x="87" y="809"/>
                  <a:pt x="85" y="810"/>
                  <a:pt x="84" y="809"/>
                </a:cubicBezTo>
                <a:cubicBezTo>
                  <a:pt x="82" y="809"/>
                  <a:pt x="81" y="808"/>
                  <a:pt x="80" y="809"/>
                </a:cubicBezTo>
                <a:cubicBezTo>
                  <a:pt x="77" y="809"/>
                  <a:pt x="74" y="807"/>
                  <a:pt x="72" y="807"/>
                </a:cubicBezTo>
                <a:cubicBezTo>
                  <a:pt x="70" y="807"/>
                  <a:pt x="69" y="808"/>
                  <a:pt x="68" y="808"/>
                </a:cubicBezTo>
                <a:cubicBezTo>
                  <a:pt x="66" y="809"/>
                  <a:pt x="65" y="808"/>
                  <a:pt x="63" y="809"/>
                </a:cubicBezTo>
                <a:cubicBezTo>
                  <a:pt x="62" y="809"/>
                  <a:pt x="61" y="810"/>
                  <a:pt x="59" y="810"/>
                </a:cubicBezTo>
                <a:cubicBezTo>
                  <a:pt x="59" y="810"/>
                  <a:pt x="58" y="810"/>
                  <a:pt x="57" y="810"/>
                </a:cubicBezTo>
                <a:cubicBezTo>
                  <a:pt x="57" y="810"/>
                  <a:pt x="57" y="811"/>
                  <a:pt x="56" y="811"/>
                </a:cubicBezTo>
                <a:cubicBezTo>
                  <a:pt x="55" y="812"/>
                  <a:pt x="55" y="812"/>
                  <a:pt x="54" y="812"/>
                </a:cubicBezTo>
                <a:cubicBezTo>
                  <a:pt x="53" y="812"/>
                  <a:pt x="53" y="813"/>
                  <a:pt x="52" y="813"/>
                </a:cubicBezTo>
                <a:cubicBezTo>
                  <a:pt x="52" y="813"/>
                  <a:pt x="51" y="814"/>
                  <a:pt x="51" y="813"/>
                </a:cubicBezTo>
                <a:cubicBezTo>
                  <a:pt x="51" y="812"/>
                  <a:pt x="51" y="811"/>
                  <a:pt x="52" y="811"/>
                </a:cubicBezTo>
                <a:cubicBezTo>
                  <a:pt x="52" y="811"/>
                  <a:pt x="52" y="811"/>
                  <a:pt x="52" y="810"/>
                </a:cubicBezTo>
                <a:cubicBezTo>
                  <a:pt x="52" y="810"/>
                  <a:pt x="52" y="810"/>
                  <a:pt x="52" y="809"/>
                </a:cubicBezTo>
                <a:cubicBezTo>
                  <a:pt x="52" y="809"/>
                  <a:pt x="53" y="809"/>
                  <a:pt x="53" y="809"/>
                </a:cubicBezTo>
                <a:cubicBezTo>
                  <a:pt x="53" y="809"/>
                  <a:pt x="53" y="809"/>
                  <a:pt x="54" y="808"/>
                </a:cubicBezTo>
                <a:cubicBezTo>
                  <a:pt x="54" y="807"/>
                  <a:pt x="55" y="807"/>
                  <a:pt x="56" y="807"/>
                </a:cubicBezTo>
                <a:cubicBezTo>
                  <a:pt x="58" y="808"/>
                  <a:pt x="57" y="807"/>
                  <a:pt x="58" y="806"/>
                </a:cubicBezTo>
                <a:cubicBezTo>
                  <a:pt x="59" y="805"/>
                  <a:pt x="60" y="805"/>
                  <a:pt x="59" y="804"/>
                </a:cubicBezTo>
                <a:cubicBezTo>
                  <a:pt x="59" y="804"/>
                  <a:pt x="58" y="805"/>
                  <a:pt x="57" y="804"/>
                </a:cubicBezTo>
                <a:cubicBezTo>
                  <a:pt x="57" y="804"/>
                  <a:pt x="56" y="804"/>
                  <a:pt x="56" y="804"/>
                </a:cubicBezTo>
                <a:cubicBezTo>
                  <a:pt x="55" y="804"/>
                  <a:pt x="54" y="804"/>
                  <a:pt x="54" y="803"/>
                </a:cubicBezTo>
                <a:cubicBezTo>
                  <a:pt x="55" y="803"/>
                  <a:pt x="55" y="804"/>
                  <a:pt x="56" y="803"/>
                </a:cubicBezTo>
                <a:cubicBezTo>
                  <a:pt x="57" y="802"/>
                  <a:pt x="56" y="802"/>
                  <a:pt x="55" y="802"/>
                </a:cubicBezTo>
                <a:cubicBezTo>
                  <a:pt x="55" y="801"/>
                  <a:pt x="55" y="801"/>
                  <a:pt x="55" y="801"/>
                </a:cubicBezTo>
                <a:cubicBezTo>
                  <a:pt x="57" y="801"/>
                  <a:pt x="57" y="800"/>
                  <a:pt x="58" y="799"/>
                </a:cubicBezTo>
                <a:cubicBezTo>
                  <a:pt x="59" y="799"/>
                  <a:pt x="60" y="798"/>
                  <a:pt x="61" y="798"/>
                </a:cubicBezTo>
                <a:cubicBezTo>
                  <a:pt x="63" y="797"/>
                  <a:pt x="63" y="796"/>
                  <a:pt x="65" y="795"/>
                </a:cubicBezTo>
                <a:cubicBezTo>
                  <a:pt x="65" y="795"/>
                  <a:pt x="66" y="795"/>
                  <a:pt x="67" y="794"/>
                </a:cubicBezTo>
                <a:cubicBezTo>
                  <a:pt x="67" y="794"/>
                  <a:pt x="67" y="793"/>
                  <a:pt x="68" y="793"/>
                </a:cubicBezTo>
                <a:cubicBezTo>
                  <a:pt x="69" y="792"/>
                  <a:pt x="70" y="791"/>
                  <a:pt x="71" y="791"/>
                </a:cubicBezTo>
                <a:cubicBezTo>
                  <a:pt x="72" y="790"/>
                  <a:pt x="72" y="789"/>
                  <a:pt x="73" y="788"/>
                </a:cubicBezTo>
                <a:cubicBezTo>
                  <a:pt x="74" y="787"/>
                  <a:pt x="76" y="787"/>
                  <a:pt x="75" y="785"/>
                </a:cubicBezTo>
                <a:cubicBezTo>
                  <a:pt x="75" y="785"/>
                  <a:pt x="74" y="784"/>
                  <a:pt x="75" y="784"/>
                </a:cubicBezTo>
                <a:cubicBezTo>
                  <a:pt x="75" y="783"/>
                  <a:pt x="75" y="783"/>
                  <a:pt x="76" y="783"/>
                </a:cubicBezTo>
                <a:cubicBezTo>
                  <a:pt x="77" y="782"/>
                  <a:pt x="77" y="780"/>
                  <a:pt x="76" y="781"/>
                </a:cubicBezTo>
                <a:cubicBezTo>
                  <a:pt x="75" y="781"/>
                  <a:pt x="75" y="782"/>
                  <a:pt x="74" y="781"/>
                </a:cubicBezTo>
                <a:cubicBezTo>
                  <a:pt x="73" y="781"/>
                  <a:pt x="73" y="780"/>
                  <a:pt x="72" y="780"/>
                </a:cubicBezTo>
                <a:cubicBezTo>
                  <a:pt x="72" y="780"/>
                  <a:pt x="71" y="781"/>
                  <a:pt x="70" y="780"/>
                </a:cubicBezTo>
                <a:cubicBezTo>
                  <a:pt x="70" y="780"/>
                  <a:pt x="70" y="779"/>
                  <a:pt x="69" y="779"/>
                </a:cubicBezTo>
                <a:cubicBezTo>
                  <a:pt x="68" y="780"/>
                  <a:pt x="67" y="782"/>
                  <a:pt x="66" y="782"/>
                </a:cubicBezTo>
                <a:cubicBezTo>
                  <a:pt x="65" y="782"/>
                  <a:pt x="65" y="781"/>
                  <a:pt x="64" y="781"/>
                </a:cubicBezTo>
                <a:cubicBezTo>
                  <a:pt x="63" y="782"/>
                  <a:pt x="62" y="783"/>
                  <a:pt x="61" y="783"/>
                </a:cubicBezTo>
                <a:cubicBezTo>
                  <a:pt x="60" y="783"/>
                  <a:pt x="59" y="784"/>
                  <a:pt x="58" y="783"/>
                </a:cubicBezTo>
                <a:cubicBezTo>
                  <a:pt x="57" y="783"/>
                  <a:pt x="57" y="783"/>
                  <a:pt x="56" y="783"/>
                </a:cubicBezTo>
                <a:cubicBezTo>
                  <a:pt x="55" y="783"/>
                  <a:pt x="54" y="783"/>
                  <a:pt x="54" y="784"/>
                </a:cubicBezTo>
                <a:cubicBezTo>
                  <a:pt x="53" y="785"/>
                  <a:pt x="53" y="784"/>
                  <a:pt x="52" y="784"/>
                </a:cubicBezTo>
                <a:cubicBezTo>
                  <a:pt x="51" y="783"/>
                  <a:pt x="51" y="784"/>
                  <a:pt x="50" y="784"/>
                </a:cubicBezTo>
                <a:cubicBezTo>
                  <a:pt x="50" y="785"/>
                  <a:pt x="49" y="786"/>
                  <a:pt x="48" y="785"/>
                </a:cubicBezTo>
                <a:cubicBezTo>
                  <a:pt x="48" y="785"/>
                  <a:pt x="48" y="784"/>
                  <a:pt x="48" y="784"/>
                </a:cubicBezTo>
                <a:cubicBezTo>
                  <a:pt x="48" y="784"/>
                  <a:pt x="48" y="784"/>
                  <a:pt x="48" y="783"/>
                </a:cubicBezTo>
                <a:cubicBezTo>
                  <a:pt x="47" y="782"/>
                  <a:pt x="45" y="782"/>
                  <a:pt x="44" y="783"/>
                </a:cubicBezTo>
                <a:cubicBezTo>
                  <a:pt x="44" y="784"/>
                  <a:pt x="44" y="784"/>
                  <a:pt x="43" y="785"/>
                </a:cubicBezTo>
                <a:cubicBezTo>
                  <a:pt x="42" y="786"/>
                  <a:pt x="42" y="785"/>
                  <a:pt x="42" y="784"/>
                </a:cubicBezTo>
                <a:cubicBezTo>
                  <a:pt x="41" y="784"/>
                  <a:pt x="43" y="781"/>
                  <a:pt x="41" y="782"/>
                </a:cubicBezTo>
                <a:cubicBezTo>
                  <a:pt x="40" y="782"/>
                  <a:pt x="40" y="783"/>
                  <a:pt x="39" y="783"/>
                </a:cubicBezTo>
                <a:cubicBezTo>
                  <a:pt x="38" y="783"/>
                  <a:pt x="38" y="781"/>
                  <a:pt x="37" y="781"/>
                </a:cubicBezTo>
                <a:cubicBezTo>
                  <a:pt x="37" y="780"/>
                  <a:pt x="36" y="781"/>
                  <a:pt x="36" y="782"/>
                </a:cubicBezTo>
                <a:cubicBezTo>
                  <a:pt x="35" y="783"/>
                  <a:pt x="35" y="783"/>
                  <a:pt x="35" y="783"/>
                </a:cubicBezTo>
                <a:cubicBezTo>
                  <a:pt x="34" y="784"/>
                  <a:pt x="33" y="784"/>
                  <a:pt x="34" y="785"/>
                </a:cubicBezTo>
                <a:cubicBezTo>
                  <a:pt x="34" y="786"/>
                  <a:pt x="34" y="786"/>
                  <a:pt x="34" y="787"/>
                </a:cubicBezTo>
                <a:cubicBezTo>
                  <a:pt x="34" y="787"/>
                  <a:pt x="34" y="788"/>
                  <a:pt x="34" y="789"/>
                </a:cubicBezTo>
                <a:cubicBezTo>
                  <a:pt x="34" y="790"/>
                  <a:pt x="37" y="791"/>
                  <a:pt x="35" y="792"/>
                </a:cubicBezTo>
                <a:cubicBezTo>
                  <a:pt x="34" y="792"/>
                  <a:pt x="33" y="792"/>
                  <a:pt x="33" y="792"/>
                </a:cubicBezTo>
                <a:cubicBezTo>
                  <a:pt x="32" y="792"/>
                  <a:pt x="31" y="792"/>
                  <a:pt x="30" y="792"/>
                </a:cubicBezTo>
                <a:cubicBezTo>
                  <a:pt x="30" y="791"/>
                  <a:pt x="29" y="791"/>
                  <a:pt x="29" y="792"/>
                </a:cubicBezTo>
                <a:cubicBezTo>
                  <a:pt x="29" y="792"/>
                  <a:pt x="29" y="793"/>
                  <a:pt x="30" y="794"/>
                </a:cubicBezTo>
                <a:cubicBezTo>
                  <a:pt x="30" y="794"/>
                  <a:pt x="31" y="794"/>
                  <a:pt x="31" y="794"/>
                </a:cubicBezTo>
                <a:cubicBezTo>
                  <a:pt x="32" y="795"/>
                  <a:pt x="30" y="797"/>
                  <a:pt x="29" y="797"/>
                </a:cubicBezTo>
                <a:cubicBezTo>
                  <a:pt x="28" y="796"/>
                  <a:pt x="28" y="796"/>
                  <a:pt x="27" y="796"/>
                </a:cubicBezTo>
                <a:cubicBezTo>
                  <a:pt x="27" y="796"/>
                  <a:pt x="27" y="797"/>
                  <a:pt x="28" y="798"/>
                </a:cubicBezTo>
                <a:cubicBezTo>
                  <a:pt x="28" y="798"/>
                  <a:pt x="29" y="798"/>
                  <a:pt x="29" y="799"/>
                </a:cubicBezTo>
                <a:cubicBezTo>
                  <a:pt x="30" y="799"/>
                  <a:pt x="29" y="800"/>
                  <a:pt x="30" y="800"/>
                </a:cubicBezTo>
                <a:cubicBezTo>
                  <a:pt x="31" y="800"/>
                  <a:pt x="34" y="801"/>
                  <a:pt x="33" y="802"/>
                </a:cubicBezTo>
                <a:cubicBezTo>
                  <a:pt x="32" y="804"/>
                  <a:pt x="31" y="801"/>
                  <a:pt x="30" y="801"/>
                </a:cubicBezTo>
                <a:cubicBezTo>
                  <a:pt x="30" y="802"/>
                  <a:pt x="29" y="802"/>
                  <a:pt x="28" y="803"/>
                </a:cubicBezTo>
                <a:cubicBezTo>
                  <a:pt x="27" y="803"/>
                  <a:pt x="26" y="804"/>
                  <a:pt x="26" y="803"/>
                </a:cubicBezTo>
                <a:cubicBezTo>
                  <a:pt x="25" y="802"/>
                  <a:pt x="26" y="801"/>
                  <a:pt x="25" y="801"/>
                </a:cubicBezTo>
                <a:cubicBezTo>
                  <a:pt x="24" y="801"/>
                  <a:pt x="24" y="802"/>
                  <a:pt x="24" y="802"/>
                </a:cubicBezTo>
                <a:cubicBezTo>
                  <a:pt x="24" y="803"/>
                  <a:pt x="24" y="804"/>
                  <a:pt x="23" y="803"/>
                </a:cubicBezTo>
                <a:cubicBezTo>
                  <a:pt x="22" y="803"/>
                  <a:pt x="22" y="802"/>
                  <a:pt x="21" y="803"/>
                </a:cubicBezTo>
                <a:cubicBezTo>
                  <a:pt x="20" y="803"/>
                  <a:pt x="21" y="805"/>
                  <a:pt x="21" y="807"/>
                </a:cubicBezTo>
                <a:cubicBezTo>
                  <a:pt x="21" y="807"/>
                  <a:pt x="21" y="808"/>
                  <a:pt x="21" y="808"/>
                </a:cubicBezTo>
                <a:cubicBezTo>
                  <a:pt x="22" y="809"/>
                  <a:pt x="23" y="808"/>
                  <a:pt x="23" y="809"/>
                </a:cubicBezTo>
                <a:cubicBezTo>
                  <a:pt x="24" y="809"/>
                  <a:pt x="23" y="810"/>
                  <a:pt x="24" y="811"/>
                </a:cubicBezTo>
                <a:cubicBezTo>
                  <a:pt x="24" y="811"/>
                  <a:pt x="25" y="811"/>
                  <a:pt x="26" y="812"/>
                </a:cubicBezTo>
                <a:cubicBezTo>
                  <a:pt x="26" y="812"/>
                  <a:pt x="26" y="813"/>
                  <a:pt x="25" y="813"/>
                </a:cubicBezTo>
                <a:cubicBezTo>
                  <a:pt x="24" y="813"/>
                  <a:pt x="24" y="812"/>
                  <a:pt x="23" y="812"/>
                </a:cubicBezTo>
                <a:cubicBezTo>
                  <a:pt x="23" y="812"/>
                  <a:pt x="22" y="812"/>
                  <a:pt x="22" y="811"/>
                </a:cubicBezTo>
                <a:cubicBezTo>
                  <a:pt x="21" y="811"/>
                  <a:pt x="21" y="810"/>
                  <a:pt x="20" y="810"/>
                </a:cubicBezTo>
                <a:cubicBezTo>
                  <a:pt x="20" y="810"/>
                  <a:pt x="20" y="812"/>
                  <a:pt x="20" y="813"/>
                </a:cubicBezTo>
                <a:cubicBezTo>
                  <a:pt x="20" y="814"/>
                  <a:pt x="21" y="814"/>
                  <a:pt x="22" y="815"/>
                </a:cubicBezTo>
                <a:close/>
                <a:moveTo>
                  <a:pt x="71" y="776"/>
                </a:moveTo>
                <a:cubicBezTo>
                  <a:pt x="71" y="776"/>
                  <a:pt x="71" y="777"/>
                  <a:pt x="72" y="777"/>
                </a:cubicBezTo>
                <a:cubicBezTo>
                  <a:pt x="72" y="778"/>
                  <a:pt x="73" y="777"/>
                  <a:pt x="72" y="776"/>
                </a:cubicBezTo>
                <a:cubicBezTo>
                  <a:pt x="71" y="775"/>
                  <a:pt x="71" y="772"/>
                  <a:pt x="69" y="773"/>
                </a:cubicBezTo>
                <a:cubicBezTo>
                  <a:pt x="68" y="773"/>
                  <a:pt x="68" y="774"/>
                  <a:pt x="68" y="774"/>
                </a:cubicBezTo>
                <a:cubicBezTo>
                  <a:pt x="69" y="775"/>
                  <a:pt x="70" y="775"/>
                  <a:pt x="71" y="776"/>
                </a:cubicBezTo>
                <a:close/>
                <a:moveTo>
                  <a:pt x="85" y="1030"/>
                </a:moveTo>
                <a:cubicBezTo>
                  <a:pt x="86" y="1030"/>
                  <a:pt x="87" y="1028"/>
                  <a:pt x="86" y="1028"/>
                </a:cubicBezTo>
                <a:cubicBezTo>
                  <a:pt x="85" y="1028"/>
                  <a:pt x="84" y="1030"/>
                  <a:pt x="85" y="1030"/>
                </a:cubicBezTo>
                <a:close/>
                <a:moveTo>
                  <a:pt x="92" y="1035"/>
                </a:moveTo>
                <a:cubicBezTo>
                  <a:pt x="91" y="1035"/>
                  <a:pt x="90" y="1036"/>
                  <a:pt x="92" y="1036"/>
                </a:cubicBezTo>
                <a:cubicBezTo>
                  <a:pt x="92" y="1036"/>
                  <a:pt x="93" y="1036"/>
                  <a:pt x="93" y="1037"/>
                </a:cubicBezTo>
                <a:cubicBezTo>
                  <a:pt x="93" y="1037"/>
                  <a:pt x="93" y="1038"/>
                  <a:pt x="94" y="1037"/>
                </a:cubicBezTo>
                <a:cubicBezTo>
                  <a:pt x="94" y="1037"/>
                  <a:pt x="95" y="1035"/>
                  <a:pt x="95" y="1035"/>
                </a:cubicBezTo>
                <a:cubicBezTo>
                  <a:pt x="95" y="1034"/>
                  <a:pt x="92" y="1034"/>
                  <a:pt x="92" y="1035"/>
                </a:cubicBezTo>
                <a:close/>
                <a:moveTo>
                  <a:pt x="293" y="645"/>
                </a:moveTo>
                <a:cubicBezTo>
                  <a:pt x="293" y="646"/>
                  <a:pt x="296" y="646"/>
                  <a:pt x="296" y="646"/>
                </a:cubicBezTo>
                <a:cubicBezTo>
                  <a:pt x="298" y="644"/>
                  <a:pt x="294" y="643"/>
                  <a:pt x="293" y="645"/>
                </a:cubicBezTo>
                <a:close/>
                <a:moveTo>
                  <a:pt x="71" y="772"/>
                </a:moveTo>
                <a:cubicBezTo>
                  <a:pt x="72" y="772"/>
                  <a:pt x="72" y="771"/>
                  <a:pt x="73" y="772"/>
                </a:cubicBezTo>
                <a:cubicBezTo>
                  <a:pt x="73" y="772"/>
                  <a:pt x="74" y="772"/>
                  <a:pt x="74" y="773"/>
                </a:cubicBezTo>
                <a:cubicBezTo>
                  <a:pt x="76" y="773"/>
                  <a:pt x="77" y="773"/>
                  <a:pt x="78" y="774"/>
                </a:cubicBezTo>
                <a:cubicBezTo>
                  <a:pt x="79" y="775"/>
                  <a:pt x="80" y="776"/>
                  <a:pt x="81" y="774"/>
                </a:cubicBezTo>
                <a:cubicBezTo>
                  <a:pt x="81" y="773"/>
                  <a:pt x="81" y="773"/>
                  <a:pt x="81" y="773"/>
                </a:cubicBezTo>
                <a:cubicBezTo>
                  <a:pt x="82" y="772"/>
                  <a:pt x="82" y="773"/>
                  <a:pt x="82" y="772"/>
                </a:cubicBezTo>
                <a:cubicBezTo>
                  <a:pt x="81" y="771"/>
                  <a:pt x="81" y="772"/>
                  <a:pt x="81" y="772"/>
                </a:cubicBezTo>
                <a:cubicBezTo>
                  <a:pt x="80" y="772"/>
                  <a:pt x="79" y="772"/>
                  <a:pt x="79" y="772"/>
                </a:cubicBezTo>
                <a:cubicBezTo>
                  <a:pt x="78" y="771"/>
                  <a:pt x="79" y="771"/>
                  <a:pt x="78" y="770"/>
                </a:cubicBezTo>
                <a:cubicBezTo>
                  <a:pt x="77" y="770"/>
                  <a:pt x="76" y="770"/>
                  <a:pt x="76" y="770"/>
                </a:cubicBezTo>
                <a:cubicBezTo>
                  <a:pt x="75" y="770"/>
                  <a:pt x="74" y="770"/>
                  <a:pt x="74" y="769"/>
                </a:cubicBezTo>
                <a:cubicBezTo>
                  <a:pt x="74" y="768"/>
                  <a:pt x="75" y="769"/>
                  <a:pt x="76" y="769"/>
                </a:cubicBezTo>
                <a:cubicBezTo>
                  <a:pt x="76" y="769"/>
                  <a:pt x="77" y="769"/>
                  <a:pt x="77" y="768"/>
                </a:cubicBezTo>
                <a:cubicBezTo>
                  <a:pt x="77" y="767"/>
                  <a:pt x="76" y="768"/>
                  <a:pt x="76" y="767"/>
                </a:cubicBezTo>
                <a:cubicBezTo>
                  <a:pt x="75" y="767"/>
                  <a:pt x="75" y="767"/>
                  <a:pt x="74" y="766"/>
                </a:cubicBezTo>
                <a:cubicBezTo>
                  <a:pt x="74" y="766"/>
                  <a:pt x="74" y="766"/>
                  <a:pt x="73" y="766"/>
                </a:cubicBezTo>
                <a:cubicBezTo>
                  <a:pt x="73" y="765"/>
                  <a:pt x="73" y="765"/>
                  <a:pt x="73" y="764"/>
                </a:cubicBezTo>
                <a:cubicBezTo>
                  <a:pt x="73" y="764"/>
                  <a:pt x="72" y="763"/>
                  <a:pt x="71" y="764"/>
                </a:cubicBezTo>
                <a:cubicBezTo>
                  <a:pt x="70" y="765"/>
                  <a:pt x="72" y="766"/>
                  <a:pt x="71" y="766"/>
                </a:cubicBezTo>
                <a:cubicBezTo>
                  <a:pt x="71" y="767"/>
                  <a:pt x="70" y="767"/>
                  <a:pt x="69" y="768"/>
                </a:cubicBezTo>
                <a:cubicBezTo>
                  <a:pt x="69" y="769"/>
                  <a:pt x="69" y="771"/>
                  <a:pt x="71" y="772"/>
                </a:cubicBezTo>
                <a:close/>
                <a:moveTo>
                  <a:pt x="294" y="639"/>
                </a:moveTo>
                <a:cubicBezTo>
                  <a:pt x="295" y="639"/>
                  <a:pt x="295" y="639"/>
                  <a:pt x="295" y="640"/>
                </a:cubicBezTo>
                <a:cubicBezTo>
                  <a:pt x="296" y="640"/>
                  <a:pt x="297" y="641"/>
                  <a:pt x="297" y="640"/>
                </a:cubicBezTo>
                <a:cubicBezTo>
                  <a:pt x="297" y="639"/>
                  <a:pt x="296" y="638"/>
                  <a:pt x="296" y="638"/>
                </a:cubicBezTo>
                <a:cubicBezTo>
                  <a:pt x="296" y="637"/>
                  <a:pt x="296" y="636"/>
                  <a:pt x="295" y="636"/>
                </a:cubicBezTo>
                <a:cubicBezTo>
                  <a:pt x="294" y="636"/>
                  <a:pt x="294" y="637"/>
                  <a:pt x="293" y="637"/>
                </a:cubicBezTo>
                <a:cubicBezTo>
                  <a:pt x="292" y="637"/>
                  <a:pt x="291" y="637"/>
                  <a:pt x="291" y="637"/>
                </a:cubicBezTo>
                <a:cubicBezTo>
                  <a:pt x="290" y="638"/>
                  <a:pt x="290" y="638"/>
                  <a:pt x="291" y="639"/>
                </a:cubicBezTo>
                <a:cubicBezTo>
                  <a:pt x="292" y="639"/>
                  <a:pt x="293" y="639"/>
                  <a:pt x="294" y="639"/>
                </a:cubicBezTo>
                <a:close/>
                <a:moveTo>
                  <a:pt x="301" y="644"/>
                </a:moveTo>
                <a:cubicBezTo>
                  <a:pt x="302" y="644"/>
                  <a:pt x="302" y="644"/>
                  <a:pt x="303" y="644"/>
                </a:cubicBezTo>
                <a:cubicBezTo>
                  <a:pt x="304" y="645"/>
                  <a:pt x="305" y="644"/>
                  <a:pt x="304" y="643"/>
                </a:cubicBezTo>
                <a:cubicBezTo>
                  <a:pt x="304" y="643"/>
                  <a:pt x="302" y="642"/>
                  <a:pt x="301" y="642"/>
                </a:cubicBezTo>
                <a:cubicBezTo>
                  <a:pt x="300" y="642"/>
                  <a:pt x="299" y="643"/>
                  <a:pt x="300" y="644"/>
                </a:cubicBezTo>
                <a:cubicBezTo>
                  <a:pt x="300" y="645"/>
                  <a:pt x="301" y="644"/>
                  <a:pt x="301" y="644"/>
                </a:cubicBezTo>
                <a:close/>
                <a:moveTo>
                  <a:pt x="30" y="865"/>
                </a:moveTo>
                <a:cubicBezTo>
                  <a:pt x="30" y="866"/>
                  <a:pt x="31" y="867"/>
                  <a:pt x="31" y="868"/>
                </a:cubicBezTo>
                <a:cubicBezTo>
                  <a:pt x="31" y="870"/>
                  <a:pt x="31" y="870"/>
                  <a:pt x="33" y="871"/>
                </a:cubicBezTo>
                <a:cubicBezTo>
                  <a:pt x="34" y="871"/>
                  <a:pt x="34" y="872"/>
                  <a:pt x="35" y="871"/>
                </a:cubicBezTo>
                <a:cubicBezTo>
                  <a:pt x="36" y="871"/>
                  <a:pt x="35" y="870"/>
                  <a:pt x="35" y="869"/>
                </a:cubicBezTo>
                <a:cubicBezTo>
                  <a:pt x="35" y="868"/>
                  <a:pt x="35" y="868"/>
                  <a:pt x="35" y="867"/>
                </a:cubicBezTo>
                <a:cubicBezTo>
                  <a:pt x="34" y="867"/>
                  <a:pt x="34" y="867"/>
                  <a:pt x="34" y="866"/>
                </a:cubicBezTo>
                <a:cubicBezTo>
                  <a:pt x="33" y="866"/>
                  <a:pt x="34" y="865"/>
                  <a:pt x="34" y="865"/>
                </a:cubicBezTo>
                <a:cubicBezTo>
                  <a:pt x="33" y="863"/>
                  <a:pt x="30" y="863"/>
                  <a:pt x="30" y="865"/>
                </a:cubicBezTo>
                <a:close/>
                <a:moveTo>
                  <a:pt x="112" y="997"/>
                </a:moveTo>
                <a:cubicBezTo>
                  <a:pt x="112" y="997"/>
                  <a:pt x="111" y="997"/>
                  <a:pt x="111" y="997"/>
                </a:cubicBezTo>
                <a:cubicBezTo>
                  <a:pt x="110" y="997"/>
                  <a:pt x="111" y="996"/>
                  <a:pt x="110" y="996"/>
                </a:cubicBezTo>
                <a:cubicBezTo>
                  <a:pt x="109" y="995"/>
                  <a:pt x="109" y="996"/>
                  <a:pt x="109" y="997"/>
                </a:cubicBezTo>
                <a:cubicBezTo>
                  <a:pt x="108" y="997"/>
                  <a:pt x="106" y="997"/>
                  <a:pt x="105" y="998"/>
                </a:cubicBezTo>
                <a:cubicBezTo>
                  <a:pt x="104" y="999"/>
                  <a:pt x="106" y="999"/>
                  <a:pt x="106" y="1000"/>
                </a:cubicBezTo>
                <a:cubicBezTo>
                  <a:pt x="107" y="1000"/>
                  <a:pt x="108" y="1000"/>
                  <a:pt x="109" y="1001"/>
                </a:cubicBezTo>
                <a:cubicBezTo>
                  <a:pt x="109" y="1001"/>
                  <a:pt x="109" y="1002"/>
                  <a:pt x="109" y="1002"/>
                </a:cubicBezTo>
                <a:cubicBezTo>
                  <a:pt x="110" y="1002"/>
                  <a:pt x="110" y="1001"/>
                  <a:pt x="111" y="1001"/>
                </a:cubicBezTo>
                <a:cubicBezTo>
                  <a:pt x="112" y="1001"/>
                  <a:pt x="112" y="1001"/>
                  <a:pt x="113" y="1000"/>
                </a:cubicBezTo>
                <a:cubicBezTo>
                  <a:pt x="113" y="1000"/>
                  <a:pt x="113" y="999"/>
                  <a:pt x="113" y="999"/>
                </a:cubicBezTo>
                <a:cubicBezTo>
                  <a:pt x="113" y="999"/>
                  <a:pt x="113" y="999"/>
                  <a:pt x="114" y="999"/>
                </a:cubicBezTo>
                <a:cubicBezTo>
                  <a:pt x="114" y="999"/>
                  <a:pt x="115" y="999"/>
                  <a:pt x="115" y="998"/>
                </a:cubicBezTo>
                <a:cubicBezTo>
                  <a:pt x="114" y="997"/>
                  <a:pt x="113" y="998"/>
                  <a:pt x="113" y="997"/>
                </a:cubicBezTo>
                <a:cubicBezTo>
                  <a:pt x="113" y="997"/>
                  <a:pt x="113" y="997"/>
                  <a:pt x="112" y="997"/>
                </a:cubicBezTo>
                <a:close/>
                <a:moveTo>
                  <a:pt x="12" y="826"/>
                </a:moveTo>
                <a:cubicBezTo>
                  <a:pt x="11" y="826"/>
                  <a:pt x="11" y="826"/>
                  <a:pt x="10" y="826"/>
                </a:cubicBezTo>
                <a:cubicBezTo>
                  <a:pt x="10" y="826"/>
                  <a:pt x="9" y="826"/>
                  <a:pt x="8" y="827"/>
                </a:cubicBezTo>
                <a:cubicBezTo>
                  <a:pt x="8" y="827"/>
                  <a:pt x="9" y="828"/>
                  <a:pt x="9" y="828"/>
                </a:cubicBezTo>
                <a:cubicBezTo>
                  <a:pt x="10" y="828"/>
                  <a:pt x="10" y="828"/>
                  <a:pt x="10" y="829"/>
                </a:cubicBezTo>
                <a:cubicBezTo>
                  <a:pt x="10" y="829"/>
                  <a:pt x="10" y="830"/>
                  <a:pt x="11" y="830"/>
                </a:cubicBezTo>
                <a:cubicBezTo>
                  <a:pt x="12" y="829"/>
                  <a:pt x="11" y="829"/>
                  <a:pt x="12" y="828"/>
                </a:cubicBezTo>
                <a:cubicBezTo>
                  <a:pt x="12" y="828"/>
                  <a:pt x="14" y="827"/>
                  <a:pt x="12" y="826"/>
                </a:cubicBezTo>
                <a:close/>
                <a:moveTo>
                  <a:pt x="19" y="860"/>
                </a:moveTo>
                <a:cubicBezTo>
                  <a:pt x="20" y="858"/>
                  <a:pt x="21" y="857"/>
                  <a:pt x="21" y="856"/>
                </a:cubicBezTo>
                <a:cubicBezTo>
                  <a:pt x="22" y="855"/>
                  <a:pt x="23" y="853"/>
                  <a:pt x="23" y="852"/>
                </a:cubicBezTo>
                <a:cubicBezTo>
                  <a:pt x="22" y="851"/>
                  <a:pt x="21" y="853"/>
                  <a:pt x="20" y="853"/>
                </a:cubicBezTo>
                <a:cubicBezTo>
                  <a:pt x="20" y="854"/>
                  <a:pt x="19" y="854"/>
                  <a:pt x="19" y="854"/>
                </a:cubicBezTo>
                <a:cubicBezTo>
                  <a:pt x="18" y="855"/>
                  <a:pt x="19" y="855"/>
                  <a:pt x="19" y="856"/>
                </a:cubicBezTo>
                <a:cubicBezTo>
                  <a:pt x="18" y="857"/>
                  <a:pt x="16" y="856"/>
                  <a:pt x="15" y="858"/>
                </a:cubicBezTo>
                <a:cubicBezTo>
                  <a:pt x="15" y="858"/>
                  <a:pt x="16" y="858"/>
                  <a:pt x="17" y="859"/>
                </a:cubicBezTo>
                <a:cubicBezTo>
                  <a:pt x="18" y="860"/>
                  <a:pt x="18" y="862"/>
                  <a:pt x="19" y="860"/>
                </a:cubicBezTo>
                <a:close/>
                <a:moveTo>
                  <a:pt x="14" y="855"/>
                </a:moveTo>
                <a:cubicBezTo>
                  <a:pt x="14" y="855"/>
                  <a:pt x="15" y="854"/>
                  <a:pt x="15" y="854"/>
                </a:cubicBezTo>
                <a:cubicBezTo>
                  <a:pt x="15" y="853"/>
                  <a:pt x="16" y="852"/>
                  <a:pt x="15" y="852"/>
                </a:cubicBezTo>
                <a:cubicBezTo>
                  <a:pt x="14" y="853"/>
                  <a:pt x="13" y="854"/>
                  <a:pt x="14" y="855"/>
                </a:cubicBezTo>
                <a:close/>
                <a:moveTo>
                  <a:pt x="14" y="813"/>
                </a:moveTo>
                <a:cubicBezTo>
                  <a:pt x="15" y="812"/>
                  <a:pt x="15" y="811"/>
                  <a:pt x="14" y="811"/>
                </a:cubicBezTo>
                <a:cubicBezTo>
                  <a:pt x="14" y="810"/>
                  <a:pt x="13" y="810"/>
                  <a:pt x="13" y="810"/>
                </a:cubicBezTo>
                <a:cubicBezTo>
                  <a:pt x="12" y="810"/>
                  <a:pt x="11" y="806"/>
                  <a:pt x="10" y="808"/>
                </a:cubicBezTo>
                <a:cubicBezTo>
                  <a:pt x="10" y="809"/>
                  <a:pt x="10" y="809"/>
                  <a:pt x="10" y="810"/>
                </a:cubicBezTo>
                <a:cubicBezTo>
                  <a:pt x="10" y="811"/>
                  <a:pt x="9" y="811"/>
                  <a:pt x="10" y="812"/>
                </a:cubicBezTo>
                <a:cubicBezTo>
                  <a:pt x="10" y="813"/>
                  <a:pt x="11" y="813"/>
                  <a:pt x="10" y="814"/>
                </a:cubicBezTo>
                <a:cubicBezTo>
                  <a:pt x="9" y="814"/>
                  <a:pt x="8" y="814"/>
                  <a:pt x="8" y="813"/>
                </a:cubicBezTo>
                <a:cubicBezTo>
                  <a:pt x="8" y="812"/>
                  <a:pt x="7" y="812"/>
                  <a:pt x="6" y="811"/>
                </a:cubicBezTo>
                <a:cubicBezTo>
                  <a:pt x="6" y="811"/>
                  <a:pt x="6" y="810"/>
                  <a:pt x="6" y="810"/>
                </a:cubicBezTo>
                <a:cubicBezTo>
                  <a:pt x="5" y="810"/>
                  <a:pt x="5" y="810"/>
                  <a:pt x="5" y="811"/>
                </a:cubicBezTo>
                <a:cubicBezTo>
                  <a:pt x="5" y="812"/>
                  <a:pt x="6" y="813"/>
                  <a:pt x="4" y="814"/>
                </a:cubicBezTo>
                <a:cubicBezTo>
                  <a:pt x="3" y="814"/>
                  <a:pt x="3" y="813"/>
                  <a:pt x="2" y="813"/>
                </a:cubicBezTo>
                <a:cubicBezTo>
                  <a:pt x="1" y="815"/>
                  <a:pt x="4" y="814"/>
                  <a:pt x="4" y="815"/>
                </a:cubicBezTo>
                <a:cubicBezTo>
                  <a:pt x="5" y="816"/>
                  <a:pt x="5" y="817"/>
                  <a:pt x="5" y="817"/>
                </a:cubicBezTo>
                <a:cubicBezTo>
                  <a:pt x="6" y="817"/>
                  <a:pt x="6" y="816"/>
                  <a:pt x="6" y="816"/>
                </a:cubicBezTo>
                <a:cubicBezTo>
                  <a:pt x="7" y="816"/>
                  <a:pt x="7" y="817"/>
                  <a:pt x="8" y="817"/>
                </a:cubicBezTo>
                <a:cubicBezTo>
                  <a:pt x="9" y="817"/>
                  <a:pt x="10" y="817"/>
                  <a:pt x="9" y="818"/>
                </a:cubicBezTo>
                <a:cubicBezTo>
                  <a:pt x="9" y="819"/>
                  <a:pt x="8" y="818"/>
                  <a:pt x="8" y="819"/>
                </a:cubicBezTo>
                <a:cubicBezTo>
                  <a:pt x="8" y="820"/>
                  <a:pt x="10" y="820"/>
                  <a:pt x="11" y="820"/>
                </a:cubicBezTo>
                <a:cubicBezTo>
                  <a:pt x="11" y="821"/>
                  <a:pt x="11" y="822"/>
                  <a:pt x="11" y="822"/>
                </a:cubicBezTo>
                <a:cubicBezTo>
                  <a:pt x="12" y="822"/>
                  <a:pt x="13" y="822"/>
                  <a:pt x="13" y="822"/>
                </a:cubicBezTo>
                <a:cubicBezTo>
                  <a:pt x="14" y="823"/>
                  <a:pt x="13" y="824"/>
                  <a:pt x="14" y="823"/>
                </a:cubicBezTo>
                <a:cubicBezTo>
                  <a:pt x="15" y="823"/>
                  <a:pt x="15" y="822"/>
                  <a:pt x="16" y="822"/>
                </a:cubicBezTo>
                <a:cubicBezTo>
                  <a:pt x="17" y="822"/>
                  <a:pt x="19" y="822"/>
                  <a:pt x="18" y="824"/>
                </a:cubicBezTo>
                <a:cubicBezTo>
                  <a:pt x="17" y="825"/>
                  <a:pt x="16" y="826"/>
                  <a:pt x="17" y="828"/>
                </a:cubicBezTo>
                <a:cubicBezTo>
                  <a:pt x="18" y="828"/>
                  <a:pt x="18" y="826"/>
                  <a:pt x="18" y="825"/>
                </a:cubicBezTo>
                <a:cubicBezTo>
                  <a:pt x="19" y="825"/>
                  <a:pt x="20" y="825"/>
                  <a:pt x="20" y="824"/>
                </a:cubicBezTo>
                <a:cubicBezTo>
                  <a:pt x="21" y="823"/>
                  <a:pt x="20" y="823"/>
                  <a:pt x="21" y="822"/>
                </a:cubicBezTo>
                <a:cubicBezTo>
                  <a:pt x="21" y="822"/>
                  <a:pt x="21" y="822"/>
                  <a:pt x="21" y="822"/>
                </a:cubicBezTo>
                <a:cubicBezTo>
                  <a:pt x="21" y="822"/>
                  <a:pt x="22" y="821"/>
                  <a:pt x="22" y="821"/>
                </a:cubicBezTo>
                <a:cubicBezTo>
                  <a:pt x="22" y="820"/>
                  <a:pt x="20" y="820"/>
                  <a:pt x="20" y="821"/>
                </a:cubicBezTo>
                <a:cubicBezTo>
                  <a:pt x="19" y="821"/>
                  <a:pt x="19" y="821"/>
                  <a:pt x="18" y="820"/>
                </a:cubicBezTo>
                <a:cubicBezTo>
                  <a:pt x="18" y="820"/>
                  <a:pt x="18" y="820"/>
                  <a:pt x="17" y="819"/>
                </a:cubicBezTo>
                <a:cubicBezTo>
                  <a:pt x="16" y="819"/>
                  <a:pt x="15" y="820"/>
                  <a:pt x="15" y="818"/>
                </a:cubicBezTo>
                <a:cubicBezTo>
                  <a:pt x="15" y="818"/>
                  <a:pt x="15" y="817"/>
                  <a:pt x="15" y="817"/>
                </a:cubicBezTo>
                <a:cubicBezTo>
                  <a:pt x="15" y="816"/>
                  <a:pt x="14" y="816"/>
                  <a:pt x="14" y="815"/>
                </a:cubicBezTo>
                <a:cubicBezTo>
                  <a:pt x="14" y="814"/>
                  <a:pt x="14" y="814"/>
                  <a:pt x="14" y="813"/>
                </a:cubicBezTo>
                <a:close/>
                <a:moveTo>
                  <a:pt x="36" y="863"/>
                </a:moveTo>
                <a:cubicBezTo>
                  <a:pt x="36" y="862"/>
                  <a:pt x="36" y="860"/>
                  <a:pt x="35" y="860"/>
                </a:cubicBezTo>
                <a:cubicBezTo>
                  <a:pt x="33" y="859"/>
                  <a:pt x="35" y="861"/>
                  <a:pt x="35" y="861"/>
                </a:cubicBezTo>
                <a:cubicBezTo>
                  <a:pt x="35" y="862"/>
                  <a:pt x="36" y="863"/>
                  <a:pt x="36" y="863"/>
                </a:cubicBezTo>
                <a:close/>
                <a:moveTo>
                  <a:pt x="6" y="838"/>
                </a:moveTo>
                <a:cubicBezTo>
                  <a:pt x="6" y="838"/>
                  <a:pt x="4" y="840"/>
                  <a:pt x="5" y="840"/>
                </a:cubicBezTo>
                <a:cubicBezTo>
                  <a:pt x="6" y="840"/>
                  <a:pt x="7" y="839"/>
                  <a:pt x="8" y="838"/>
                </a:cubicBezTo>
                <a:cubicBezTo>
                  <a:pt x="8" y="837"/>
                  <a:pt x="9" y="837"/>
                  <a:pt x="8" y="837"/>
                </a:cubicBezTo>
                <a:cubicBezTo>
                  <a:pt x="7" y="837"/>
                  <a:pt x="7" y="837"/>
                  <a:pt x="6" y="838"/>
                </a:cubicBezTo>
                <a:close/>
                <a:moveTo>
                  <a:pt x="302" y="637"/>
                </a:moveTo>
                <a:cubicBezTo>
                  <a:pt x="303" y="637"/>
                  <a:pt x="303" y="638"/>
                  <a:pt x="304" y="638"/>
                </a:cubicBezTo>
                <a:cubicBezTo>
                  <a:pt x="305" y="638"/>
                  <a:pt x="305" y="637"/>
                  <a:pt x="306" y="637"/>
                </a:cubicBezTo>
                <a:cubicBezTo>
                  <a:pt x="307" y="637"/>
                  <a:pt x="307" y="636"/>
                  <a:pt x="308" y="636"/>
                </a:cubicBezTo>
                <a:cubicBezTo>
                  <a:pt x="309" y="636"/>
                  <a:pt x="309" y="636"/>
                  <a:pt x="310" y="635"/>
                </a:cubicBezTo>
                <a:cubicBezTo>
                  <a:pt x="312" y="635"/>
                  <a:pt x="313" y="635"/>
                  <a:pt x="315" y="634"/>
                </a:cubicBezTo>
                <a:cubicBezTo>
                  <a:pt x="317" y="634"/>
                  <a:pt x="317" y="632"/>
                  <a:pt x="315" y="631"/>
                </a:cubicBezTo>
                <a:cubicBezTo>
                  <a:pt x="314" y="631"/>
                  <a:pt x="313" y="631"/>
                  <a:pt x="311" y="631"/>
                </a:cubicBezTo>
                <a:cubicBezTo>
                  <a:pt x="310" y="631"/>
                  <a:pt x="310" y="631"/>
                  <a:pt x="309" y="631"/>
                </a:cubicBezTo>
                <a:cubicBezTo>
                  <a:pt x="308" y="631"/>
                  <a:pt x="307" y="632"/>
                  <a:pt x="307" y="632"/>
                </a:cubicBezTo>
                <a:cubicBezTo>
                  <a:pt x="306" y="633"/>
                  <a:pt x="305" y="634"/>
                  <a:pt x="305" y="634"/>
                </a:cubicBezTo>
                <a:cubicBezTo>
                  <a:pt x="304" y="634"/>
                  <a:pt x="304" y="635"/>
                  <a:pt x="303" y="635"/>
                </a:cubicBezTo>
                <a:cubicBezTo>
                  <a:pt x="302" y="635"/>
                  <a:pt x="302" y="635"/>
                  <a:pt x="302" y="635"/>
                </a:cubicBezTo>
                <a:cubicBezTo>
                  <a:pt x="301" y="635"/>
                  <a:pt x="300" y="635"/>
                  <a:pt x="300" y="636"/>
                </a:cubicBezTo>
                <a:cubicBezTo>
                  <a:pt x="301" y="637"/>
                  <a:pt x="301" y="637"/>
                  <a:pt x="302" y="637"/>
                </a:cubicBezTo>
                <a:close/>
                <a:moveTo>
                  <a:pt x="2617" y="1896"/>
                </a:moveTo>
                <a:cubicBezTo>
                  <a:pt x="2617" y="1897"/>
                  <a:pt x="2619" y="1898"/>
                  <a:pt x="2619" y="1898"/>
                </a:cubicBezTo>
                <a:cubicBezTo>
                  <a:pt x="2620" y="1899"/>
                  <a:pt x="2621" y="1898"/>
                  <a:pt x="2621" y="1898"/>
                </a:cubicBezTo>
                <a:cubicBezTo>
                  <a:pt x="2622" y="1897"/>
                  <a:pt x="2620" y="1897"/>
                  <a:pt x="2620" y="1896"/>
                </a:cubicBezTo>
                <a:cubicBezTo>
                  <a:pt x="2620" y="1896"/>
                  <a:pt x="2620" y="1896"/>
                  <a:pt x="2620" y="1895"/>
                </a:cubicBezTo>
                <a:cubicBezTo>
                  <a:pt x="2620" y="1895"/>
                  <a:pt x="2620" y="1895"/>
                  <a:pt x="2620" y="1894"/>
                </a:cubicBezTo>
                <a:cubicBezTo>
                  <a:pt x="2620" y="1894"/>
                  <a:pt x="2620" y="1893"/>
                  <a:pt x="2620" y="1893"/>
                </a:cubicBezTo>
                <a:cubicBezTo>
                  <a:pt x="2619" y="1892"/>
                  <a:pt x="2619" y="1893"/>
                  <a:pt x="2619" y="1893"/>
                </a:cubicBezTo>
                <a:cubicBezTo>
                  <a:pt x="2619" y="1894"/>
                  <a:pt x="2619" y="1894"/>
                  <a:pt x="2618" y="1895"/>
                </a:cubicBezTo>
                <a:cubicBezTo>
                  <a:pt x="2618" y="1895"/>
                  <a:pt x="2618" y="1895"/>
                  <a:pt x="2618" y="1895"/>
                </a:cubicBezTo>
                <a:cubicBezTo>
                  <a:pt x="2617" y="1895"/>
                  <a:pt x="2618" y="1896"/>
                  <a:pt x="2618" y="1896"/>
                </a:cubicBezTo>
                <a:cubicBezTo>
                  <a:pt x="2618" y="1896"/>
                  <a:pt x="2618" y="1896"/>
                  <a:pt x="2617" y="1896"/>
                </a:cubicBezTo>
                <a:close/>
                <a:moveTo>
                  <a:pt x="47" y="931"/>
                </a:moveTo>
                <a:cubicBezTo>
                  <a:pt x="48" y="931"/>
                  <a:pt x="48" y="931"/>
                  <a:pt x="48" y="932"/>
                </a:cubicBezTo>
                <a:cubicBezTo>
                  <a:pt x="49" y="932"/>
                  <a:pt x="48" y="933"/>
                  <a:pt x="49" y="933"/>
                </a:cubicBezTo>
                <a:cubicBezTo>
                  <a:pt x="50" y="934"/>
                  <a:pt x="51" y="932"/>
                  <a:pt x="52" y="932"/>
                </a:cubicBezTo>
                <a:cubicBezTo>
                  <a:pt x="53" y="931"/>
                  <a:pt x="54" y="931"/>
                  <a:pt x="55" y="930"/>
                </a:cubicBezTo>
                <a:cubicBezTo>
                  <a:pt x="56" y="929"/>
                  <a:pt x="55" y="928"/>
                  <a:pt x="53" y="929"/>
                </a:cubicBezTo>
                <a:cubicBezTo>
                  <a:pt x="52" y="929"/>
                  <a:pt x="52" y="928"/>
                  <a:pt x="51" y="927"/>
                </a:cubicBezTo>
                <a:cubicBezTo>
                  <a:pt x="50" y="925"/>
                  <a:pt x="49" y="925"/>
                  <a:pt x="48" y="925"/>
                </a:cubicBezTo>
                <a:cubicBezTo>
                  <a:pt x="48" y="926"/>
                  <a:pt x="47" y="926"/>
                  <a:pt x="46" y="926"/>
                </a:cubicBezTo>
                <a:cubicBezTo>
                  <a:pt x="45" y="926"/>
                  <a:pt x="46" y="927"/>
                  <a:pt x="46" y="927"/>
                </a:cubicBezTo>
                <a:cubicBezTo>
                  <a:pt x="47" y="929"/>
                  <a:pt x="46" y="930"/>
                  <a:pt x="47" y="931"/>
                </a:cubicBezTo>
                <a:close/>
                <a:moveTo>
                  <a:pt x="12" y="865"/>
                </a:moveTo>
                <a:cubicBezTo>
                  <a:pt x="12" y="866"/>
                  <a:pt x="11" y="866"/>
                  <a:pt x="12" y="867"/>
                </a:cubicBezTo>
                <a:cubicBezTo>
                  <a:pt x="12" y="869"/>
                  <a:pt x="14" y="866"/>
                  <a:pt x="15" y="866"/>
                </a:cubicBezTo>
                <a:cubicBezTo>
                  <a:pt x="15" y="865"/>
                  <a:pt x="17" y="865"/>
                  <a:pt x="17" y="863"/>
                </a:cubicBezTo>
                <a:cubicBezTo>
                  <a:pt x="17" y="862"/>
                  <a:pt x="16" y="862"/>
                  <a:pt x="16" y="861"/>
                </a:cubicBezTo>
                <a:cubicBezTo>
                  <a:pt x="16" y="861"/>
                  <a:pt x="16" y="860"/>
                  <a:pt x="15" y="860"/>
                </a:cubicBezTo>
                <a:cubicBezTo>
                  <a:pt x="15" y="859"/>
                  <a:pt x="15" y="857"/>
                  <a:pt x="14" y="858"/>
                </a:cubicBezTo>
                <a:cubicBezTo>
                  <a:pt x="13" y="858"/>
                  <a:pt x="13" y="859"/>
                  <a:pt x="12" y="859"/>
                </a:cubicBezTo>
                <a:cubicBezTo>
                  <a:pt x="12" y="859"/>
                  <a:pt x="12" y="859"/>
                  <a:pt x="11" y="858"/>
                </a:cubicBezTo>
                <a:cubicBezTo>
                  <a:pt x="11" y="858"/>
                  <a:pt x="10" y="859"/>
                  <a:pt x="10" y="859"/>
                </a:cubicBezTo>
                <a:cubicBezTo>
                  <a:pt x="10" y="859"/>
                  <a:pt x="8" y="862"/>
                  <a:pt x="9" y="862"/>
                </a:cubicBezTo>
                <a:cubicBezTo>
                  <a:pt x="9" y="862"/>
                  <a:pt x="9" y="862"/>
                  <a:pt x="9" y="862"/>
                </a:cubicBezTo>
                <a:cubicBezTo>
                  <a:pt x="10" y="862"/>
                  <a:pt x="10" y="862"/>
                  <a:pt x="11" y="862"/>
                </a:cubicBezTo>
                <a:cubicBezTo>
                  <a:pt x="11" y="862"/>
                  <a:pt x="11" y="862"/>
                  <a:pt x="12" y="862"/>
                </a:cubicBezTo>
                <a:cubicBezTo>
                  <a:pt x="12" y="862"/>
                  <a:pt x="12" y="862"/>
                  <a:pt x="12" y="862"/>
                </a:cubicBezTo>
                <a:cubicBezTo>
                  <a:pt x="13" y="862"/>
                  <a:pt x="13" y="863"/>
                  <a:pt x="13" y="863"/>
                </a:cubicBezTo>
                <a:cubicBezTo>
                  <a:pt x="13" y="864"/>
                  <a:pt x="13" y="865"/>
                  <a:pt x="12" y="865"/>
                </a:cubicBezTo>
                <a:close/>
                <a:moveTo>
                  <a:pt x="3067" y="1128"/>
                </a:moveTo>
                <a:cubicBezTo>
                  <a:pt x="3066" y="1128"/>
                  <a:pt x="3066" y="1129"/>
                  <a:pt x="3066" y="1129"/>
                </a:cubicBezTo>
                <a:cubicBezTo>
                  <a:pt x="3065" y="1130"/>
                  <a:pt x="3065" y="1130"/>
                  <a:pt x="3064" y="1131"/>
                </a:cubicBezTo>
                <a:cubicBezTo>
                  <a:pt x="3062" y="1131"/>
                  <a:pt x="3061" y="1132"/>
                  <a:pt x="3060" y="1133"/>
                </a:cubicBezTo>
                <a:cubicBezTo>
                  <a:pt x="3059" y="1133"/>
                  <a:pt x="3058" y="1134"/>
                  <a:pt x="3058" y="1134"/>
                </a:cubicBezTo>
                <a:cubicBezTo>
                  <a:pt x="3057" y="1134"/>
                  <a:pt x="3057" y="1135"/>
                  <a:pt x="3056" y="1135"/>
                </a:cubicBezTo>
                <a:cubicBezTo>
                  <a:pt x="3055" y="1135"/>
                  <a:pt x="3054" y="1136"/>
                  <a:pt x="3053" y="1135"/>
                </a:cubicBezTo>
                <a:cubicBezTo>
                  <a:pt x="3053" y="1135"/>
                  <a:pt x="3053" y="1134"/>
                  <a:pt x="3052" y="1134"/>
                </a:cubicBezTo>
                <a:cubicBezTo>
                  <a:pt x="3052" y="1133"/>
                  <a:pt x="3051" y="1133"/>
                  <a:pt x="3051" y="1132"/>
                </a:cubicBezTo>
                <a:cubicBezTo>
                  <a:pt x="3051" y="1132"/>
                  <a:pt x="3051" y="1131"/>
                  <a:pt x="3050" y="1131"/>
                </a:cubicBezTo>
                <a:cubicBezTo>
                  <a:pt x="3049" y="1131"/>
                  <a:pt x="3049" y="1132"/>
                  <a:pt x="3049" y="1132"/>
                </a:cubicBezTo>
                <a:cubicBezTo>
                  <a:pt x="3049" y="1133"/>
                  <a:pt x="3048" y="1134"/>
                  <a:pt x="3048" y="1134"/>
                </a:cubicBezTo>
                <a:cubicBezTo>
                  <a:pt x="3047" y="1136"/>
                  <a:pt x="3045" y="1137"/>
                  <a:pt x="3044" y="1138"/>
                </a:cubicBezTo>
                <a:cubicBezTo>
                  <a:pt x="3043" y="1139"/>
                  <a:pt x="3041" y="1140"/>
                  <a:pt x="3039" y="1141"/>
                </a:cubicBezTo>
                <a:cubicBezTo>
                  <a:pt x="3038" y="1142"/>
                  <a:pt x="3036" y="1143"/>
                  <a:pt x="3035" y="1145"/>
                </a:cubicBezTo>
                <a:cubicBezTo>
                  <a:pt x="3034" y="1147"/>
                  <a:pt x="3034" y="1149"/>
                  <a:pt x="3032" y="1150"/>
                </a:cubicBezTo>
                <a:cubicBezTo>
                  <a:pt x="3032" y="1150"/>
                  <a:pt x="3031" y="1150"/>
                  <a:pt x="3030" y="1150"/>
                </a:cubicBezTo>
                <a:cubicBezTo>
                  <a:pt x="3029" y="1151"/>
                  <a:pt x="3029" y="1153"/>
                  <a:pt x="3029" y="1154"/>
                </a:cubicBezTo>
                <a:cubicBezTo>
                  <a:pt x="3029" y="1154"/>
                  <a:pt x="3030" y="1156"/>
                  <a:pt x="3030" y="1156"/>
                </a:cubicBezTo>
                <a:cubicBezTo>
                  <a:pt x="3031" y="1156"/>
                  <a:pt x="3031" y="1155"/>
                  <a:pt x="3032" y="1155"/>
                </a:cubicBezTo>
                <a:cubicBezTo>
                  <a:pt x="3032" y="1154"/>
                  <a:pt x="3033" y="1152"/>
                  <a:pt x="3034" y="1152"/>
                </a:cubicBezTo>
                <a:cubicBezTo>
                  <a:pt x="3035" y="1152"/>
                  <a:pt x="3037" y="1152"/>
                  <a:pt x="3038" y="1150"/>
                </a:cubicBezTo>
                <a:cubicBezTo>
                  <a:pt x="3038" y="1149"/>
                  <a:pt x="3038" y="1149"/>
                  <a:pt x="3038" y="1148"/>
                </a:cubicBezTo>
                <a:cubicBezTo>
                  <a:pt x="3039" y="1148"/>
                  <a:pt x="3040" y="1147"/>
                  <a:pt x="3040" y="1147"/>
                </a:cubicBezTo>
                <a:cubicBezTo>
                  <a:pt x="3041" y="1146"/>
                  <a:pt x="3043" y="1146"/>
                  <a:pt x="3044" y="1145"/>
                </a:cubicBezTo>
                <a:cubicBezTo>
                  <a:pt x="3044" y="1144"/>
                  <a:pt x="3043" y="1143"/>
                  <a:pt x="3044" y="1142"/>
                </a:cubicBezTo>
                <a:cubicBezTo>
                  <a:pt x="3044" y="1142"/>
                  <a:pt x="3045" y="1141"/>
                  <a:pt x="3046" y="1141"/>
                </a:cubicBezTo>
                <a:cubicBezTo>
                  <a:pt x="3046" y="1141"/>
                  <a:pt x="3047" y="1141"/>
                  <a:pt x="3048" y="1141"/>
                </a:cubicBezTo>
                <a:cubicBezTo>
                  <a:pt x="3048" y="1141"/>
                  <a:pt x="3049" y="1142"/>
                  <a:pt x="3050" y="1142"/>
                </a:cubicBezTo>
                <a:cubicBezTo>
                  <a:pt x="3051" y="1141"/>
                  <a:pt x="3052" y="1140"/>
                  <a:pt x="3052" y="1139"/>
                </a:cubicBezTo>
                <a:cubicBezTo>
                  <a:pt x="3054" y="1136"/>
                  <a:pt x="3057" y="1136"/>
                  <a:pt x="3060" y="1135"/>
                </a:cubicBezTo>
                <a:cubicBezTo>
                  <a:pt x="3061" y="1134"/>
                  <a:pt x="3063" y="1134"/>
                  <a:pt x="3065" y="1134"/>
                </a:cubicBezTo>
                <a:cubicBezTo>
                  <a:pt x="3066" y="1134"/>
                  <a:pt x="3068" y="1134"/>
                  <a:pt x="3067" y="1132"/>
                </a:cubicBezTo>
                <a:cubicBezTo>
                  <a:pt x="3067" y="1131"/>
                  <a:pt x="3068" y="1128"/>
                  <a:pt x="3067" y="1128"/>
                </a:cubicBezTo>
                <a:close/>
                <a:moveTo>
                  <a:pt x="658" y="1281"/>
                </a:moveTo>
                <a:cubicBezTo>
                  <a:pt x="658" y="1281"/>
                  <a:pt x="659" y="1283"/>
                  <a:pt x="660" y="1282"/>
                </a:cubicBezTo>
                <a:cubicBezTo>
                  <a:pt x="661" y="1282"/>
                  <a:pt x="659" y="1280"/>
                  <a:pt x="659" y="1279"/>
                </a:cubicBezTo>
                <a:cubicBezTo>
                  <a:pt x="658" y="1279"/>
                  <a:pt x="658" y="1278"/>
                  <a:pt x="658" y="1278"/>
                </a:cubicBezTo>
                <a:cubicBezTo>
                  <a:pt x="657" y="1277"/>
                  <a:pt x="657" y="1278"/>
                  <a:pt x="656" y="1277"/>
                </a:cubicBezTo>
                <a:cubicBezTo>
                  <a:pt x="655" y="1277"/>
                  <a:pt x="656" y="1275"/>
                  <a:pt x="654" y="1274"/>
                </a:cubicBezTo>
                <a:cubicBezTo>
                  <a:pt x="653" y="1274"/>
                  <a:pt x="652" y="1274"/>
                  <a:pt x="651" y="1275"/>
                </a:cubicBezTo>
                <a:cubicBezTo>
                  <a:pt x="650" y="1275"/>
                  <a:pt x="649" y="1275"/>
                  <a:pt x="649" y="1276"/>
                </a:cubicBezTo>
                <a:cubicBezTo>
                  <a:pt x="647" y="1276"/>
                  <a:pt x="647" y="1276"/>
                  <a:pt x="646" y="1276"/>
                </a:cubicBezTo>
                <a:cubicBezTo>
                  <a:pt x="645" y="1276"/>
                  <a:pt x="645" y="1277"/>
                  <a:pt x="645" y="1277"/>
                </a:cubicBezTo>
                <a:cubicBezTo>
                  <a:pt x="646" y="1278"/>
                  <a:pt x="647" y="1278"/>
                  <a:pt x="647" y="1278"/>
                </a:cubicBezTo>
                <a:cubicBezTo>
                  <a:pt x="648" y="1278"/>
                  <a:pt x="650" y="1278"/>
                  <a:pt x="651" y="1279"/>
                </a:cubicBezTo>
                <a:cubicBezTo>
                  <a:pt x="653" y="1280"/>
                  <a:pt x="649" y="1280"/>
                  <a:pt x="651" y="1281"/>
                </a:cubicBezTo>
                <a:cubicBezTo>
                  <a:pt x="651" y="1282"/>
                  <a:pt x="651" y="1281"/>
                  <a:pt x="652" y="1282"/>
                </a:cubicBezTo>
                <a:cubicBezTo>
                  <a:pt x="652" y="1282"/>
                  <a:pt x="652" y="1282"/>
                  <a:pt x="652" y="1282"/>
                </a:cubicBezTo>
                <a:cubicBezTo>
                  <a:pt x="653" y="1283"/>
                  <a:pt x="653" y="1283"/>
                  <a:pt x="654" y="1283"/>
                </a:cubicBezTo>
                <a:cubicBezTo>
                  <a:pt x="655" y="1283"/>
                  <a:pt x="655" y="1284"/>
                  <a:pt x="656" y="1284"/>
                </a:cubicBezTo>
                <a:cubicBezTo>
                  <a:pt x="656" y="1284"/>
                  <a:pt x="657" y="1284"/>
                  <a:pt x="658" y="1284"/>
                </a:cubicBezTo>
                <a:cubicBezTo>
                  <a:pt x="660" y="1283"/>
                  <a:pt x="657" y="1282"/>
                  <a:pt x="657" y="1281"/>
                </a:cubicBezTo>
                <a:cubicBezTo>
                  <a:pt x="657" y="1280"/>
                  <a:pt x="658" y="1281"/>
                  <a:pt x="658" y="1281"/>
                </a:cubicBezTo>
                <a:close/>
                <a:moveTo>
                  <a:pt x="646" y="1300"/>
                </a:moveTo>
                <a:cubicBezTo>
                  <a:pt x="646" y="1300"/>
                  <a:pt x="646" y="1300"/>
                  <a:pt x="647" y="1301"/>
                </a:cubicBezTo>
                <a:cubicBezTo>
                  <a:pt x="647" y="1302"/>
                  <a:pt x="647" y="1303"/>
                  <a:pt x="648" y="1303"/>
                </a:cubicBezTo>
                <a:cubicBezTo>
                  <a:pt x="650" y="1302"/>
                  <a:pt x="649" y="1300"/>
                  <a:pt x="650" y="1299"/>
                </a:cubicBezTo>
                <a:cubicBezTo>
                  <a:pt x="651" y="1298"/>
                  <a:pt x="651" y="1298"/>
                  <a:pt x="651" y="1297"/>
                </a:cubicBezTo>
                <a:cubicBezTo>
                  <a:pt x="651" y="1295"/>
                  <a:pt x="650" y="1295"/>
                  <a:pt x="650" y="1294"/>
                </a:cubicBezTo>
                <a:cubicBezTo>
                  <a:pt x="650" y="1294"/>
                  <a:pt x="650" y="1293"/>
                  <a:pt x="650" y="1292"/>
                </a:cubicBezTo>
                <a:cubicBezTo>
                  <a:pt x="650" y="1292"/>
                  <a:pt x="648" y="1291"/>
                  <a:pt x="647" y="1291"/>
                </a:cubicBezTo>
                <a:cubicBezTo>
                  <a:pt x="645" y="1292"/>
                  <a:pt x="645" y="1294"/>
                  <a:pt x="645" y="1296"/>
                </a:cubicBezTo>
                <a:cubicBezTo>
                  <a:pt x="646" y="1297"/>
                  <a:pt x="645" y="1299"/>
                  <a:pt x="646" y="1300"/>
                </a:cubicBezTo>
                <a:close/>
                <a:moveTo>
                  <a:pt x="464" y="1195"/>
                </a:moveTo>
                <a:cubicBezTo>
                  <a:pt x="464" y="1195"/>
                  <a:pt x="465" y="1195"/>
                  <a:pt x="465" y="1195"/>
                </a:cubicBezTo>
                <a:cubicBezTo>
                  <a:pt x="466" y="1195"/>
                  <a:pt x="466" y="1195"/>
                  <a:pt x="466" y="1195"/>
                </a:cubicBezTo>
                <a:cubicBezTo>
                  <a:pt x="468" y="1194"/>
                  <a:pt x="466" y="1194"/>
                  <a:pt x="466" y="1194"/>
                </a:cubicBezTo>
                <a:cubicBezTo>
                  <a:pt x="465" y="1194"/>
                  <a:pt x="464" y="1194"/>
                  <a:pt x="464" y="1195"/>
                </a:cubicBezTo>
                <a:close/>
                <a:moveTo>
                  <a:pt x="651" y="1316"/>
                </a:moveTo>
                <a:cubicBezTo>
                  <a:pt x="652" y="1315"/>
                  <a:pt x="654" y="1316"/>
                  <a:pt x="654" y="1315"/>
                </a:cubicBezTo>
                <a:cubicBezTo>
                  <a:pt x="656" y="1313"/>
                  <a:pt x="653" y="1314"/>
                  <a:pt x="652" y="1314"/>
                </a:cubicBezTo>
                <a:cubicBezTo>
                  <a:pt x="652" y="1315"/>
                  <a:pt x="651" y="1315"/>
                  <a:pt x="651" y="1315"/>
                </a:cubicBezTo>
                <a:cubicBezTo>
                  <a:pt x="650" y="1315"/>
                  <a:pt x="649" y="1316"/>
                  <a:pt x="649" y="1316"/>
                </a:cubicBezTo>
                <a:cubicBezTo>
                  <a:pt x="648" y="1316"/>
                  <a:pt x="647" y="1318"/>
                  <a:pt x="648" y="1318"/>
                </a:cubicBezTo>
                <a:cubicBezTo>
                  <a:pt x="649" y="1318"/>
                  <a:pt x="650" y="1317"/>
                  <a:pt x="651" y="1316"/>
                </a:cubicBezTo>
                <a:close/>
                <a:moveTo>
                  <a:pt x="643" y="1257"/>
                </a:moveTo>
                <a:cubicBezTo>
                  <a:pt x="644" y="1257"/>
                  <a:pt x="645" y="1257"/>
                  <a:pt x="646" y="1257"/>
                </a:cubicBezTo>
                <a:cubicBezTo>
                  <a:pt x="646" y="1257"/>
                  <a:pt x="647" y="1257"/>
                  <a:pt x="647" y="1256"/>
                </a:cubicBezTo>
                <a:cubicBezTo>
                  <a:pt x="647" y="1255"/>
                  <a:pt x="643" y="1255"/>
                  <a:pt x="643" y="1257"/>
                </a:cubicBezTo>
                <a:close/>
                <a:moveTo>
                  <a:pt x="618" y="1284"/>
                </a:moveTo>
                <a:cubicBezTo>
                  <a:pt x="617" y="1285"/>
                  <a:pt x="619" y="1286"/>
                  <a:pt x="619" y="1287"/>
                </a:cubicBezTo>
                <a:cubicBezTo>
                  <a:pt x="620" y="1287"/>
                  <a:pt x="620" y="1288"/>
                  <a:pt x="620" y="1288"/>
                </a:cubicBezTo>
                <a:cubicBezTo>
                  <a:pt x="620" y="1288"/>
                  <a:pt x="622" y="1289"/>
                  <a:pt x="622" y="1288"/>
                </a:cubicBezTo>
                <a:cubicBezTo>
                  <a:pt x="622" y="1288"/>
                  <a:pt x="620" y="1286"/>
                  <a:pt x="620" y="1286"/>
                </a:cubicBezTo>
                <a:cubicBezTo>
                  <a:pt x="620" y="1285"/>
                  <a:pt x="620" y="1283"/>
                  <a:pt x="618" y="1284"/>
                </a:cubicBezTo>
                <a:close/>
                <a:moveTo>
                  <a:pt x="627" y="1320"/>
                </a:moveTo>
                <a:cubicBezTo>
                  <a:pt x="628" y="1319"/>
                  <a:pt x="627" y="1318"/>
                  <a:pt x="626" y="1318"/>
                </a:cubicBezTo>
                <a:cubicBezTo>
                  <a:pt x="626" y="1318"/>
                  <a:pt x="626" y="1320"/>
                  <a:pt x="627" y="1320"/>
                </a:cubicBezTo>
                <a:close/>
                <a:moveTo>
                  <a:pt x="623" y="1242"/>
                </a:moveTo>
                <a:cubicBezTo>
                  <a:pt x="622" y="1241"/>
                  <a:pt x="622" y="1241"/>
                  <a:pt x="621" y="1241"/>
                </a:cubicBezTo>
                <a:cubicBezTo>
                  <a:pt x="621" y="1241"/>
                  <a:pt x="621" y="1241"/>
                  <a:pt x="621" y="1241"/>
                </a:cubicBezTo>
                <a:cubicBezTo>
                  <a:pt x="620" y="1242"/>
                  <a:pt x="620" y="1242"/>
                  <a:pt x="619" y="1242"/>
                </a:cubicBezTo>
                <a:cubicBezTo>
                  <a:pt x="619" y="1242"/>
                  <a:pt x="619" y="1243"/>
                  <a:pt x="619" y="1244"/>
                </a:cubicBezTo>
                <a:cubicBezTo>
                  <a:pt x="620" y="1244"/>
                  <a:pt x="620" y="1244"/>
                  <a:pt x="621" y="1245"/>
                </a:cubicBezTo>
                <a:cubicBezTo>
                  <a:pt x="621" y="1246"/>
                  <a:pt x="620" y="1247"/>
                  <a:pt x="621" y="1247"/>
                </a:cubicBezTo>
                <a:cubicBezTo>
                  <a:pt x="621" y="1248"/>
                  <a:pt x="622" y="1246"/>
                  <a:pt x="622" y="1246"/>
                </a:cubicBezTo>
                <a:cubicBezTo>
                  <a:pt x="622" y="1245"/>
                  <a:pt x="623" y="1245"/>
                  <a:pt x="623" y="1245"/>
                </a:cubicBezTo>
                <a:cubicBezTo>
                  <a:pt x="624" y="1245"/>
                  <a:pt x="625" y="1244"/>
                  <a:pt x="624" y="1243"/>
                </a:cubicBezTo>
                <a:cubicBezTo>
                  <a:pt x="624" y="1242"/>
                  <a:pt x="623" y="1243"/>
                  <a:pt x="623" y="1242"/>
                </a:cubicBezTo>
                <a:close/>
                <a:moveTo>
                  <a:pt x="634" y="1261"/>
                </a:moveTo>
                <a:cubicBezTo>
                  <a:pt x="633" y="1261"/>
                  <a:pt x="633" y="1260"/>
                  <a:pt x="633" y="1260"/>
                </a:cubicBezTo>
                <a:cubicBezTo>
                  <a:pt x="632" y="1260"/>
                  <a:pt x="632" y="1260"/>
                  <a:pt x="631" y="1260"/>
                </a:cubicBezTo>
                <a:cubicBezTo>
                  <a:pt x="631" y="1260"/>
                  <a:pt x="630" y="1260"/>
                  <a:pt x="630" y="1260"/>
                </a:cubicBezTo>
                <a:cubicBezTo>
                  <a:pt x="628" y="1261"/>
                  <a:pt x="629" y="1264"/>
                  <a:pt x="631" y="1263"/>
                </a:cubicBezTo>
                <a:cubicBezTo>
                  <a:pt x="632" y="1263"/>
                  <a:pt x="631" y="1263"/>
                  <a:pt x="632" y="1262"/>
                </a:cubicBezTo>
                <a:cubicBezTo>
                  <a:pt x="633" y="1261"/>
                  <a:pt x="634" y="1264"/>
                  <a:pt x="634" y="1264"/>
                </a:cubicBezTo>
                <a:cubicBezTo>
                  <a:pt x="635" y="1265"/>
                  <a:pt x="635" y="1264"/>
                  <a:pt x="635" y="1263"/>
                </a:cubicBezTo>
                <a:cubicBezTo>
                  <a:pt x="635" y="1262"/>
                  <a:pt x="636" y="1261"/>
                  <a:pt x="637" y="1261"/>
                </a:cubicBezTo>
                <a:cubicBezTo>
                  <a:pt x="637" y="1260"/>
                  <a:pt x="637" y="1260"/>
                  <a:pt x="636" y="1259"/>
                </a:cubicBezTo>
                <a:cubicBezTo>
                  <a:pt x="635" y="1259"/>
                  <a:pt x="635" y="1261"/>
                  <a:pt x="634" y="1261"/>
                </a:cubicBezTo>
                <a:close/>
                <a:moveTo>
                  <a:pt x="622" y="1327"/>
                </a:moveTo>
                <a:cubicBezTo>
                  <a:pt x="622" y="1327"/>
                  <a:pt x="621" y="1328"/>
                  <a:pt x="621" y="1328"/>
                </a:cubicBezTo>
                <a:cubicBezTo>
                  <a:pt x="622" y="1329"/>
                  <a:pt x="622" y="1330"/>
                  <a:pt x="622" y="1330"/>
                </a:cubicBezTo>
                <a:cubicBezTo>
                  <a:pt x="622" y="1330"/>
                  <a:pt x="622" y="1331"/>
                  <a:pt x="623" y="1331"/>
                </a:cubicBezTo>
                <a:cubicBezTo>
                  <a:pt x="624" y="1330"/>
                  <a:pt x="623" y="1329"/>
                  <a:pt x="623" y="1329"/>
                </a:cubicBezTo>
                <a:cubicBezTo>
                  <a:pt x="623" y="1328"/>
                  <a:pt x="623" y="1327"/>
                  <a:pt x="622" y="1327"/>
                </a:cubicBezTo>
                <a:close/>
                <a:moveTo>
                  <a:pt x="665" y="1311"/>
                </a:moveTo>
                <a:cubicBezTo>
                  <a:pt x="665" y="1310"/>
                  <a:pt x="664" y="1310"/>
                  <a:pt x="663" y="1310"/>
                </a:cubicBezTo>
                <a:cubicBezTo>
                  <a:pt x="662" y="1310"/>
                  <a:pt x="662" y="1311"/>
                  <a:pt x="661" y="1311"/>
                </a:cubicBezTo>
                <a:cubicBezTo>
                  <a:pt x="661" y="1311"/>
                  <a:pt x="660" y="1311"/>
                  <a:pt x="660" y="1311"/>
                </a:cubicBezTo>
                <a:cubicBezTo>
                  <a:pt x="659" y="1311"/>
                  <a:pt x="660" y="1313"/>
                  <a:pt x="661" y="1313"/>
                </a:cubicBezTo>
                <a:cubicBezTo>
                  <a:pt x="662" y="1313"/>
                  <a:pt x="662" y="1313"/>
                  <a:pt x="663" y="1313"/>
                </a:cubicBezTo>
                <a:cubicBezTo>
                  <a:pt x="663" y="1314"/>
                  <a:pt x="663" y="1314"/>
                  <a:pt x="663" y="1314"/>
                </a:cubicBezTo>
                <a:cubicBezTo>
                  <a:pt x="663" y="1314"/>
                  <a:pt x="664" y="1314"/>
                  <a:pt x="664" y="1314"/>
                </a:cubicBezTo>
                <a:cubicBezTo>
                  <a:pt x="665" y="1314"/>
                  <a:pt x="666" y="1314"/>
                  <a:pt x="666" y="1313"/>
                </a:cubicBezTo>
                <a:cubicBezTo>
                  <a:pt x="667" y="1313"/>
                  <a:pt x="667" y="1313"/>
                  <a:pt x="667" y="1313"/>
                </a:cubicBezTo>
                <a:cubicBezTo>
                  <a:pt x="667" y="1312"/>
                  <a:pt x="668" y="1312"/>
                  <a:pt x="668" y="1312"/>
                </a:cubicBezTo>
                <a:cubicBezTo>
                  <a:pt x="670" y="1311"/>
                  <a:pt x="666" y="1311"/>
                  <a:pt x="665" y="1311"/>
                </a:cubicBezTo>
                <a:close/>
                <a:moveTo>
                  <a:pt x="602" y="1278"/>
                </a:moveTo>
                <a:cubicBezTo>
                  <a:pt x="601" y="1278"/>
                  <a:pt x="601" y="1277"/>
                  <a:pt x="601" y="1278"/>
                </a:cubicBezTo>
                <a:cubicBezTo>
                  <a:pt x="601" y="1279"/>
                  <a:pt x="602" y="1280"/>
                  <a:pt x="603" y="1280"/>
                </a:cubicBezTo>
                <a:cubicBezTo>
                  <a:pt x="603" y="1279"/>
                  <a:pt x="602" y="1279"/>
                  <a:pt x="602" y="1278"/>
                </a:cubicBezTo>
                <a:close/>
                <a:moveTo>
                  <a:pt x="478" y="1190"/>
                </a:moveTo>
                <a:cubicBezTo>
                  <a:pt x="477" y="1190"/>
                  <a:pt x="476" y="1188"/>
                  <a:pt x="474" y="1188"/>
                </a:cubicBezTo>
                <a:cubicBezTo>
                  <a:pt x="474" y="1188"/>
                  <a:pt x="474" y="1188"/>
                  <a:pt x="474" y="1188"/>
                </a:cubicBezTo>
                <a:cubicBezTo>
                  <a:pt x="473" y="1188"/>
                  <a:pt x="472" y="1189"/>
                  <a:pt x="470" y="1188"/>
                </a:cubicBezTo>
                <a:cubicBezTo>
                  <a:pt x="470" y="1188"/>
                  <a:pt x="470" y="1187"/>
                  <a:pt x="469" y="1187"/>
                </a:cubicBezTo>
                <a:cubicBezTo>
                  <a:pt x="469" y="1187"/>
                  <a:pt x="469" y="1188"/>
                  <a:pt x="469" y="1188"/>
                </a:cubicBezTo>
                <a:cubicBezTo>
                  <a:pt x="469" y="1189"/>
                  <a:pt x="471" y="1189"/>
                  <a:pt x="471" y="1189"/>
                </a:cubicBezTo>
                <a:cubicBezTo>
                  <a:pt x="473" y="1189"/>
                  <a:pt x="475" y="1189"/>
                  <a:pt x="476" y="1190"/>
                </a:cubicBezTo>
                <a:cubicBezTo>
                  <a:pt x="477" y="1191"/>
                  <a:pt x="478" y="1191"/>
                  <a:pt x="480" y="1192"/>
                </a:cubicBezTo>
                <a:cubicBezTo>
                  <a:pt x="481" y="1192"/>
                  <a:pt x="482" y="1194"/>
                  <a:pt x="483" y="1193"/>
                </a:cubicBezTo>
                <a:cubicBezTo>
                  <a:pt x="483" y="1191"/>
                  <a:pt x="479" y="1191"/>
                  <a:pt x="478" y="1190"/>
                </a:cubicBezTo>
                <a:close/>
                <a:moveTo>
                  <a:pt x="471" y="1190"/>
                </a:moveTo>
                <a:cubicBezTo>
                  <a:pt x="471" y="1189"/>
                  <a:pt x="468" y="1190"/>
                  <a:pt x="467" y="1190"/>
                </a:cubicBezTo>
                <a:cubicBezTo>
                  <a:pt x="466" y="1190"/>
                  <a:pt x="465" y="1190"/>
                  <a:pt x="464" y="1189"/>
                </a:cubicBezTo>
                <a:cubicBezTo>
                  <a:pt x="464" y="1189"/>
                  <a:pt x="463" y="1189"/>
                  <a:pt x="463" y="1188"/>
                </a:cubicBezTo>
                <a:cubicBezTo>
                  <a:pt x="462" y="1188"/>
                  <a:pt x="461" y="1189"/>
                  <a:pt x="461" y="1189"/>
                </a:cubicBezTo>
                <a:cubicBezTo>
                  <a:pt x="462" y="1189"/>
                  <a:pt x="462" y="1189"/>
                  <a:pt x="462" y="1189"/>
                </a:cubicBezTo>
                <a:cubicBezTo>
                  <a:pt x="462" y="1190"/>
                  <a:pt x="461" y="1189"/>
                  <a:pt x="461" y="1190"/>
                </a:cubicBezTo>
                <a:cubicBezTo>
                  <a:pt x="463" y="1190"/>
                  <a:pt x="464" y="1191"/>
                  <a:pt x="466" y="1191"/>
                </a:cubicBezTo>
                <a:cubicBezTo>
                  <a:pt x="467" y="1190"/>
                  <a:pt x="468" y="1190"/>
                  <a:pt x="469" y="1190"/>
                </a:cubicBezTo>
                <a:cubicBezTo>
                  <a:pt x="470" y="1190"/>
                  <a:pt x="470" y="1191"/>
                  <a:pt x="471" y="1190"/>
                </a:cubicBezTo>
                <a:close/>
                <a:moveTo>
                  <a:pt x="477" y="1194"/>
                </a:moveTo>
                <a:cubicBezTo>
                  <a:pt x="477" y="1194"/>
                  <a:pt x="474" y="1193"/>
                  <a:pt x="475" y="1194"/>
                </a:cubicBezTo>
                <a:cubicBezTo>
                  <a:pt x="476" y="1195"/>
                  <a:pt x="478" y="1195"/>
                  <a:pt x="479" y="1195"/>
                </a:cubicBezTo>
                <a:cubicBezTo>
                  <a:pt x="480" y="1195"/>
                  <a:pt x="482" y="1196"/>
                  <a:pt x="483" y="1196"/>
                </a:cubicBezTo>
                <a:cubicBezTo>
                  <a:pt x="483" y="1195"/>
                  <a:pt x="480" y="1194"/>
                  <a:pt x="479" y="1194"/>
                </a:cubicBezTo>
                <a:cubicBezTo>
                  <a:pt x="479" y="1194"/>
                  <a:pt x="478" y="1194"/>
                  <a:pt x="477" y="1194"/>
                </a:cubicBezTo>
                <a:close/>
                <a:moveTo>
                  <a:pt x="673" y="1331"/>
                </a:moveTo>
                <a:cubicBezTo>
                  <a:pt x="671" y="1330"/>
                  <a:pt x="670" y="1332"/>
                  <a:pt x="668" y="1333"/>
                </a:cubicBezTo>
                <a:cubicBezTo>
                  <a:pt x="668" y="1334"/>
                  <a:pt x="667" y="1335"/>
                  <a:pt x="667" y="1336"/>
                </a:cubicBezTo>
                <a:cubicBezTo>
                  <a:pt x="668" y="1336"/>
                  <a:pt x="669" y="1334"/>
                  <a:pt x="670" y="1334"/>
                </a:cubicBezTo>
                <a:cubicBezTo>
                  <a:pt x="671" y="1333"/>
                  <a:pt x="672" y="1333"/>
                  <a:pt x="673" y="1333"/>
                </a:cubicBezTo>
                <a:cubicBezTo>
                  <a:pt x="674" y="1333"/>
                  <a:pt x="675" y="1331"/>
                  <a:pt x="673" y="1331"/>
                </a:cubicBezTo>
                <a:close/>
                <a:moveTo>
                  <a:pt x="780" y="1368"/>
                </a:moveTo>
                <a:cubicBezTo>
                  <a:pt x="780" y="1369"/>
                  <a:pt x="780" y="1369"/>
                  <a:pt x="779" y="1369"/>
                </a:cubicBezTo>
                <a:cubicBezTo>
                  <a:pt x="779" y="1369"/>
                  <a:pt x="779" y="1369"/>
                  <a:pt x="778" y="1369"/>
                </a:cubicBezTo>
                <a:cubicBezTo>
                  <a:pt x="777" y="1369"/>
                  <a:pt x="777" y="1370"/>
                  <a:pt x="776" y="1370"/>
                </a:cubicBezTo>
                <a:cubicBezTo>
                  <a:pt x="775" y="1371"/>
                  <a:pt x="774" y="1373"/>
                  <a:pt x="773" y="1372"/>
                </a:cubicBezTo>
                <a:cubicBezTo>
                  <a:pt x="772" y="1372"/>
                  <a:pt x="772" y="1371"/>
                  <a:pt x="772" y="1371"/>
                </a:cubicBezTo>
                <a:cubicBezTo>
                  <a:pt x="771" y="1371"/>
                  <a:pt x="771" y="1373"/>
                  <a:pt x="772" y="1373"/>
                </a:cubicBezTo>
                <a:cubicBezTo>
                  <a:pt x="772" y="1374"/>
                  <a:pt x="772" y="1375"/>
                  <a:pt x="772" y="1376"/>
                </a:cubicBezTo>
                <a:cubicBezTo>
                  <a:pt x="772" y="1376"/>
                  <a:pt x="773" y="1376"/>
                  <a:pt x="773" y="1377"/>
                </a:cubicBezTo>
                <a:cubicBezTo>
                  <a:pt x="774" y="1378"/>
                  <a:pt x="774" y="1379"/>
                  <a:pt x="775" y="1380"/>
                </a:cubicBezTo>
                <a:cubicBezTo>
                  <a:pt x="777" y="1381"/>
                  <a:pt x="778" y="1381"/>
                  <a:pt x="780" y="1381"/>
                </a:cubicBezTo>
                <a:cubicBezTo>
                  <a:pt x="781" y="1381"/>
                  <a:pt x="782" y="1382"/>
                  <a:pt x="784" y="1382"/>
                </a:cubicBezTo>
                <a:cubicBezTo>
                  <a:pt x="785" y="1382"/>
                  <a:pt x="786" y="1381"/>
                  <a:pt x="788" y="1381"/>
                </a:cubicBezTo>
                <a:cubicBezTo>
                  <a:pt x="788" y="1381"/>
                  <a:pt x="789" y="1381"/>
                  <a:pt x="790" y="1381"/>
                </a:cubicBezTo>
                <a:cubicBezTo>
                  <a:pt x="791" y="1381"/>
                  <a:pt x="791" y="1380"/>
                  <a:pt x="792" y="1380"/>
                </a:cubicBezTo>
                <a:cubicBezTo>
                  <a:pt x="793" y="1379"/>
                  <a:pt x="793" y="1379"/>
                  <a:pt x="794" y="1379"/>
                </a:cubicBezTo>
                <a:cubicBezTo>
                  <a:pt x="795" y="1379"/>
                  <a:pt x="796" y="1378"/>
                  <a:pt x="796" y="1378"/>
                </a:cubicBezTo>
                <a:cubicBezTo>
                  <a:pt x="797" y="1378"/>
                  <a:pt x="798" y="1377"/>
                  <a:pt x="798" y="1377"/>
                </a:cubicBezTo>
                <a:cubicBezTo>
                  <a:pt x="799" y="1376"/>
                  <a:pt x="799" y="1374"/>
                  <a:pt x="800" y="1374"/>
                </a:cubicBezTo>
                <a:cubicBezTo>
                  <a:pt x="800" y="1374"/>
                  <a:pt x="801" y="1374"/>
                  <a:pt x="802" y="1374"/>
                </a:cubicBezTo>
                <a:cubicBezTo>
                  <a:pt x="803" y="1374"/>
                  <a:pt x="804" y="1374"/>
                  <a:pt x="805" y="1374"/>
                </a:cubicBezTo>
                <a:cubicBezTo>
                  <a:pt x="806" y="1374"/>
                  <a:pt x="808" y="1375"/>
                  <a:pt x="807" y="1373"/>
                </a:cubicBezTo>
                <a:cubicBezTo>
                  <a:pt x="806" y="1372"/>
                  <a:pt x="805" y="1371"/>
                  <a:pt x="805" y="1370"/>
                </a:cubicBezTo>
                <a:cubicBezTo>
                  <a:pt x="804" y="1369"/>
                  <a:pt x="803" y="1367"/>
                  <a:pt x="805" y="1367"/>
                </a:cubicBezTo>
                <a:cubicBezTo>
                  <a:pt x="806" y="1366"/>
                  <a:pt x="806" y="1366"/>
                  <a:pt x="807" y="1366"/>
                </a:cubicBezTo>
                <a:cubicBezTo>
                  <a:pt x="807" y="1366"/>
                  <a:pt x="808" y="1365"/>
                  <a:pt x="808" y="1365"/>
                </a:cubicBezTo>
                <a:cubicBezTo>
                  <a:pt x="809" y="1364"/>
                  <a:pt x="811" y="1364"/>
                  <a:pt x="812" y="1363"/>
                </a:cubicBezTo>
                <a:cubicBezTo>
                  <a:pt x="812" y="1362"/>
                  <a:pt x="813" y="1362"/>
                  <a:pt x="813" y="1361"/>
                </a:cubicBezTo>
                <a:cubicBezTo>
                  <a:pt x="814" y="1361"/>
                  <a:pt x="814" y="1360"/>
                  <a:pt x="815" y="1360"/>
                </a:cubicBezTo>
                <a:cubicBezTo>
                  <a:pt x="816" y="1360"/>
                  <a:pt x="818" y="1358"/>
                  <a:pt x="817" y="1358"/>
                </a:cubicBezTo>
                <a:cubicBezTo>
                  <a:pt x="816" y="1358"/>
                  <a:pt x="815" y="1358"/>
                  <a:pt x="815" y="1358"/>
                </a:cubicBezTo>
                <a:cubicBezTo>
                  <a:pt x="814" y="1359"/>
                  <a:pt x="814" y="1359"/>
                  <a:pt x="813" y="1359"/>
                </a:cubicBezTo>
                <a:cubicBezTo>
                  <a:pt x="812" y="1360"/>
                  <a:pt x="811" y="1360"/>
                  <a:pt x="809" y="1361"/>
                </a:cubicBezTo>
                <a:cubicBezTo>
                  <a:pt x="808" y="1362"/>
                  <a:pt x="807" y="1362"/>
                  <a:pt x="805" y="1363"/>
                </a:cubicBezTo>
                <a:cubicBezTo>
                  <a:pt x="804" y="1363"/>
                  <a:pt x="803" y="1363"/>
                  <a:pt x="801" y="1364"/>
                </a:cubicBezTo>
                <a:cubicBezTo>
                  <a:pt x="800" y="1365"/>
                  <a:pt x="799" y="1366"/>
                  <a:pt x="797" y="1366"/>
                </a:cubicBezTo>
                <a:cubicBezTo>
                  <a:pt x="796" y="1366"/>
                  <a:pt x="794" y="1366"/>
                  <a:pt x="793" y="1366"/>
                </a:cubicBezTo>
                <a:cubicBezTo>
                  <a:pt x="791" y="1366"/>
                  <a:pt x="790" y="1366"/>
                  <a:pt x="788" y="1366"/>
                </a:cubicBezTo>
                <a:cubicBezTo>
                  <a:pt x="788" y="1366"/>
                  <a:pt x="787" y="1366"/>
                  <a:pt x="787" y="1365"/>
                </a:cubicBezTo>
                <a:cubicBezTo>
                  <a:pt x="786" y="1365"/>
                  <a:pt x="786" y="1364"/>
                  <a:pt x="785" y="1364"/>
                </a:cubicBezTo>
                <a:cubicBezTo>
                  <a:pt x="784" y="1364"/>
                  <a:pt x="785" y="1365"/>
                  <a:pt x="785" y="1366"/>
                </a:cubicBezTo>
                <a:cubicBezTo>
                  <a:pt x="784" y="1366"/>
                  <a:pt x="784" y="1367"/>
                  <a:pt x="784" y="1367"/>
                </a:cubicBezTo>
                <a:cubicBezTo>
                  <a:pt x="783" y="1368"/>
                  <a:pt x="781" y="1367"/>
                  <a:pt x="780" y="1368"/>
                </a:cubicBezTo>
                <a:close/>
                <a:moveTo>
                  <a:pt x="636" y="1318"/>
                </a:moveTo>
                <a:cubicBezTo>
                  <a:pt x="636" y="1318"/>
                  <a:pt x="635" y="1319"/>
                  <a:pt x="637" y="1319"/>
                </a:cubicBezTo>
                <a:cubicBezTo>
                  <a:pt x="638" y="1319"/>
                  <a:pt x="638" y="1317"/>
                  <a:pt x="636" y="1318"/>
                </a:cubicBezTo>
                <a:close/>
                <a:moveTo>
                  <a:pt x="667" y="1327"/>
                </a:moveTo>
                <a:cubicBezTo>
                  <a:pt x="667" y="1327"/>
                  <a:pt x="666" y="1327"/>
                  <a:pt x="666" y="1328"/>
                </a:cubicBezTo>
                <a:cubicBezTo>
                  <a:pt x="666" y="1328"/>
                  <a:pt x="666" y="1329"/>
                  <a:pt x="667" y="1329"/>
                </a:cubicBezTo>
                <a:cubicBezTo>
                  <a:pt x="667" y="1330"/>
                  <a:pt x="667" y="1331"/>
                  <a:pt x="668" y="1330"/>
                </a:cubicBezTo>
                <a:cubicBezTo>
                  <a:pt x="668" y="1329"/>
                  <a:pt x="667" y="1328"/>
                  <a:pt x="667" y="1328"/>
                </a:cubicBezTo>
                <a:cubicBezTo>
                  <a:pt x="667" y="1328"/>
                  <a:pt x="667" y="1327"/>
                  <a:pt x="667" y="1327"/>
                </a:cubicBezTo>
                <a:close/>
                <a:moveTo>
                  <a:pt x="684" y="1339"/>
                </a:moveTo>
                <a:cubicBezTo>
                  <a:pt x="684" y="1339"/>
                  <a:pt x="685" y="1339"/>
                  <a:pt x="685" y="1339"/>
                </a:cubicBezTo>
                <a:cubicBezTo>
                  <a:pt x="685" y="1338"/>
                  <a:pt x="684" y="1338"/>
                  <a:pt x="684" y="1338"/>
                </a:cubicBezTo>
                <a:cubicBezTo>
                  <a:pt x="683" y="1338"/>
                  <a:pt x="684" y="1339"/>
                  <a:pt x="684" y="1339"/>
                </a:cubicBezTo>
                <a:close/>
                <a:moveTo>
                  <a:pt x="681" y="1349"/>
                </a:moveTo>
                <a:cubicBezTo>
                  <a:pt x="681" y="1350"/>
                  <a:pt x="682" y="1350"/>
                  <a:pt x="682" y="1350"/>
                </a:cubicBezTo>
                <a:cubicBezTo>
                  <a:pt x="683" y="1351"/>
                  <a:pt x="682" y="1352"/>
                  <a:pt x="682" y="1353"/>
                </a:cubicBezTo>
                <a:cubicBezTo>
                  <a:pt x="682" y="1354"/>
                  <a:pt x="683" y="1353"/>
                  <a:pt x="684" y="1353"/>
                </a:cubicBezTo>
                <a:cubicBezTo>
                  <a:pt x="685" y="1352"/>
                  <a:pt x="685" y="1350"/>
                  <a:pt x="687" y="1350"/>
                </a:cubicBezTo>
                <a:cubicBezTo>
                  <a:pt x="687" y="1350"/>
                  <a:pt x="688" y="1350"/>
                  <a:pt x="689" y="1350"/>
                </a:cubicBezTo>
                <a:cubicBezTo>
                  <a:pt x="689" y="1349"/>
                  <a:pt x="689" y="1349"/>
                  <a:pt x="689" y="1348"/>
                </a:cubicBezTo>
                <a:cubicBezTo>
                  <a:pt x="689" y="1347"/>
                  <a:pt x="689" y="1347"/>
                  <a:pt x="690" y="1346"/>
                </a:cubicBezTo>
                <a:cubicBezTo>
                  <a:pt x="690" y="1346"/>
                  <a:pt x="690" y="1345"/>
                  <a:pt x="690" y="1345"/>
                </a:cubicBezTo>
                <a:cubicBezTo>
                  <a:pt x="691" y="1345"/>
                  <a:pt x="690" y="1344"/>
                  <a:pt x="691" y="1344"/>
                </a:cubicBezTo>
                <a:cubicBezTo>
                  <a:pt x="691" y="1343"/>
                  <a:pt x="692" y="1343"/>
                  <a:pt x="692" y="1342"/>
                </a:cubicBezTo>
                <a:cubicBezTo>
                  <a:pt x="692" y="1342"/>
                  <a:pt x="692" y="1341"/>
                  <a:pt x="691" y="1341"/>
                </a:cubicBezTo>
                <a:cubicBezTo>
                  <a:pt x="690" y="1341"/>
                  <a:pt x="689" y="1343"/>
                  <a:pt x="687" y="1343"/>
                </a:cubicBezTo>
                <a:cubicBezTo>
                  <a:pt x="686" y="1344"/>
                  <a:pt x="685" y="1343"/>
                  <a:pt x="684" y="1344"/>
                </a:cubicBezTo>
                <a:cubicBezTo>
                  <a:pt x="683" y="1345"/>
                  <a:pt x="683" y="1346"/>
                  <a:pt x="682" y="1347"/>
                </a:cubicBezTo>
                <a:cubicBezTo>
                  <a:pt x="682" y="1348"/>
                  <a:pt x="681" y="1348"/>
                  <a:pt x="681" y="1349"/>
                </a:cubicBezTo>
                <a:close/>
                <a:moveTo>
                  <a:pt x="672" y="1355"/>
                </a:moveTo>
                <a:cubicBezTo>
                  <a:pt x="671" y="1355"/>
                  <a:pt x="670" y="1357"/>
                  <a:pt x="670" y="1358"/>
                </a:cubicBezTo>
                <a:cubicBezTo>
                  <a:pt x="670" y="1359"/>
                  <a:pt x="669" y="1360"/>
                  <a:pt x="669" y="1360"/>
                </a:cubicBezTo>
                <a:cubicBezTo>
                  <a:pt x="669" y="1361"/>
                  <a:pt x="670" y="1364"/>
                  <a:pt x="671" y="1364"/>
                </a:cubicBezTo>
                <a:cubicBezTo>
                  <a:pt x="672" y="1364"/>
                  <a:pt x="671" y="1361"/>
                  <a:pt x="671" y="1360"/>
                </a:cubicBezTo>
                <a:cubicBezTo>
                  <a:pt x="671" y="1358"/>
                  <a:pt x="671" y="1358"/>
                  <a:pt x="672" y="1357"/>
                </a:cubicBezTo>
                <a:cubicBezTo>
                  <a:pt x="673" y="1356"/>
                  <a:pt x="673" y="1355"/>
                  <a:pt x="672" y="1355"/>
                </a:cubicBezTo>
                <a:close/>
                <a:moveTo>
                  <a:pt x="436" y="1311"/>
                </a:moveTo>
                <a:cubicBezTo>
                  <a:pt x="437" y="1310"/>
                  <a:pt x="437" y="1310"/>
                  <a:pt x="437" y="1309"/>
                </a:cubicBezTo>
                <a:cubicBezTo>
                  <a:pt x="438" y="1308"/>
                  <a:pt x="438" y="1307"/>
                  <a:pt x="439" y="1306"/>
                </a:cubicBezTo>
                <a:cubicBezTo>
                  <a:pt x="441" y="1305"/>
                  <a:pt x="441" y="1304"/>
                  <a:pt x="441" y="1303"/>
                </a:cubicBezTo>
                <a:cubicBezTo>
                  <a:pt x="441" y="1302"/>
                  <a:pt x="442" y="1301"/>
                  <a:pt x="442" y="1301"/>
                </a:cubicBezTo>
                <a:cubicBezTo>
                  <a:pt x="443" y="1301"/>
                  <a:pt x="444" y="1301"/>
                  <a:pt x="444" y="1300"/>
                </a:cubicBezTo>
                <a:cubicBezTo>
                  <a:pt x="442" y="1300"/>
                  <a:pt x="441" y="1300"/>
                  <a:pt x="440" y="1300"/>
                </a:cubicBezTo>
                <a:cubicBezTo>
                  <a:pt x="439" y="1300"/>
                  <a:pt x="438" y="1302"/>
                  <a:pt x="436" y="1302"/>
                </a:cubicBezTo>
                <a:cubicBezTo>
                  <a:pt x="435" y="1302"/>
                  <a:pt x="434" y="1301"/>
                  <a:pt x="432" y="1302"/>
                </a:cubicBezTo>
                <a:cubicBezTo>
                  <a:pt x="431" y="1303"/>
                  <a:pt x="431" y="1304"/>
                  <a:pt x="429" y="1304"/>
                </a:cubicBezTo>
                <a:cubicBezTo>
                  <a:pt x="427" y="1304"/>
                  <a:pt x="426" y="1303"/>
                  <a:pt x="425" y="1303"/>
                </a:cubicBezTo>
                <a:cubicBezTo>
                  <a:pt x="424" y="1303"/>
                  <a:pt x="423" y="1304"/>
                  <a:pt x="423" y="1304"/>
                </a:cubicBezTo>
                <a:cubicBezTo>
                  <a:pt x="422" y="1305"/>
                  <a:pt x="421" y="1305"/>
                  <a:pt x="420" y="1305"/>
                </a:cubicBezTo>
                <a:cubicBezTo>
                  <a:pt x="419" y="1306"/>
                  <a:pt x="417" y="1306"/>
                  <a:pt x="415" y="1306"/>
                </a:cubicBezTo>
                <a:cubicBezTo>
                  <a:pt x="414" y="1305"/>
                  <a:pt x="413" y="1305"/>
                  <a:pt x="411" y="1305"/>
                </a:cubicBezTo>
                <a:cubicBezTo>
                  <a:pt x="410" y="1305"/>
                  <a:pt x="410" y="1305"/>
                  <a:pt x="409" y="1305"/>
                </a:cubicBezTo>
                <a:cubicBezTo>
                  <a:pt x="408" y="1304"/>
                  <a:pt x="407" y="1304"/>
                  <a:pt x="407" y="1304"/>
                </a:cubicBezTo>
                <a:cubicBezTo>
                  <a:pt x="405" y="1303"/>
                  <a:pt x="404" y="1303"/>
                  <a:pt x="402" y="1303"/>
                </a:cubicBezTo>
                <a:cubicBezTo>
                  <a:pt x="402" y="1303"/>
                  <a:pt x="401" y="1303"/>
                  <a:pt x="400" y="1303"/>
                </a:cubicBezTo>
                <a:cubicBezTo>
                  <a:pt x="399" y="1303"/>
                  <a:pt x="400" y="1302"/>
                  <a:pt x="399" y="1301"/>
                </a:cubicBezTo>
                <a:cubicBezTo>
                  <a:pt x="399" y="1301"/>
                  <a:pt x="398" y="1301"/>
                  <a:pt x="397" y="1301"/>
                </a:cubicBezTo>
                <a:cubicBezTo>
                  <a:pt x="397" y="1301"/>
                  <a:pt x="396" y="1302"/>
                  <a:pt x="395" y="1302"/>
                </a:cubicBezTo>
                <a:cubicBezTo>
                  <a:pt x="394" y="1302"/>
                  <a:pt x="393" y="1304"/>
                  <a:pt x="392" y="1304"/>
                </a:cubicBezTo>
                <a:cubicBezTo>
                  <a:pt x="391" y="1305"/>
                  <a:pt x="389" y="1304"/>
                  <a:pt x="388" y="1303"/>
                </a:cubicBezTo>
                <a:cubicBezTo>
                  <a:pt x="388" y="1303"/>
                  <a:pt x="388" y="1302"/>
                  <a:pt x="387" y="1302"/>
                </a:cubicBezTo>
                <a:cubicBezTo>
                  <a:pt x="386" y="1302"/>
                  <a:pt x="385" y="1303"/>
                  <a:pt x="385" y="1303"/>
                </a:cubicBezTo>
                <a:cubicBezTo>
                  <a:pt x="384" y="1304"/>
                  <a:pt x="384" y="1305"/>
                  <a:pt x="383" y="1306"/>
                </a:cubicBezTo>
                <a:cubicBezTo>
                  <a:pt x="382" y="1307"/>
                  <a:pt x="381" y="1308"/>
                  <a:pt x="380" y="1309"/>
                </a:cubicBezTo>
                <a:cubicBezTo>
                  <a:pt x="379" y="1311"/>
                  <a:pt x="381" y="1311"/>
                  <a:pt x="382" y="1312"/>
                </a:cubicBezTo>
                <a:cubicBezTo>
                  <a:pt x="383" y="1312"/>
                  <a:pt x="383" y="1313"/>
                  <a:pt x="383" y="1314"/>
                </a:cubicBezTo>
                <a:cubicBezTo>
                  <a:pt x="384" y="1314"/>
                  <a:pt x="384" y="1315"/>
                  <a:pt x="384" y="1315"/>
                </a:cubicBezTo>
                <a:cubicBezTo>
                  <a:pt x="385" y="1316"/>
                  <a:pt x="385" y="1317"/>
                  <a:pt x="385" y="1317"/>
                </a:cubicBezTo>
                <a:cubicBezTo>
                  <a:pt x="386" y="1318"/>
                  <a:pt x="388" y="1315"/>
                  <a:pt x="389" y="1315"/>
                </a:cubicBezTo>
                <a:cubicBezTo>
                  <a:pt x="390" y="1315"/>
                  <a:pt x="390" y="1315"/>
                  <a:pt x="391" y="1315"/>
                </a:cubicBezTo>
                <a:cubicBezTo>
                  <a:pt x="391" y="1316"/>
                  <a:pt x="392" y="1316"/>
                  <a:pt x="392" y="1316"/>
                </a:cubicBezTo>
                <a:cubicBezTo>
                  <a:pt x="393" y="1317"/>
                  <a:pt x="393" y="1317"/>
                  <a:pt x="394" y="1317"/>
                </a:cubicBezTo>
                <a:cubicBezTo>
                  <a:pt x="395" y="1317"/>
                  <a:pt x="396" y="1319"/>
                  <a:pt x="397" y="1319"/>
                </a:cubicBezTo>
                <a:cubicBezTo>
                  <a:pt x="398" y="1320"/>
                  <a:pt x="400" y="1320"/>
                  <a:pt x="401" y="1321"/>
                </a:cubicBezTo>
                <a:cubicBezTo>
                  <a:pt x="403" y="1321"/>
                  <a:pt x="403" y="1323"/>
                  <a:pt x="405" y="1323"/>
                </a:cubicBezTo>
                <a:cubicBezTo>
                  <a:pt x="406" y="1323"/>
                  <a:pt x="407" y="1323"/>
                  <a:pt x="409" y="1324"/>
                </a:cubicBezTo>
                <a:cubicBezTo>
                  <a:pt x="409" y="1324"/>
                  <a:pt x="409" y="1325"/>
                  <a:pt x="410" y="1326"/>
                </a:cubicBezTo>
                <a:cubicBezTo>
                  <a:pt x="410" y="1326"/>
                  <a:pt x="410" y="1326"/>
                  <a:pt x="411" y="1326"/>
                </a:cubicBezTo>
                <a:cubicBezTo>
                  <a:pt x="414" y="1327"/>
                  <a:pt x="416" y="1327"/>
                  <a:pt x="418" y="1329"/>
                </a:cubicBezTo>
                <a:cubicBezTo>
                  <a:pt x="419" y="1330"/>
                  <a:pt x="419" y="1331"/>
                  <a:pt x="420" y="1332"/>
                </a:cubicBezTo>
                <a:cubicBezTo>
                  <a:pt x="421" y="1332"/>
                  <a:pt x="421" y="1333"/>
                  <a:pt x="421" y="1333"/>
                </a:cubicBezTo>
                <a:cubicBezTo>
                  <a:pt x="421" y="1334"/>
                  <a:pt x="422" y="1334"/>
                  <a:pt x="422" y="1335"/>
                </a:cubicBezTo>
                <a:cubicBezTo>
                  <a:pt x="424" y="1335"/>
                  <a:pt x="425" y="1334"/>
                  <a:pt x="427" y="1335"/>
                </a:cubicBezTo>
                <a:cubicBezTo>
                  <a:pt x="428" y="1335"/>
                  <a:pt x="428" y="1335"/>
                  <a:pt x="429" y="1336"/>
                </a:cubicBezTo>
                <a:cubicBezTo>
                  <a:pt x="430" y="1336"/>
                  <a:pt x="432" y="1335"/>
                  <a:pt x="433" y="1336"/>
                </a:cubicBezTo>
                <a:cubicBezTo>
                  <a:pt x="433" y="1336"/>
                  <a:pt x="433" y="1337"/>
                  <a:pt x="434" y="1336"/>
                </a:cubicBezTo>
                <a:cubicBezTo>
                  <a:pt x="434" y="1336"/>
                  <a:pt x="434" y="1335"/>
                  <a:pt x="434" y="1335"/>
                </a:cubicBezTo>
                <a:cubicBezTo>
                  <a:pt x="434" y="1334"/>
                  <a:pt x="433" y="1332"/>
                  <a:pt x="434" y="1332"/>
                </a:cubicBezTo>
                <a:cubicBezTo>
                  <a:pt x="435" y="1332"/>
                  <a:pt x="435" y="1333"/>
                  <a:pt x="435" y="1332"/>
                </a:cubicBezTo>
                <a:cubicBezTo>
                  <a:pt x="435" y="1331"/>
                  <a:pt x="433" y="1329"/>
                  <a:pt x="436" y="1329"/>
                </a:cubicBezTo>
                <a:cubicBezTo>
                  <a:pt x="436" y="1329"/>
                  <a:pt x="437" y="1329"/>
                  <a:pt x="437" y="1329"/>
                </a:cubicBezTo>
                <a:cubicBezTo>
                  <a:pt x="437" y="1328"/>
                  <a:pt x="437" y="1328"/>
                  <a:pt x="437" y="1327"/>
                </a:cubicBezTo>
                <a:cubicBezTo>
                  <a:pt x="437" y="1327"/>
                  <a:pt x="436" y="1326"/>
                  <a:pt x="436" y="1326"/>
                </a:cubicBezTo>
                <a:cubicBezTo>
                  <a:pt x="436" y="1325"/>
                  <a:pt x="436" y="1325"/>
                  <a:pt x="435" y="1324"/>
                </a:cubicBezTo>
                <a:cubicBezTo>
                  <a:pt x="435" y="1324"/>
                  <a:pt x="435" y="1323"/>
                  <a:pt x="434" y="1323"/>
                </a:cubicBezTo>
                <a:cubicBezTo>
                  <a:pt x="434" y="1322"/>
                  <a:pt x="433" y="1322"/>
                  <a:pt x="433" y="1322"/>
                </a:cubicBezTo>
                <a:cubicBezTo>
                  <a:pt x="433" y="1321"/>
                  <a:pt x="433" y="1320"/>
                  <a:pt x="433" y="1319"/>
                </a:cubicBezTo>
                <a:cubicBezTo>
                  <a:pt x="433" y="1319"/>
                  <a:pt x="433" y="1318"/>
                  <a:pt x="433" y="1317"/>
                </a:cubicBezTo>
                <a:cubicBezTo>
                  <a:pt x="434" y="1317"/>
                  <a:pt x="434" y="1317"/>
                  <a:pt x="435" y="1316"/>
                </a:cubicBezTo>
                <a:cubicBezTo>
                  <a:pt x="435" y="1315"/>
                  <a:pt x="435" y="1314"/>
                  <a:pt x="435" y="1313"/>
                </a:cubicBezTo>
                <a:cubicBezTo>
                  <a:pt x="435" y="1312"/>
                  <a:pt x="436" y="1312"/>
                  <a:pt x="436" y="1311"/>
                </a:cubicBezTo>
                <a:close/>
                <a:moveTo>
                  <a:pt x="589" y="1343"/>
                </a:moveTo>
                <a:cubicBezTo>
                  <a:pt x="588" y="1342"/>
                  <a:pt x="587" y="1346"/>
                  <a:pt x="587" y="1347"/>
                </a:cubicBezTo>
                <a:cubicBezTo>
                  <a:pt x="588" y="1347"/>
                  <a:pt x="588" y="1348"/>
                  <a:pt x="589" y="1348"/>
                </a:cubicBezTo>
                <a:cubicBezTo>
                  <a:pt x="589" y="1349"/>
                  <a:pt x="589" y="1349"/>
                  <a:pt x="590" y="1349"/>
                </a:cubicBezTo>
                <a:cubicBezTo>
                  <a:pt x="590" y="1349"/>
                  <a:pt x="590" y="1348"/>
                  <a:pt x="590" y="1348"/>
                </a:cubicBezTo>
                <a:cubicBezTo>
                  <a:pt x="589" y="1347"/>
                  <a:pt x="589" y="1347"/>
                  <a:pt x="589" y="1346"/>
                </a:cubicBezTo>
                <a:cubicBezTo>
                  <a:pt x="589" y="1345"/>
                  <a:pt x="589" y="1344"/>
                  <a:pt x="589" y="1343"/>
                </a:cubicBezTo>
                <a:close/>
                <a:moveTo>
                  <a:pt x="523" y="1264"/>
                </a:moveTo>
                <a:cubicBezTo>
                  <a:pt x="523" y="1264"/>
                  <a:pt x="522" y="1264"/>
                  <a:pt x="522" y="1264"/>
                </a:cubicBezTo>
                <a:cubicBezTo>
                  <a:pt x="522" y="1264"/>
                  <a:pt x="522" y="1264"/>
                  <a:pt x="522" y="1264"/>
                </a:cubicBezTo>
                <a:cubicBezTo>
                  <a:pt x="522" y="1264"/>
                  <a:pt x="522" y="1265"/>
                  <a:pt x="523" y="1264"/>
                </a:cubicBezTo>
                <a:close/>
                <a:moveTo>
                  <a:pt x="544" y="1301"/>
                </a:moveTo>
                <a:cubicBezTo>
                  <a:pt x="544" y="1300"/>
                  <a:pt x="544" y="1299"/>
                  <a:pt x="544" y="1299"/>
                </a:cubicBezTo>
                <a:cubicBezTo>
                  <a:pt x="543" y="1298"/>
                  <a:pt x="542" y="1298"/>
                  <a:pt x="542" y="1297"/>
                </a:cubicBezTo>
                <a:cubicBezTo>
                  <a:pt x="542" y="1296"/>
                  <a:pt x="542" y="1296"/>
                  <a:pt x="542" y="1295"/>
                </a:cubicBezTo>
                <a:cubicBezTo>
                  <a:pt x="541" y="1295"/>
                  <a:pt x="541" y="1295"/>
                  <a:pt x="540" y="1296"/>
                </a:cubicBezTo>
                <a:cubicBezTo>
                  <a:pt x="540" y="1296"/>
                  <a:pt x="540" y="1297"/>
                  <a:pt x="539" y="1297"/>
                </a:cubicBezTo>
                <a:cubicBezTo>
                  <a:pt x="539" y="1298"/>
                  <a:pt x="539" y="1299"/>
                  <a:pt x="538" y="1299"/>
                </a:cubicBezTo>
                <a:cubicBezTo>
                  <a:pt x="538" y="1300"/>
                  <a:pt x="535" y="1300"/>
                  <a:pt x="536" y="1301"/>
                </a:cubicBezTo>
                <a:cubicBezTo>
                  <a:pt x="537" y="1302"/>
                  <a:pt x="538" y="1300"/>
                  <a:pt x="539" y="1302"/>
                </a:cubicBezTo>
                <a:cubicBezTo>
                  <a:pt x="540" y="1302"/>
                  <a:pt x="539" y="1303"/>
                  <a:pt x="540" y="1303"/>
                </a:cubicBezTo>
                <a:cubicBezTo>
                  <a:pt x="541" y="1303"/>
                  <a:pt x="541" y="1303"/>
                  <a:pt x="542" y="1303"/>
                </a:cubicBezTo>
                <a:cubicBezTo>
                  <a:pt x="543" y="1303"/>
                  <a:pt x="543" y="1303"/>
                  <a:pt x="544" y="1304"/>
                </a:cubicBezTo>
                <a:cubicBezTo>
                  <a:pt x="544" y="1304"/>
                  <a:pt x="545" y="1305"/>
                  <a:pt x="545" y="1304"/>
                </a:cubicBezTo>
                <a:cubicBezTo>
                  <a:pt x="546" y="1304"/>
                  <a:pt x="545" y="1303"/>
                  <a:pt x="544" y="1303"/>
                </a:cubicBezTo>
                <a:cubicBezTo>
                  <a:pt x="544" y="1302"/>
                  <a:pt x="544" y="1302"/>
                  <a:pt x="544" y="1301"/>
                </a:cubicBezTo>
                <a:close/>
                <a:moveTo>
                  <a:pt x="544" y="1308"/>
                </a:moveTo>
                <a:cubicBezTo>
                  <a:pt x="543" y="1308"/>
                  <a:pt x="543" y="1307"/>
                  <a:pt x="542" y="1307"/>
                </a:cubicBezTo>
                <a:cubicBezTo>
                  <a:pt x="542" y="1307"/>
                  <a:pt x="544" y="1311"/>
                  <a:pt x="545" y="1312"/>
                </a:cubicBezTo>
                <a:cubicBezTo>
                  <a:pt x="545" y="1312"/>
                  <a:pt x="545" y="1313"/>
                  <a:pt x="545" y="1313"/>
                </a:cubicBezTo>
                <a:cubicBezTo>
                  <a:pt x="546" y="1314"/>
                  <a:pt x="546" y="1314"/>
                  <a:pt x="546" y="1313"/>
                </a:cubicBezTo>
                <a:cubicBezTo>
                  <a:pt x="547" y="1313"/>
                  <a:pt x="547" y="1313"/>
                  <a:pt x="548" y="1312"/>
                </a:cubicBezTo>
                <a:cubicBezTo>
                  <a:pt x="549" y="1312"/>
                  <a:pt x="549" y="1312"/>
                  <a:pt x="548" y="1311"/>
                </a:cubicBezTo>
                <a:cubicBezTo>
                  <a:pt x="548" y="1311"/>
                  <a:pt x="547" y="1311"/>
                  <a:pt x="546" y="1311"/>
                </a:cubicBezTo>
                <a:cubicBezTo>
                  <a:pt x="546" y="1311"/>
                  <a:pt x="546" y="1310"/>
                  <a:pt x="545" y="1309"/>
                </a:cubicBezTo>
                <a:cubicBezTo>
                  <a:pt x="545" y="1309"/>
                  <a:pt x="544" y="1309"/>
                  <a:pt x="544" y="1308"/>
                </a:cubicBezTo>
                <a:close/>
                <a:moveTo>
                  <a:pt x="527" y="1266"/>
                </a:moveTo>
                <a:cubicBezTo>
                  <a:pt x="527" y="1266"/>
                  <a:pt x="528" y="1266"/>
                  <a:pt x="528" y="1266"/>
                </a:cubicBezTo>
                <a:cubicBezTo>
                  <a:pt x="530" y="1263"/>
                  <a:pt x="525" y="1265"/>
                  <a:pt x="524" y="1265"/>
                </a:cubicBezTo>
                <a:cubicBezTo>
                  <a:pt x="523" y="1265"/>
                  <a:pt x="522" y="1266"/>
                  <a:pt x="523" y="1266"/>
                </a:cubicBezTo>
                <a:cubicBezTo>
                  <a:pt x="524" y="1267"/>
                  <a:pt x="524" y="1266"/>
                  <a:pt x="525" y="1267"/>
                </a:cubicBezTo>
                <a:cubicBezTo>
                  <a:pt x="525" y="1268"/>
                  <a:pt x="525" y="1268"/>
                  <a:pt x="525" y="1269"/>
                </a:cubicBezTo>
                <a:cubicBezTo>
                  <a:pt x="526" y="1269"/>
                  <a:pt x="526" y="1269"/>
                  <a:pt x="527" y="1270"/>
                </a:cubicBezTo>
                <a:cubicBezTo>
                  <a:pt x="527" y="1270"/>
                  <a:pt x="527" y="1271"/>
                  <a:pt x="528" y="1271"/>
                </a:cubicBezTo>
                <a:cubicBezTo>
                  <a:pt x="529" y="1272"/>
                  <a:pt x="528" y="1271"/>
                  <a:pt x="528" y="1270"/>
                </a:cubicBezTo>
                <a:cubicBezTo>
                  <a:pt x="528" y="1270"/>
                  <a:pt x="528" y="1269"/>
                  <a:pt x="527" y="1268"/>
                </a:cubicBezTo>
                <a:cubicBezTo>
                  <a:pt x="527" y="1268"/>
                  <a:pt x="526" y="1268"/>
                  <a:pt x="526" y="1267"/>
                </a:cubicBezTo>
                <a:cubicBezTo>
                  <a:pt x="526" y="1267"/>
                  <a:pt x="527" y="1267"/>
                  <a:pt x="527" y="1266"/>
                </a:cubicBezTo>
                <a:close/>
                <a:moveTo>
                  <a:pt x="295" y="1245"/>
                </a:moveTo>
                <a:cubicBezTo>
                  <a:pt x="296" y="1247"/>
                  <a:pt x="297" y="1246"/>
                  <a:pt x="298" y="1246"/>
                </a:cubicBezTo>
                <a:cubicBezTo>
                  <a:pt x="299" y="1246"/>
                  <a:pt x="299" y="1246"/>
                  <a:pt x="300" y="1247"/>
                </a:cubicBezTo>
                <a:cubicBezTo>
                  <a:pt x="300" y="1248"/>
                  <a:pt x="300" y="1249"/>
                  <a:pt x="301" y="1250"/>
                </a:cubicBezTo>
                <a:cubicBezTo>
                  <a:pt x="301" y="1251"/>
                  <a:pt x="302" y="1251"/>
                  <a:pt x="302" y="1252"/>
                </a:cubicBezTo>
                <a:cubicBezTo>
                  <a:pt x="303" y="1254"/>
                  <a:pt x="301" y="1256"/>
                  <a:pt x="301" y="1257"/>
                </a:cubicBezTo>
                <a:cubicBezTo>
                  <a:pt x="300" y="1259"/>
                  <a:pt x="301" y="1260"/>
                  <a:pt x="301" y="1261"/>
                </a:cubicBezTo>
                <a:cubicBezTo>
                  <a:pt x="302" y="1262"/>
                  <a:pt x="301" y="1263"/>
                  <a:pt x="301" y="1263"/>
                </a:cubicBezTo>
                <a:cubicBezTo>
                  <a:pt x="302" y="1264"/>
                  <a:pt x="302" y="1264"/>
                  <a:pt x="303" y="1265"/>
                </a:cubicBezTo>
                <a:cubicBezTo>
                  <a:pt x="304" y="1267"/>
                  <a:pt x="303" y="1268"/>
                  <a:pt x="302" y="1271"/>
                </a:cubicBezTo>
                <a:cubicBezTo>
                  <a:pt x="301" y="1272"/>
                  <a:pt x="300" y="1272"/>
                  <a:pt x="300" y="1273"/>
                </a:cubicBezTo>
                <a:cubicBezTo>
                  <a:pt x="300" y="1274"/>
                  <a:pt x="301" y="1275"/>
                  <a:pt x="301" y="1276"/>
                </a:cubicBezTo>
                <a:cubicBezTo>
                  <a:pt x="301" y="1278"/>
                  <a:pt x="299" y="1280"/>
                  <a:pt x="301" y="1281"/>
                </a:cubicBezTo>
                <a:cubicBezTo>
                  <a:pt x="302" y="1282"/>
                  <a:pt x="303" y="1282"/>
                  <a:pt x="303" y="1282"/>
                </a:cubicBezTo>
                <a:cubicBezTo>
                  <a:pt x="304" y="1283"/>
                  <a:pt x="305" y="1284"/>
                  <a:pt x="305" y="1285"/>
                </a:cubicBezTo>
                <a:cubicBezTo>
                  <a:pt x="308" y="1288"/>
                  <a:pt x="311" y="1285"/>
                  <a:pt x="313" y="1282"/>
                </a:cubicBezTo>
                <a:cubicBezTo>
                  <a:pt x="313" y="1281"/>
                  <a:pt x="313" y="1280"/>
                  <a:pt x="313" y="1279"/>
                </a:cubicBezTo>
                <a:cubicBezTo>
                  <a:pt x="314" y="1277"/>
                  <a:pt x="317" y="1278"/>
                  <a:pt x="319" y="1278"/>
                </a:cubicBezTo>
                <a:cubicBezTo>
                  <a:pt x="320" y="1279"/>
                  <a:pt x="320" y="1279"/>
                  <a:pt x="321" y="1280"/>
                </a:cubicBezTo>
                <a:cubicBezTo>
                  <a:pt x="322" y="1281"/>
                  <a:pt x="322" y="1281"/>
                  <a:pt x="323" y="1280"/>
                </a:cubicBezTo>
                <a:cubicBezTo>
                  <a:pt x="323" y="1279"/>
                  <a:pt x="323" y="1277"/>
                  <a:pt x="323" y="1277"/>
                </a:cubicBezTo>
                <a:cubicBezTo>
                  <a:pt x="324" y="1276"/>
                  <a:pt x="324" y="1274"/>
                  <a:pt x="324" y="1273"/>
                </a:cubicBezTo>
                <a:cubicBezTo>
                  <a:pt x="324" y="1271"/>
                  <a:pt x="325" y="1270"/>
                  <a:pt x="325" y="1268"/>
                </a:cubicBezTo>
                <a:cubicBezTo>
                  <a:pt x="326" y="1267"/>
                  <a:pt x="326" y="1266"/>
                  <a:pt x="327" y="1265"/>
                </a:cubicBezTo>
                <a:cubicBezTo>
                  <a:pt x="327" y="1264"/>
                  <a:pt x="327" y="1263"/>
                  <a:pt x="327" y="1262"/>
                </a:cubicBezTo>
                <a:cubicBezTo>
                  <a:pt x="327" y="1261"/>
                  <a:pt x="327" y="1260"/>
                  <a:pt x="327" y="1259"/>
                </a:cubicBezTo>
                <a:cubicBezTo>
                  <a:pt x="327" y="1258"/>
                  <a:pt x="328" y="1257"/>
                  <a:pt x="328" y="1256"/>
                </a:cubicBezTo>
                <a:cubicBezTo>
                  <a:pt x="328" y="1254"/>
                  <a:pt x="328" y="1253"/>
                  <a:pt x="329" y="1252"/>
                </a:cubicBezTo>
                <a:cubicBezTo>
                  <a:pt x="329" y="1251"/>
                  <a:pt x="329" y="1250"/>
                  <a:pt x="329" y="1249"/>
                </a:cubicBezTo>
                <a:cubicBezTo>
                  <a:pt x="330" y="1247"/>
                  <a:pt x="328" y="1246"/>
                  <a:pt x="328" y="1244"/>
                </a:cubicBezTo>
                <a:cubicBezTo>
                  <a:pt x="327" y="1242"/>
                  <a:pt x="327" y="1240"/>
                  <a:pt x="325" y="1239"/>
                </a:cubicBezTo>
                <a:cubicBezTo>
                  <a:pt x="324" y="1239"/>
                  <a:pt x="323" y="1239"/>
                  <a:pt x="323" y="1238"/>
                </a:cubicBezTo>
                <a:cubicBezTo>
                  <a:pt x="322" y="1237"/>
                  <a:pt x="323" y="1236"/>
                  <a:pt x="324" y="1235"/>
                </a:cubicBezTo>
                <a:cubicBezTo>
                  <a:pt x="324" y="1232"/>
                  <a:pt x="321" y="1233"/>
                  <a:pt x="319" y="1232"/>
                </a:cubicBezTo>
                <a:cubicBezTo>
                  <a:pt x="318" y="1231"/>
                  <a:pt x="319" y="1230"/>
                  <a:pt x="317" y="1231"/>
                </a:cubicBezTo>
                <a:cubicBezTo>
                  <a:pt x="317" y="1231"/>
                  <a:pt x="316" y="1232"/>
                  <a:pt x="315" y="1232"/>
                </a:cubicBezTo>
                <a:cubicBezTo>
                  <a:pt x="314" y="1234"/>
                  <a:pt x="312" y="1234"/>
                  <a:pt x="311" y="1236"/>
                </a:cubicBezTo>
                <a:cubicBezTo>
                  <a:pt x="309" y="1237"/>
                  <a:pt x="308" y="1239"/>
                  <a:pt x="306" y="1240"/>
                </a:cubicBezTo>
                <a:cubicBezTo>
                  <a:pt x="305" y="1241"/>
                  <a:pt x="304" y="1240"/>
                  <a:pt x="303" y="1240"/>
                </a:cubicBezTo>
                <a:cubicBezTo>
                  <a:pt x="302" y="1239"/>
                  <a:pt x="301" y="1240"/>
                  <a:pt x="300" y="1239"/>
                </a:cubicBezTo>
                <a:cubicBezTo>
                  <a:pt x="299" y="1239"/>
                  <a:pt x="299" y="1238"/>
                  <a:pt x="298" y="1238"/>
                </a:cubicBezTo>
                <a:cubicBezTo>
                  <a:pt x="297" y="1237"/>
                  <a:pt x="297" y="1239"/>
                  <a:pt x="297" y="1240"/>
                </a:cubicBezTo>
                <a:cubicBezTo>
                  <a:pt x="297" y="1241"/>
                  <a:pt x="297" y="1242"/>
                  <a:pt x="296" y="1243"/>
                </a:cubicBezTo>
                <a:cubicBezTo>
                  <a:pt x="296" y="1244"/>
                  <a:pt x="295" y="1244"/>
                  <a:pt x="295" y="1245"/>
                </a:cubicBezTo>
                <a:close/>
                <a:moveTo>
                  <a:pt x="316" y="1196"/>
                </a:moveTo>
                <a:cubicBezTo>
                  <a:pt x="315" y="1196"/>
                  <a:pt x="313" y="1196"/>
                  <a:pt x="312" y="1197"/>
                </a:cubicBezTo>
                <a:cubicBezTo>
                  <a:pt x="311" y="1198"/>
                  <a:pt x="310" y="1199"/>
                  <a:pt x="309" y="1200"/>
                </a:cubicBezTo>
                <a:cubicBezTo>
                  <a:pt x="308" y="1201"/>
                  <a:pt x="307" y="1201"/>
                  <a:pt x="306" y="1202"/>
                </a:cubicBezTo>
                <a:cubicBezTo>
                  <a:pt x="305" y="1203"/>
                  <a:pt x="304" y="1204"/>
                  <a:pt x="304" y="1205"/>
                </a:cubicBezTo>
                <a:cubicBezTo>
                  <a:pt x="304" y="1206"/>
                  <a:pt x="304" y="1208"/>
                  <a:pt x="305" y="1209"/>
                </a:cubicBezTo>
                <a:cubicBezTo>
                  <a:pt x="305" y="1210"/>
                  <a:pt x="305" y="1212"/>
                  <a:pt x="305" y="1213"/>
                </a:cubicBezTo>
                <a:cubicBezTo>
                  <a:pt x="305" y="1215"/>
                  <a:pt x="307" y="1214"/>
                  <a:pt x="308" y="1215"/>
                </a:cubicBezTo>
                <a:cubicBezTo>
                  <a:pt x="309" y="1217"/>
                  <a:pt x="307" y="1217"/>
                  <a:pt x="306" y="1218"/>
                </a:cubicBezTo>
                <a:cubicBezTo>
                  <a:pt x="306" y="1220"/>
                  <a:pt x="307" y="1219"/>
                  <a:pt x="308" y="1220"/>
                </a:cubicBezTo>
                <a:cubicBezTo>
                  <a:pt x="309" y="1220"/>
                  <a:pt x="309" y="1221"/>
                  <a:pt x="309" y="1222"/>
                </a:cubicBezTo>
                <a:cubicBezTo>
                  <a:pt x="309" y="1223"/>
                  <a:pt x="309" y="1223"/>
                  <a:pt x="310" y="1223"/>
                </a:cubicBezTo>
                <a:cubicBezTo>
                  <a:pt x="310" y="1224"/>
                  <a:pt x="311" y="1225"/>
                  <a:pt x="312" y="1226"/>
                </a:cubicBezTo>
                <a:cubicBezTo>
                  <a:pt x="313" y="1226"/>
                  <a:pt x="313" y="1226"/>
                  <a:pt x="314" y="1227"/>
                </a:cubicBezTo>
                <a:cubicBezTo>
                  <a:pt x="314" y="1227"/>
                  <a:pt x="315" y="1227"/>
                  <a:pt x="315" y="1227"/>
                </a:cubicBezTo>
                <a:cubicBezTo>
                  <a:pt x="316" y="1227"/>
                  <a:pt x="316" y="1228"/>
                  <a:pt x="317" y="1228"/>
                </a:cubicBezTo>
                <a:cubicBezTo>
                  <a:pt x="317" y="1229"/>
                  <a:pt x="317" y="1227"/>
                  <a:pt x="318" y="1227"/>
                </a:cubicBezTo>
                <a:cubicBezTo>
                  <a:pt x="318" y="1226"/>
                  <a:pt x="318" y="1224"/>
                  <a:pt x="318" y="1223"/>
                </a:cubicBezTo>
                <a:cubicBezTo>
                  <a:pt x="319" y="1222"/>
                  <a:pt x="319" y="1221"/>
                  <a:pt x="320" y="1220"/>
                </a:cubicBezTo>
                <a:cubicBezTo>
                  <a:pt x="320" y="1218"/>
                  <a:pt x="320" y="1217"/>
                  <a:pt x="321" y="1216"/>
                </a:cubicBezTo>
                <a:cubicBezTo>
                  <a:pt x="321" y="1215"/>
                  <a:pt x="321" y="1214"/>
                  <a:pt x="322" y="1214"/>
                </a:cubicBezTo>
                <a:cubicBezTo>
                  <a:pt x="322" y="1213"/>
                  <a:pt x="322" y="1212"/>
                  <a:pt x="322" y="1212"/>
                </a:cubicBezTo>
                <a:cubicBezTo>
                  <a:pt x="322" y="1211"/>
                  <a:pt x="322" y="1209"/>
                  <a:pt x="323" y="1208"/>
                </a:cubicBezTo>
                <a:cubicBezTo>
                  <a:pt x="324" y="1208"/>
                  <a:pt x="325" y="1207"/>
                  <a:pt x="325" y="1205"/>
                </a:cubicBezTo>
                <a:cubicBezTo>
                  <a:pt x="325" y="1204"/>
                  <a:pt x="325" y="1202"/>
                  <a:pt x="324" y="1201"/>
                </a:cubicBezTo>
                <a:cubicBezTo>
                  <a:pt x="323" y="1200"/>
                  <a:pt x="323" y="1199"/>
                  <a:pt x="323" y="1197"/>
                </a:cubicBezTo>
                <a:cubicBezTo>
                  <a:pt x="323" y="1196"/>
                  <a:pt x="323" y="1196"/>
                  <a:pt x="323" y="1195"/>
                </a:cubicBezTo>
                <a:cubicBezTo>
                  <a:pt x="323" y="1194"/>
                  <a:pt x="323" y="1194"/>
                  <a:pt x="323" y="1193"/>
                </a:cubicBezTo>
                <a:cubicBezTo>
                  <a:pt x="322" y="1192"/>
                  <a:pt x="323" y="1190"/>
                  <a:pt x="321" y="1189"/>
                </a:cubicBezTo>
                <a:cubicBezTo>
                  <a:pt x="321" y="1189"/>
                  <a:pt x="321" y="1189"/>
                  <a:pt x="321" y="1189"/>
                </a:cubicBezTo>
                <a:cubicBezTo>
                  <a:pt x="320" y="1188"/>
                  <a:pt x="321" y="1188"/>
                  <a:pt x="320" y="1188"/>
                </a:cubicBezTo>
                <a:cubicBezTo>
                  <a:pt x="319" y="1188"/>
                  <a:pt x="320" y="1190"/>
                  <a:pt x="320" y="1190"/>
                </a:cubicBezTo>
                <a:cubicBezTo>
                  <a:pt x="320" y="1191"/>
                  <a:pt x="320" y="1193"/>
                  <a:pt x="319" y="1195"/>
                </a:cubicBezTo>
                <a:cubicBezTo>
                  <a:pt x="319" y="1196"/>
                  <a:pt x="317" y="1196"/>
                  <a:pt x="316" y="1196"/>
                </a:cubicBezTo>
                <a:close/>
                <a:moveTo>
                  <a:pt x="372" y="1333"/>
                </a:moveTo>
                <a:cubicBezTo>
                  <a:pt x="372" y="1333"/>
                  <a:pt x="371" y="1332"/>
                  <a:pt x="371" y="1332"/>
                </a:cubicBezTo>
                <a:cubicBezTo>
                  <a:pt x="371" y="1332"/>
                  <a:pt x="371" y="1333"/>
                  <a:pt x="371" y="1333"/>
                </a:cubicBezTo>
                <a:cubicBezTo>
                  <a:pt x="371" y="1333"/>
                  <a:pt x="371" y="1333"/>
                  <a:pt x="371" y="1333"/>
                </a:cubicBezTo>
                <a:cubicBezTo>
                  <a:pt x="371" y="1334"/>
                  <a:pt x="372" y="1334"/>
                  <a:pt x="372" y="1333"/>
                </a:cubicBezTo>
                <a:close/>
                <a:moveTo>
                  <a:pt x="641" y="1249"/>
                </a:moveTo>
                <a:cubicBezTo>
                  <a:pt x="640" y="1249"/>
                  <a:pt x="639" y="1249"/>
                  <a:pt x="639" y="1249"/>
                </a:cubicBezTo>
                <a:cubicBezTo>
                  <a:pt x="639" y="1249"/>
                  <a:pt x="638" y="1248"/>
                  <a:pt x="638" y="1248"/>
                </a:cubicBezTo>
                <a:cubicBezTo>
                  <a:pt x="637" y="1248"/>
                  <a:pt x="637" y="1249"/>
                  <a:pt x="638" y="1249"/>
                </a:cubicBezTo>
                <a:cubicBezTo>
                  <a:pt x="638" y="1250"/>
                  <a:pt x="640" y="1250"/>
                  <a:pt x="641" y="1250"/>
                </a:cubicBezTo>
                <a:cubicBezTo>
                  <a:pt x="642" y="1250"/>
                  <a:pt x="641" y="1249"/>
                  <a:pt x="641" y="1249"/>
                </a:cubicBezTo>
                <a:close/>
                <a:moveTo>
                  <a:pt x="335" y="1194"/>
                </a:moveTo>
                <a:cubicBezTo>
                  <a:pt x="336" y="1195"/>
                  <a:pt x="337" y="1195"/>
                  <a:pt x="337" y="1195"/>
                </a:cubicBezTo>
                <a:cubicBezTo>
                  <a:pt x="338" y="1196"/>
                  <a:pt x="339" y="1195"/>
                  <a:pt x="339" y="1196"/>
                </a:cubicBezTo>
                <a:cubicBezTo>
                  <a:pt x="340" y="1196"/>
                  <a:pt x="340" y="1197"/>
                  <a:pt x="341" y="1196"/>
                </a:cubicBezTo>
                <a:cubicBezTo>
                  <a:pt x="341" y="1196"/>
                  <a:pt x="341" y="1195"/>
                  <a:pt x="341" y="1194"/>
                </a:cubicBezTo>
                <a:cubicBezTo>
                  <a:pt x="341" y="1194"/>
                  <a:pt x="342" y="1193"/>
                  <a:pt x="341" y="1193"/>
                </a:cubicBezTo>
                <a:cubicBezTo>
                  <a:pt x="340" y="1192"/>
                  <a:pt x="340" y="1193"/>
                  <a:pt x="340" y="1193"/>
                </a:cubicBezTo>
                <a:cubicBezTo>
                  <a:pt x="338" y="1195"/>
                  <a:pt x="336" y="1192"/>
                  <a:pt x="335" y="1193"/>
                </a:cubicBezTo>
                <a:cubicBezTo>
                  <a:pt x="334" y="1194"/>
                  <a:pt x="335" y="1194"/>
                  <a:pt x="335" y="1194"/>
                </a:cubicBezTo>
                <a:close/>
                <a:moveTo>
                  <a:pt x="635" y="1339"/>
                </a:moveTo>
                <a:cubicBezTo>
                  <a:pt x="635" y="1339"/>
                  <a:pt x="635" y="1341"/>
                  <a:pt x="635" y="1341"/>
                </a:cubicBezTo>
                <a:cubicBezTo>
                  <a:pt x="636" y="1342"/>
                  <a:pt x="636" y="1342"/>
                  <a:pt x="637" y="1342"/>
                </a:cubicBezTo>
                <a:cubicBezTo>
                  <a:pt x="637" y="1343"/>
                  <a:pt x="637" y="1345"/>
                  <a:pt x="638" y="1344"/>
                </a:cubicBezTo>
                <a:cubicBezTo>
                  <a:pt x="638" y="1343"/>
                  <a:pt x="637" y="1342"/>
                  <a:pt x="637" y="1341"/>
                </a:cubicBezTo>
                <a:cubicBezTo>
                  <a:pt x="636" y="1341"/>
                  <a:pt x="636" y="1339"/>
                  <a:pt x="635" y="1339"/>
                </a:cubicBezTo>
                <a:close/>
                <a:moveTo>
                  <a:pt x="636" y="1325"/>
                </a:moveTo>
                <a:cubicBezTo>
                  <a:pt x="636" y="1326"/>
                  <a:pt x="636" y="1327"/>
                  <a:pt x="634" y="1327"/>
                </a:cubicBezTo>
                <a:cubicBezTo>
                  <a:pt x="633" y="1327"/>
                  <a:pt x="633" y="1325"/>
                  <a:pt x="632" y="1326"/>
                </a:cubicBezTo>
                <a:cubicBezTo>
                  <a:pt x="630" y="1326"/>
                  <a:pt x="630" y="1328"/>
                  <a:pt x="632" y="1328"/>
                </a:cubicBezTo>
                <a:cubicBezTo>
                  <a:pt x="633" y="1329"/>
                  <a:pt x="633" y="1328"/>
                  <a:pt x="634" y="1328"/>
                </a:cubicBezTo>
                <a:cubicBezTo>
                  <a:pt x="635" y="1327"/>
                  <a:pt x="635" y="1328"/>
                  <a:pt x="635" y="1328"/>
                </a:cubicBezTo>
                <a:cubicBezTo>
                  <a:pt x="636" y="1329"/>
                  <a:pt x="637" y="1331"/>
                  <a:pt x="638" y="1330"/>
                </a:cubicBezTo>
                <a:cubicBezTo>
                  <a:pt x="639" y="1329"/>
                  <a:pt x="639" y="1329"/>
                  <a:pt x="639" y="1328"/>
                </a:cubicBezTo>
                <a:cubicBezTo>
                  <a:pt x="639" y="1327"/>
                  <a:pt x="639" y="1327"/>
                  <a:pt x="640" y="1327"/>
                </a:cubicBezTo>
                <a:cubicBezTo>
                  <a:pt x="642" y="1324"/>
                  <a:pt x="637" y="1322"/>
                  <a:pt x="636" y="1325"/>
                </a:cubicBezTo>
                <a:close/>
                <a:moveTo>
                  <a:pt x="626" y="1308"/>
                </a:moveTo>
                <a:cubicBezTo>
                  <a:pt x="626" y="1308"/>
                  <a:pt x="625" y="1308"/>
                  <a:pt x="625" y="1307"/>
                </a:cubicBezTo>
                <a:cubicBezTo>
                  <a:pt x="625" y="1306"/>
                  <a:pt x="625" y="1306"/>
                  <a:pt x="624" y="1306"/>
                </a:cubicBezTo>
                <a:cubicBezTo>
                  <a:pt x="623" y="1306"/>
                  <a:pt x="623" y="1306"/>
                  <a:pt x="623" y="1306"/>
                </a:cubicBezTo>
                <a:cubicBezTo>
                  <a:pt x="623" y="1307"/>
                  <a:pt x="624" y="1309"/>
                  <a:pt x="625" y="1309"/>
                </a:cubicBezTo>
                <a:cubicBezTo>
                  <a:pt x="626" y="1310"/>
                  <a:pt x="627" y="1311"/>
                  <a:pt x="627" y="1313"/>
                </a:cubicBezTo>
                <a:cubicBezTo>
                  <a:pt x="628" y="1314"/>
                  <a:pt x="629" y="1314"/>
                  <a:pt x="630" y="1315"/>
                </a:cubicBezTo>
                <a:cubicBezTo>
                  <a:pt x="630" y="1315"/>
                  <a:pt x="631" y="1316"/>
                  <a:pt x="631" y="1316"/>
                </a:cubicBezTo>
                <a:cubicBezTo>
                  <a:pt x="632" y="1317"/>
                  <a:pt x="632" y="1315"/>
                  <a:pt x="632" y="1315"/>
                </a:cubicBezTo>
                <a:cubicBezTo>
                  <a:pt x="632" y="1315"/>
                  <a:pt x="632" y="1315"/>
                  <a:pt x="632" y="1314"/>
                </a:cubicBezTo>
                <a:cubicBezTo>
                  <a:pt x="631" y="1314"/>
                  <a:pt x="631" y="1314"/>
                  <a:pt x="631" y="1314"/>
                </a:cubicBezTo>
                <a:cubicBezTo>
                  <a:pt x="631" y="1313"/>
                  <a:pt x="630" y="1313"/>
                  <a:pt x="630" y="1313"/>
                </a:cubicBezTo>
                <a:cubicBezTo>
                  <a:pt x="629" y="1313"/>
                  <a:pt x="629" y="1313"/>
                  <a:pt x="628" y="1313"/>
                </a:cubicBezTo>
                <a:cubicBezTo>
                  <a:pt x="627" y="1313"/>
                  <a:pt x="628" y="1312"/>
                  <a:pt x="628" y="1311"/>
                </a:cubicBezTo>
                <a:cubicBezTo>
                  <a:pt x="628" y="1310"/>
                  <a:pt x="628" y="1309"/>
                  <a:pt x="626" y="1308"/>
                </a:cubicBezTo>
                <a:close/>
                <a:moveTo>
                  <a:pt x="634" y="1334"/>
                </a:moveTo>
                <a:cubicBezTo>
                  <a:pt x="634" y="1334"/>
                  <a:pt x="634" y="1335"/>
                  <a:pt x="634" y="1336"/>
                </a:cubicBezTo>
                <a:cubicBezTo>
                  <a:pt x="635" y="1336"/>
                  <a:pt x="635" y="1336"/>
                  <a:pt x="635" y="1335"/>
                </a:cubicBezTo>
                <a:cubicBezTo>
                  <a:pt x="635" y="1335"/>
                  <a:pt x="635" y="1334"/>
                  <a:pt x="635" y="1334"/>
                </a:cubicBezTo>
                <a:cubicBezTo>
                  <a:pt x="635" y="1333"/>
                  <a:pt x="635" y="1333"/>
                  <a:pt x="634" y="1334"/>
                </a:cubicBezTo>
                <a:close/>
                <a:moveTo>
                  <a:pt x="600" y="1311"/>
                </a:moveTo>
                <a:cubicBezTo>
                  <a:pt x="599" y="1311"/>
                  <a:pt x="599" y="1311"/>
                  <a:pt x="598" y="1311"/>
                </a:cubicBezTo>
                <a:cubicBezTo>
                  <a:pt x="598" y="1310"/>
                  <a:pt x="597" y="1311"/>
                  <a:pt x="597" y="1312"/>
                </a:cubicBezTo>
                <a:cubicBezTo>
                  <a:pt x="597" y="1312"/>
                  <a:pt x="598" y="1313"/>
                  <a:pt x="599" y="1313"/>
                </a:cubicBezTo>
                <a:cubicBezTo>
                  <a:pt x="599" y="1313"/>
                  <a:pt x="599" y="1313"/>
                  <a:pt x="599" y="1313"/>
                </a:cubicBezTo>
                <a:cubicBezTo>
                  <a:pt x="600" y="1313"/>
                  <a:pt x="600" y="1311"/>
                  <a:pt x="600" y="1311"/>
                </a:cubicBezTo>
                <a:close/>
                <a:moveTo>
                  <a:pt x="603" y="1367"/>
                </a:moveTo>
                <a:cubicBezTo>
                  <a:pt x="605" y="1367"/>
                  <a:pt x="606" y="1369"/>
                  <a:pt x="608" y="1368"/>
                </a:cubicBezTo>
                <a:cubicBezTo>
                  <a:pt x="609" y="1368"/>
                  <a:pt x="611" y="1368"/>
                  <a:pt x="613" y="1369"/>
                </a:cubicBezTo>
                <a:cubicBezTo>
                  <a:pt x="614" y="1369"/>
                  <a:pt x="615" y="1370"/>
                  <a:pt x="617" y="1370"/>
                </a:cubicBezTo>
                <a:cubicBezTo>
                  <a:pt x="618" y="1370"/>
                  <a:pt x="620" y="1370"/>
                  <a:pt x="621" y="1371"/>
                </a:cubicBezTo>
                <a:cubicBezTo>
                  <a:pt x="622" y="1372"/>
                  <a:pt x="622" y="1372"/>
                  <a:pt x="623" y="1372"/>
                </a:cubicBezTo>
                <a:cubicBezTo>
                  <a:pt x="624" y="1372"/>
                  <a:pt x="624" y="1373"/>
                  <a:pt x="624" y="1373"/>
                </a:cubicBezTo>
                <a:cubicBezTo>
                  <a:pt x="624" y="1374"/>
                  <a:pt x="623" y="1374"/>
                  <a:pt x="623" y="1375"/>
                </a:cubicBezTo>
                <a:cubicBezTo>
                  <a:pt x="623" y="1376"/>
                  <a:pt x="624" y="1375"/>
                  <a:pt x="624" y="1375"/>
                </a:cubicBezTo>
                <a:cubicBezTo>
                  <a:pt x="626" y="1374"/>
                  <a:pt x="628" y="1374"/>
                  <a:pt x="630" y="1374"/>
                </a:cubicBezTo>
                <a:cubicBezTo>
                  <a:pt x="631" y="1374"/>
                  <a:pt x="632" y="1375"/>
                  <a:pt x="633" y="1374"/>
                </a:cubicBezTo>
                <a:cubicBezTo>
                  <a:pt x="634" y="1374"/>
                  <a:pt x="634" y="1374"/>
                  <a:pt x="635" y="1373"/>
                </a:cubicBezTo>
                <a:cubicBezTo>
                  <a:pt x="636" y="1373"/>
                  <a:pt x="638" y="1373"/>
                  <a:pt x="640" y="1373"/>
                </a:cubicBezTo>
                <a:cubicBezTo>
                  <a:pt x="642" y="1373"/>
                  <a:pt x="644" y="1373"/>
                  <a:pt x="645" y="1373"/>
                </a:cubicBezTo>
                <a:cubicBezTo>
                  <a:pt x="647" y="1373"/>
                  <a:pt x="649" y="1373"/>
                  <a:pt x="650" y="1373"/>
                </a:cubicBezTo>
                <a:cubicBezTo>
                  <a:pt x="651" y="1372"/>
                  <a:pt x="652" y="1372"/>
                  <a:pt x="652" y="1372"/>
                </a:cubicBezTo>
                <a:cubicBezTo>
                  <a:pt x="653" y="1371"/>
                  <a:pt x="653" y="1371"/>
                  <a:pt x="653" y="1370"/>
                </a:cubicBezTo>
                <a:cubicBezTo>
                  <a:pt x="653" y="1369"/>
                  <a:pt x="656" y="1367"/>
                  <a:pt x="654" y="1366"/>
                </a:cubicBezTo>
                <a:cubicBezTo>
                  <a:pt x="654" y="1367"/>
                  <a:pt x="654" y="1367"/>
                  <a:pt x="654" y="1367"/>
                </a:cubicBezTo>
                <a:cubicBezTo>
                  <a:pt x="654" y="1367"/>
                  <a:pt x="652" y="1368"/>
                  <a:pt x="652" y="1368"/>
                </a:cubicBezTo>
                <a:cubicBezTo>
                  <a:pt x="652" y="1368"/>
                  <a:pt x="651" y="1368"/>
                  <a:pt x="650" y="1368"/>
                </a:cubicBezTo>
                <a:cubicBezTo>
                  <a:pt x="650" y="1369"/>
                  <a:pt x="649" y="1369"/>
                  <a:pt x="648" y="1369"/>
                </a:cubicBezTo>
                <a:cubicBezTo>
                  <a:pt x="647" y="1369"/>
                  <a:pt x="647" y="1370"/>
                  <a:pt x="646" y="1370"/>
                </a:cubicBezTo>
                <a:cubicBezTo>
                  <a:pt x="645" y="1370"/>
                  <a:pt x="642" y="1370"/>
                  <a:pt x="643" y="1368"/>
                </a:cubicBezTo>
                <a:cubicBezTo>
                  <a:pt x="643" y="1368"/>
                  <a:pt x="644" y="1367"/>
                  <a:pt x="643" y="1366"/>
                </a:cubicBezTo>
                <a:cubicBezTo>
                  <a:pt x="643" y="1366"/>
                  <a:pt x="642" y="1366"/>
                  <a:pt x="641" y="1366"/>
                </a:cubicBezTo>
                <a:cubicBezTo>
                  <a:pt x="640" y="1366"/>
                  <a:pt x="640" y="1367"/>
                  <a:pt x="639" y="1367"/>
                </a:cubicBezTo>
                <a:cubicBezTo>
                  <a:pt x="638" y="1367"/>
                  <a:pt x="638" y="1367"/>
                  <a:pt x="637" y="1367"/>
                </a:cubicBezTo>
                <a:cubicBezTo>
                  <a:pt x="636" y="1366"/>
                  <a:pt x="635" y="1366"/>
                  <a:pt x="633" y="1366"/>
                </a:cubicBezTo>
                <a:cubicBezTo>
                  <a:pt x="632" y="1365"/>
                  <a:pt x="630" y="1365"/>
                  <a:pt x="628" y="1365"/>
                </a:cubicBezTo>
                <a:cubicBezTo>
                  <a:pt x="625" y="1365"/>
                  <a:pt x="623" y="1366"/>
                  <a:pt x="620" y="1366"/>
                </a:cubicBezTo>
                <a:cubicBezTo>
                  <a:pt x="618" y="1366"/>
                  <a:pt x="617" y="1366"/>
                  <a:pt x="615" y="1365"/>
                </a:cubicBezTo>
                <a:cubicBezTo>
                  <a:pt x="614" y="1365"/>
                  <a:pt x="614" y="1363"/>
                  <a:pt x="613" y="1363"/>
                </a:cubicBezTo>
                <a:cubicBezTo>
                  <a:pt x="612" y="1363"/>
                  <a:pt x="611" y="1363"/>
                  <a:pt x="611" y="1362"/>
                </a:cubicBezTo>
                <a:cubicBezTo>
                  <a:pt x="611" y="1361"/>
                  <a:pt x="612" y="1362"/>
                  <a:pt x="613" y="1361"/>
                </a:cubicBezTo>
                <a:cubicBezTo>
                  <a:pt x="613" y="1361"/>
                  <a:pt x="611" y="1360"/>
                  <a:pt x="611" y="1360"/>
                </a:cubicBezTo>
                <a:cubicBezTo>
                  <a:pt x="609" y="1359"/>
                  <a:pt x="608" y="1361"/>
                  <a:pt x="607" y="1361"/>
                </a:cubicBezTo>
                <a:cubicBezTo>
                  <a:pt x="606" y="1361"/>
                  <a:pt x="605" y="1361"/>
                  <a:pt x="605" y="1361"/>
                </a:cubicBezTo>
                <a:cubicBezTo>
                  <a:pt x="604" y="1360"/>
                  <a:pt x="605" y="1360"/>
                  <a:pt x="604" y="1359"/>
                </a:cubicBezTo>
                <a:cubicBezTo>
                  <a:pt x="603" y="1358"/>
                  <a:pt x="603" y="1359"/>
                  <a:pt x="603" y="1360"/>
                </a:cubicBezTo>
                <a:cubicBezTo>
                  <a:pt x="602" y="1361"/>
                  <a:pt x="601" y="1362"/>
                  <a:pt x="600" y="1363"/>
                </a:cubicBezTo>
                <a:cubicBezTo>
                  <a:pt x="600" y="1364"/>
                  <a:pt x="598" y="1366"/>
                  <a:pt x="598" y="1367"/>
                </a:cubicBezTo>
                <a:cubicBezTo>
                  <a:pt x="599" y="1367"/>
                  <a:pt x="602" y="1366"/>
                  <a:pt x="603" y="1367"/>
                </a:cubicBezTo>
                <a:close/>
                <a:moveTo>
                  <a:pt x="616" y="1319"/>
                </a:moveTo>
                <a:cubicBezTo>
                  <a:pt x="616" y="1320"/>
                  <a:pt x="616" y="1321"/>
                  <a:pt x="617" y="1320"/>
                </a:cubicBezTo>
                <a:cubicBezTo>
                  <a:pt x="617" y="1320"/>
                  <a:pt x="617" y="1318"/>
                  <a:pt x="616" y="1319"/>
                </a:cubicBezTo>
                <a:close/>
                <a:moveTo>
                  <a:pt x="616" y="1313"/>
                </a:moveTo>
                <a:cubicBezTo>
                  <a:pt x="615" y="1313"/>
                  <a:pt x="616" y="1314"/>
                  <a:pt x="615" y="1314"/>
                </a:cubicBezTo>
                <a:cubicBezTo>
                  <a:pt x="615" y="1315"/>
                  <a:pt x="614" y="1316"/>
                  <a:pt x="614" y="1316"/>
                </a:cubicBezTo>
                <a:cubicBezTo>
                  <a:pt x="615" y="1317"/>
                  <a:pt x="616" y="1315"/>
                  <a:pt x="616" y="1315"/>
                </a:cubicBezTo>
                <a:cubicBezTo>
                  <a:pt x="616" y="1314"/>
                  <a:pt x="618" y="1313"/>
                  <a:pt x="616" y="1313"/>
                </a:cubicBezTo>
                <a:close/>
                <a:moveTo>
                  <a:pt x="615" y="1337"/>
                </a:moveTo>
                <a:cubicBezTo>
                  <a:pt x="615" y="1337"/>
                  <a:pt x="617" y="1336"/>
                  <a:pt x="617" y="1336"/>
                </a:cubicBezTo>
                <a:cubicBezTo>
                  <a:pt x="618" y="1336"/>
                  <a:pt x="619" y="1336"/>
                  <a:pt x="619" y="1335"/>
                </a:cubicBezTo>
                <a:cubicBezTo>
                  <a:pt x="619" y="1335"/>
                  <a:pt x="619" y="1334"/>
                  <a:pt x="619" y="1334"/>
                </a:cubicBezTo>
                <a:cubicBezTo>
                  <a:pt x="618" y="1334"/>
                  <a:pt x="617" y="1335"/>
                  <a:pt x="616" y="1335"/>
                </a:cubicBezTo>
                <a:cubicBezTo>
                  <a:pt x="616" y="1335"/>
                  <a:pt x="614" y="1336"/>
                  <a:pt x="615" y="1337"/>
                </a:cubicBezTo>
                <a:close/>
                <a:moveTo>
                  <a:pt x="343" y="861"/>
                </a:moveTo>
                <a:cubicBezTo>
                  <a:pt x="343" y="863"/>
                  <a:pt x="344" y="860"/>
                  <a:pt x="345" y="860"/>
                </a:cubicBezTo>
                <a:cubicBezTo>
                  <a:pt x="345" y="859"/>
                  <a:pt x="346" y="860"/>
                  <a:pt x="346" y="859"/>
                </a:cubicBezTo>
                <a:cubicBezTo>
                  <a:pt x="346" y="858"/>
                  <a:pt x="345" y="858"/>
                  <a:pt x="345" y="857"/>
                </a:cubicBezTo>
                <a:cubicBezTo>
                  <a:pt x="344" y="857"/>
                  <a:pt x="344" y="856"/>
                  <a:pt x="344" y="856"/>
                </a:cubicBezTo>
                <a:cubicBezTo>
                  <a:pt x="342" y="854"/>
                  <a:pt x="343" y="858"/>
                  <a:pt x="343" y="859"/>
                </a:cubicBezTo>
                <a:cubicBezTo>
                  <a:pt x="343" y="859"/>
                  <a:pt x="343" y="860"/>
                  <a:pt x="343" y="861"/>
                </a:cubicBezTo>
                <a:close/>
                <a:moveTo>
                  <a:pt x="427" y="881"/>
                </a:moveTo>
                <a:cubicBezTo>
                  <a:pt x="427" y="881"/>
                  <a:pt x="428" y="881"/>
                  <a:pt x="429" y="882"/>
                </a:cubicBezTo>
                <a:cubicBezTo>
                  <a:pt x="430" y="882"/>
                  <a:pt x="430" y="883"/>
                  <a:pt x="431" y="884"/>
                </a:cubicBezTo>
                <a:cubicBezTo>
                  <a:pt x="433" y="884"/>
                  <a:pt x="432" y="881"/>
                  <a:pt x="432" y="881"/>
                </a:cubicBezTo>
                <a:cubicBezTo>
                  <a:pt x="433" y="879"/>
                  <a:pt x="433" y="878"/>
                  <a:pt x="431" y="878"/>
                </a:cubicBezTo>
                <a:cubicBezTo>
                  <a:pt x="430" y="877"/>
                  <a:pt x="429" y="877"/>
                  <a:pt x="428" y="876"/>
                </a:cubicBezTo>
                <a:cubicBezTo>
                  <a:pt x="427" y="876"/>
                  <a:pt x="427" y="875"/>
                  <a:pt x="426" y="875"/>
                </a:cubicBezTo>
                <a:cubicBezTo>
                  <a:pt x="425" y="875"/>
                  <a:pt x="426" y="876"/>
                  <a:pt x="426" y="877"/>
                </a:cubicBezTo>
                <a:cubicBezTo>
                  <a:pt x="426" y="878"/>
                  <a:pt x="425" y="880"/>
                  <a:pt x="427" y="881"/>
                </a:cubicBezTo>
                <a:close/>
                <a:moveTo>
                  <a:pt x="461" y="848"/>
                </a:moveTo>
                <a:cubicBezTo>
                  <a:pt x="462" y="848"/>
                  <a:pt x="463" y="845"/>
                  <a:pt x="463" y="844"/>
                </a:cubicBezTo>
                <a:cubicBezTo>
                  <a:pt x="463" y="843"/>
                  <a:pt x="464" y="841"/>
                  <a:pt x="465" y="840"/>
                </a:cubicBezTo>
                <a:cubicBezTo>
                  <a:pt x="465" y="839"/>
                  <a:pt x="465" y="837"/>
                  <a:pt x="466" y="836"/>
                </a:cubicBezTo>
                <a:cubicBezTo>
                  <a:pt x="466" y="835"/>
                  <a:pt x="467" y="835"/>
                  <a:pt x="467" y="834"/>
                </a:cubicBezTo>
                <a:cubicBezTo>
                  <a:pt x="468" y="833"/>
                  <a:pt x="468" y="832"/>
                  <a:pt x="468" y="832"/>
                </a:cubicBezTo>
                <a:cubicBezTo>
                  <a:pt x="469" y="830"/>
                  <a:pt x="470" y="828"/>
                  <a:pt x="471" y="826"/>
                </a:cubicBezTo>
                <a:cubicBezTo>
                  <a:pt x="471" y="824"/>
                  <a:pt x="471" y="822"/>
                  <a:pt x="472" y="821"/>
                </a:cubicBezTo>
                <a:cubicBezTo>
                  <a:pt x="472" y="820"/>
                  <a:pt x="473" y="818"/>
                  <a:pt x="472" y="817"/>
                </a:cubicBezTo>
                <a:cubicBezTo>
                  <a:pt x="471" y="816"/>
                  <a:pt x="469" y="822"/>
                  <a:pt x="468" y="823"/>
                </a:cubicBezTo>
                <a:cubicBezTo>
                  <a:pt x="468" y="826"/>
                  <a:pt x="465" y="828"/>
                  <a:pt x="464" y="830"/>
                </a:cubicBezTo>
                <a:cubicBezTo>
                  <a:pt x="464" y="832"/>
                  <a:pt x="463" y="832"/>
                  <a:pt x="462" y="833"/>
                </a:cubicBezTo>
                <a:cubicBezTo>
                  <a:pt x="460" y="834"/>
                  <a:pt x="460" y="835"/>
                  <a:pt x="460" y="836"/>
                </a:cubicBezTo>
                <a:cubicBezTo>
                  <a:pt x="459" y="838"/>
                  <a:pt x="459" y="839"/>
                  <a:pt x="459" y="841"/>
                </a:cubicBezTo>
                <a:cubicBezTo>
                  <a:pt x="459" y="842"/>
                  <a:pt x="459" y="843"/>
                  <a:pt x="460" y="845"/>
                </a:cubicBezTo>
                <a:cubicBezTo>
                  <a:pt x="460" y="846"/>
                  <a:pt x="460" y="849"/>
                  <a:pt x="461" y="848"/>
                </a:cubicBezTo>
                <a:close/>
                <a:moveTo>
                  <a:pt x="510" y="806"/>
                </a:moveTo>
                <a:cubicBezTo>
                  <a:pt x="510" y="805"/>
                  <a:pt x="510" y="805"/>
                  <a:pt x="511" y="805"/>
                </a:cubicBezTo>
                <a:cubicBezTo>
                  <a:pt x="512" y="804"/>
                  <a:pt x="512" y="804"/>
                  <a:pt x="512" y="804"/>
                </a:cubicBezTo>
                <a:cubicBezTo>
                  <a:pt x="512" y="803"/>
                  <a:pt x="511" y="803"/>
                  <a:pt x="511" y="803"/>
                </a:cubicBezTo>
                <a:cubicBezTo>
                  <a:pt x="511" y="803"/>
                  <a:pt x="511" y="802"/>
                  <a:pt x="510" y="802"/>
                </a:cubicBezTo>
                <a:cubicBezTo>
                  <a:pt x="510" y="801"/>
                  <a:pt x="509" y="801"/>
                  <a:pt x="508" y="801"/>
                </a:cubicBezTo>
                <a:cubicBezTo>
                  <a:pt x="508" y="801"/>
                  <a:pt x="507" y="802"/>
                  <a:pt x="506" y="802"/>
                </a:cubicBezTo>
                <a:cubicBezTo>
                  <a:pt x="506" y="802"/>
                  <a:pt x="505" y="802"/>
                  <a:pt x="504" y="802"/>
                </a:cubicBezTo>
                <a:cubicBezTo>
                  <a:pt x="504" y="802"/>
                  <a:pt x="503" y="802"/>
                  <a:pt x="502" y="802"/>
                </a:cubicBezTo>
                <a:cubicBezTo>
                  <a:pt x="502" y="802"/>
                  <a:pt x="501" y="803"/>
                  <a:pt x="501" y="803"/>
                </a:cubicBezTo>
                <a:cubicBezTo>
                  <a:pt x="500" y="804"/>
                  <a:pt x="499" y="804"/>
                  <a:pt x="498" y="806"/>
                </a:cubicBezTo>
                <a:cubicBezTo>
                  <a:pt x="498" y="807"/>
                  <a:pt x="497" y="808"/>
                  <a:pt x="496" y="809"/>
                </a:cubicBezTo>
                <a:cubicBezTo>
                  <a:pt x="495" y="810"/>
                  <a:pt x="494" y="810"/>
                  <a:pt x="493" y="811"/>
                </a:cubicBezTo>
                <a:cubicBezTo>
                  <a:pt x="493" y="812"/>
                  <a:pt x="492" y="813"/>
                  <a:pt x="492" y="815"/>
                </a:cubicBezTo>
                <a:cubicBezTo>
                  <a:pt x="492" y="817"/>
                  <a:pt x="491" y="819"/>
                  <a:pt x="492" y="821"/>
                </a:cubicBezTo>
                <a:cubicBezTo>
                  <a:pt x="493" y="822"/>
                  <a:pt x="493" y="822"/>
                  <a:pt x="493" y="823"/>
                </a:cubicBezTo>
                <a:cubicBezTo>
                  <a:pt x="493" y="824"/>
                  <a:pt x="493" y="825"/>
                  <a:pt x="493" y="825"/>
                </a:cubicBezTo>
                <a:cubicBezTo>
                  <a:pt x="494" y="826"/>
                  <a:pt x="494" y="826"/>
                  <a:pt x="494" y="827"/>
                </a:cubicBezTo>
                <a:cubicBezTo>
                  <a:pt x="494" y="828"/>
                  <a:pt x="493" y="828"/>
                  <a:pt x="493" y="829"/>
                </a:cubicBezTo>
                <a:cubicBezTo>
                  <a:pt x="492" y="831"/>
                  <a:pt x="496" y="828"/>
                  <a:pt x="496" y="828"/>
                </a:cubicBezTo>
                <a:cubicBezTo>
                  <a:pt x="497" y="827"/>
                  <a:pt x="498" y="826"/>
                  <a:pt x="499" y="825"/>
                </a:cubicBezTo>
                <a:cubicBezTo>
                  <a:pt x="500" y="823"/>
                  <a:pt x="500" y="822"/>
                  <a:pt x="502" y="822"/>
                </a:cubicBezTo>
                <a:cubicBezTo>
                  <a:pt x="503" y="821"/>
                  <a:pt x="505" y="822"/>
                  <a:pt x="505" y="820"/>
                </a:cubicBezTo>
                <a:cubicBezTo>
                  <a:pt x="506" y="819"/>
                  <a:pt x="505" y="818"/>
                  <a:pt x="505" y="818"/>
                </a:cubicBezTo>
                <a:cubicBezTo>
                  <a:pt x="506" y="817"/>
                  <a:pt x="507" y="817"/>
                  <a:pt x="507" y="817"/>
                </a:cubicBezTo>
                <a:cubicBezTo>
                  <a:pt x="508" y="817"/>
                  <a:pt x="509" y="817"/>
                  <a:pt x="508" y="816"/>
                </a:cubicBezTo>
                <a:cubicBezTo>
                  <a:pt x="508" y="815"/>
                  <a:pt x="508" y="815"/>
                  <a:pt x="507" y="815"/>
                </a:cubicBezTo>
                <a:cubicBezTo>
                  <a:pt x="506" y="814"/>
                  <a:pt x="506" y="814"/>
                  <a:pt x="506" y="813"/>
                </a:cubicBezTo>
                <a:cubicBezTo>
                  <a:pt x="505" y="812"/>
                  <a:pt x="506" y="812"/>
                  <a:pt x="506" y="811"/>
                </a:cubicBezTo>
                <a:cubicBezTo>
                  <a:pt x="507" y="810"/>
                  <a:pt x="505" y="809"/>
                  <a:pt x="506" y="808"/>
                </a:cubicBezTo>
                <a:cubicBezTo>
                  <a:pt x="507" y="806"/>
                  <a:pt x="509" y="807"/>
                  <a:pt x="510" y="806"/>
                </a:cubicBezTo>
                <a:close/>
                <a:moveTo>
                  <a:pt x="562" y="738"/>
                </a:moveTo>
                <a:cubicBezTo>
                  <a:pt x="562" y="738"/>
                  <a:pt x="561" y="738"/>
                  <a:pt x="561" y="738"/>
                </a:cubicBezTo>
                <a:cubicBezTo>
                  <a:pt x="560" y="738"/>
                  <a:pt x="560" y="738"/>
                  <a:pt x="560" y="738"/>
                </a:cubicBezTo>
                <a:cubicBezTo>
                  <a:pt x="560" y="738"/>
                  <a:pt x="560" y="739"/>
                  <a:pt x="561" y="739"/>
                </a:cubicBezTo>
                <a:cubicBezTo>
                  <a:pt x="561" y="739"/>
                  <a:pt x="562" y="739"/>
                  <a:pt x="562" y="738"/>
                </a:cubicBezTo>
                <a:close/>
                <a:moveTo>
                  <a:pt x="534" y="732"/>
                </a:moveTo>
                <a:cubicBezTo>
                  <a:pt x="534" y="732"/>
                  <a:pt x="533" y="731"/>
                  <a:pt x="533" y="730"/>
                </a:cubicBezTo>
                <a:cubicBezTo>
                  <a:pt x="532" y="730"/>
                  <a:pt x="530" y="731"/>
                  <a:pt x="529" y="729"/>
                </a:cubicBezTo>
                <a:cubicBezTo>
                  <a:pt x="528" y="729"/>
                  <a:pt x="528" y="728"/>
                  <a:pt x="527" y="728"/>
                </a:cubicBezTo>
                <a:cubicBezTo>
                  <a:pt x="527" y="728"/>
                  <a:pt x="526" y="729"/>
                  <a:pt x="526" y="730"/>
                </a:cubicBezTo>
                <a:cubicBezTo>
                  <a:pt x="526" y="731"/>
                  <a:pt x="526" y="733"/>
                  <a:pt x="524" y="732"/>
                </a:cubicBezTo>
                <a:cubicBezTo>
                  <a:pt x="523" y="732"/>
                  <a:pt x="523" y="732"/>
                  <a:pt x="522" y="732"/>
                </a:cubicBezTo>
                <a:cubicBezTo>
                  <a:pt x="522" y="733"/>
                  <a:pt x="521" y="734"/>
                  <a:pt x="522" y="734"/>
                </a:cubicBezTo>
                <a:cubicBezTo>
                  <a:pt x="522" y="735"/>
                  <a:pt x="522" y="737"/>
                  <a:pt x="524" y="737"/>
                </a:cubicBezTo>
                <a:cubicBezTo>
                  <a:pt x="525" y="736"/>
                  <a:pt x="523" y="734"/>
                  <a:pt x="524" y="733"/>
                </a:cubicBezTo>
                <a:cubicBezTo>
                  <a:pt x="524" y="734"/>
                  <a:pt x="525" y="734"/>
                  <a:pt x="525" y="734"/>
                </a:cubicBezTo>
                <a:cubicBezTo>
                  <a:pt x="526" y="735"/>
                  <a:pt x="526" y="736"/>
                  <a:pt x="527" y="736"/>
                </a:cubicBezTo>
                <a:cubicBezTo>
                  <a:pt x="527" y="737"/>
                  <a:pt x="528" y="737"/>
                  <a:pt x="528" y="738"/>
                </a:cubicBezTo>
                <a:cubicBezTo>
                  <a:pt x="529" y="739"/>
                  <a:pt x="529" y="739"/>
                  <a:pt x="530" y="740"/>
                </a:cubicBezTo>
                <a:cubicBezTo>
                  <a:pt x="531" y="740"/>
                  <a:pt x="532" y="740"/>
                  <a:pt x="532" y="740"/>
                </a:cubicBezTo>
                <a:cubicBezTo>
                  <a:pt x="533" y="741"/>
                  <a:pt x="532" y="742"/>
                  <a:pt x="533" y="742"/>
                </a:cubicBezTo>
                <a:cubicBezTo>
                  <a:pt x="534" y="742"/>
                  <a:pt x="534" y="740"/>
                  <a:pt x="534" y="739"/>
                </a:cubicBezTo>
                <a:cubicBezTo>
                  <a:pt x="534" y="738"/>
                  <a:pt x="532" y="739"/>
                  <a:pt x="531" y="738"/>
                </a:cubicBezTo>
                <a:cubicBezTo>
                  <a:pt x="531" y="738"/>
                  <a:pt x="531" y="737"/>
                  <a:pt x="531" y="737"/>
                </a:cubicBezTo>
                <a:cubicBezTo>
                  <a:pt x="531" y="736"/>
                  <a:pt x="529" y="734"/>
                  <a:pt x="531" y="733"/>
                </a:cubicBezTo>
                <a:cubicBezTo>
                  <a:pt x="531" y="732"/>
                  <a:pt x="532" y="735"/>
                  <a:pt x="533" y="736"/>
                </a:cubicBezTo>
                <a:cubicBezTo>
                  <a:pt x="533" y="736"/>
                  <a:pt x="534" y="736"/>
                  <a:pt x="534" y="737"/>
                </a:cubicBezTo>
                <a:cubicBezTo>
                  <a:pt x="534" y="738"/>
                  <a:pt x="535" y="739"/>
                  <a:pt x="535" y="739"/>
                </a:cubicBezTo>
                <a:cubicBezTo>
                  <a:pt x="535" y="738"/>
                  <a:pt x="535" y="737"/>
                  <a:pt x="535" y="736"/>
                </a:cubicBezTo>
                <a:cubicBezTo>
                  <a:pt x="534" y="735"/>
                  <a:pt x="535" y="735"/>
                  <a:pt x="535" y="734"/>
                </a:cubicBezTo>
                <a:cubicBezTo>
                  <a:pt x="535" y="733"/>
                  <a:pt x="535" y="733"/>
                  <a:pt x="534" y="732"/>
                </a:cubicBezTo>
                <a:close/>
                <a:moveTo>
                  <a:pt x="346" y="890"/>
                </a:moveTo>
                <a:cubicBezTo>
                  <a:pt x="346" y="890"/>
                  <a:pt x="346" y="892"/>
                  <a:pt x="347" y="892"/>
                </a:cubicBezTo>
                <a:cubicBezTo>
                  <a:pt x="348" y="891"/>
                  <a:pt x="347" y="890"/>
                  <a:pt x="347" y="889"/>
                </a:cubicBezTo>
                <a:cubicBezTo>
                  <a:pt x="348" y="888"/>
                  <a:pt x="348" y="888"/>
                  <a:pt x="348" y="887"/>
                </a:cubicBezTo>
                <a:cubicBezTo>
                  <a:pt x="348" y="886"/>
                  <a:pt x="349" y="886"/>
                  <a:pt x="350" y="885"/>
                </a:cubicBezTo>
                <a:cubicBezTo>
                  <a:pt x="350" y="884"/>
                  <a:pt x="350" y="883"/>
                  <a:pt x="350" y="882"/>
                </a:cubicBezTo>
                <a:cubicBezTo>
                  <a:pt x="351" y="881"/>
                  <a:pt x="352" y="879"/>
                  <a:pt x="351" y="879"/>
                </a:cubicBezTo>
                <a:cubicBezTo>
                  <a:pt x="350" y="878"/>
                  <a:pt x="350" y="881"/>
                  <a:pt x="350" y="881"/>
                </a:cubicBezTo>
                <a:cubicBezTo>
                  <a:pt x="349" y="882"/>
                  <a:pt x="348" y="884"/>
                  <a:pt x="347" y="885"/>
                </a:cubicBezTo>
                <a:cubicBezTo>
                  <a:pt x="347" y="885"/>
                  <a:pt x="347" y="886"/>
                  <a:pt x="346" y="887"/>
                </a:cubicBezTo>
                <a:cubicBezTo>
                  <a:pt x="346" y="887"/>
                  <a:pt x="345" y="888"/>
                  <a:pt x="345" y="888"/>
                </a:cubicBezTo>
                <a:cubicBezTo>
                  <a:pt x="345" y="889"/>
                  <a:pt x="346" y="889"/>
                  <a:pt x="346" y="890"/>
                </a:cubicBezTo>
                <a:close/>
                <a:moveTo>
                  <a:pt x="364" y="892"/>
                </a:moveTo>
                <a:cubicBezTo>
                  <a:pt x="365" y="892"/>
                  <a:pt x="365" y="891"/>
                  <a:pt x="366" y="891"/>
                </a:cubicBezTo>
                <a:cubicBezTo>
                  <a:pt x="367" y="891"/>
                  <a:pt x="367" y="892"/>
                  <a:pt x="368" y="892"/>
                </a:cubicBezTo>
                <a:cubicBezTo>
                  <a:pt x="369" y="891"/>
                  <a:pt x="368" y="889"/>
                  <a:pt x="367" y="888"/>
                </a:cubicBezTo>
                <a:cubicBezTo>
                  <a:pt x="366" y="888"/>
                  <a:pt x="364" y="888"/>
                  <a:pt x="363" y="888"/>
                </a:cubicBezTo>
                <a:cubicBezTo>
                  <a:pt x="362" y="888"/>
                  <a:pt x="362" y="888"/>
                  <a:pt x="361" y="887"/>
                </a:cubicBezTo>
                <a:cubicBezTo>
                  <a:pt x="360" y="887"/>
                  <a:pt x="360" y="886"/>
                  <a:pt x="359" y="886"/>
                </a:cubicBezTo>
                <a:cubicBezTo>
                  <a:pt x="358" y="886"/>
                  <a:pt x="358" y="887"/>
                  <a:pt x="357" y="887"/>
                </a:cubicBezTo>
                <a:cubicBezTo>
                  <a:pt x="356" y="887"/>
                  <a:pt x="353" y="886"/>
                  <a:pt x="353" y="888"/>
                </a:cubicBezTo>
                <a:cubicBezTo>
                  <a:pt x="353" y="889"/>
                  <a:pt x="353" y="890"/>
                  <a:pt x="354" y="890"/>
                </a:cubicBezTo>
                <a:cubicBezTo>
                  <a:pt x="354" y="891"/>
                  <a:pt x="355" y="891"/>
                  <a:pt x="356" y="891"/>
                </a:cubicBezTo>
                <a:cubicBezTo>
                  <a:pt x="357" y="891"/>
                  <a:pt x="358" y="892"/>
                  <a:pt x="360" y="893"/>
                </a:cubicBezTo>
                <a:cubicBezTo>
                  <a:pt x="361" y="894"/>
                  <a:pt x="363" y="893"/>
                  <a:pt x="364" y="892"/>
                </a:cubicBezTo>
                <a:close/>
                <a:moveTo>
                  <a:pt x="353" y="896"/>
                </a:moveTo>
                <a:cubicBezTo>
                  <a:pt x="353" y="897"/>
                  <a:pt x="354" y="898"/>
                  <a:pt x="354" y="898"/>
                </a:cubicBezTo>
                <a:cubicBezTo>
                  <a:pt x="355" y="898"/>
                  <a:pt x="355" y="898"/>
                  <a:pt x="355" y="899"/>
                </a:cubicBezTo>
                <a:cubicBezTo>
                  <a:pt x="356" y="899"/>
                  <a:pt x="356" y="900"/>
                  <a:pt x="357" y="900"/>
                </a:cubicBezTo>
                <a:cubicBezTo>
                  <a:pt x="358" y="899"/>
                  <a:pt x="356" y="897"/>
                  <a:pt x="356" y="897"/>
                </a:cubicBezTo>
                <a:cubicBezTo>
                  <a:pt x="356" y="897"/>
                  <a:pt x="356" y="896"/>
                  <a:pt x="355" y="896"/>
                </a:cubicBezTo>
                <a:cubicBezTo>
                  <a:pt x="355" y="895"/>
                  <a:pt x="353" y="896"/>
                  <a:pt x="353" y="896"/>
                </a:cubicBezTo>
                <a:close/>
                <a:moveTo>
                  <a:pt x="214" y="1262"/>
                </a:moveTo>
                <a:cubicBezTo>
                  <a:pt x="215" y="1262"/>
                  <a:pt x="215" y="1262"/>
                  <a:pt x="216" y="1262"/>
                </a:cubicBezTo>
                <a:cubicBezTo>
                  <a:pt x="217" y="1262"/>
                  <a:pt x="218" y="1263"/>
                  <a:pt x="218" y="1264"/>
                </a:cubicBezTo>
                <a:cubicBezTo>
                  <a:pt x="219" y="1265"/>
                  <a:pt x="220" y="1264"/>
                  <a:pt x="220" y="1263"/>
                </a:cubicBezTo>
                <a:cubicBezTo>
                  <a:pt x="220" y="1262"/>
                  <a:pt x="220" y="1261"/>
                  <a:pt x="220" y="1261"/>
                </a:cubicBezTo>
                <a:cubicBezTo>
                  <a:pt x="220" y="1260"/>
                  <a:pt x="219" y="1260"/>
                  <a:pt x="219" y="1259"/>
                </a:cubicBezTo>
                <a:cubicBezTo>
                  <a:pt x="219" y="1259"/>
                  <a:pt x="219" y="1258"/>
                  <a:pt x="218" y="1258"/>
                </a:cubicBezTo>
                <a:cubicBezTo>
                  <a:pt x="218" y="1258"/>
                  <a:pt x="217" y="1258"/>
                  <a:pt x="216" y="1258"/>
                </a:cubicBezTo>
                <a:cubicBezTo>
                  <a:pt x="215" y="1258"/>
                  <a:pt x="214" y="1258"/>
                  <a:pt x="212" y="1258"/>
                </a:cubicBezTo>
                <a:cubicBezTo>
                  <a:pt x="212" y="1257"/>
                  <a:pt x="210" y="1258"/>
                  <a:pt x="210" y="1259"/>
                </a:cubicBezTo>
                <a:cubicBezTo>
                  <a:pt x="211" y="1260"/>
                  <a:pt x="212" y="1260"/>
                  <a:pt x="213" y="1260"/>
                </a:cubicBezTo>
                <a:cubicBezTo>
                  <a:pt x="213" y="1261"/>
                  <a:pt x="214" y="1261"/>
                  <a:pt x="214" y="1262"/>
                </a:cubicBezTo>
                <a:close/>
                <a:moveTo>
                  <a:pt x="342" y="869"/>
                </a:moveTo>
                <a:cubicBezTo>
                  <a:pt x="343" y="868"/>
                  <a:pt x="342" y="868"/>
                  <a:pt x="341" y="868"/>
                </a:cubicBezTo>
                <a:cubicBezTo>
                  <a:pt x="340" y="867"/>
                  <a:pt x="339" y="867"/>
                  <a:pt x="337" y="867"/>
                </a:cubicBezTo>
                <a:cubicBezTo>
                  <a:pt x="336" y="867"/>
                  <a:pt x="334" y="868"/>
                  <a:pt x="333" y="868"/>
                </a:cubicBezTo>
                <a:cubicBezTo>
                  <a:pt x="332" y="869"/>
                  <a:pt x="331" y="869"/>
                  <a:pt x="329" y="869"/>
                </a:cubicBezTo>
                <a:cubicBezTo>
                  <a:pt x="329" y="869"/>
                  <a:pt x="327" y="868"/>
                  <a:pt x="326" y="869"/>
                </a:cubicBezTo>
                <a:cubicBezTo>
                  <a:pt x="326" y="870"/>
                  <a:pt x="327" y="871"/>
                  <a:pt x="328" y="871"/>
                </a:cubicBezTo>
                <a:cubicBezTo>
                  <a:pt x="329" y="872"/>
                  <a:pt x="330" y="873"/>
                  <a:pt x="330" y="874"/>
                </a:cubicBezTo>
                <a:cubicBezTo>
                  <a:pt x="331" y="875"/>
                  <a:pt x="331" y="876"/>
                  <a:pt x="332" y="878"/>
                </a:cubicBezTo>
                <a:cubicBezTo>
                  <a:pt x="333" y="879"/>
                  <a:pt x="334" y="878"/>
                  <a:pt x="336" y="879"/>
                </a:cubicBezTo>
                <a:cubicBezTo>
                  <a:pt x="337" y="879"/>
                  <a:pt x="338" y="880"/>
                  <a:pt x="339" y="881"/>
                </a:cubicBezTo>
                <a:cubicBezTo>
                  <a:pt x="340" y="882"/>
                  <a:pt x="341" y="883"/>
                  <a:pt x="342" y="882"/>
                </a:cubicBezTo>
                <a:cubicBezTo>
                  <a:pt x="344" y="882"/>
                  <a:pt x="345" y="882"/>
                  <a:pt x="347" y="881"/>
                </a:cubicBezTo>
                <a:cubicBezTo>
                  <a:pt x="348" y="880"/>
                  <a:pt x="348" y="879"/>
                  <a:pt x="348" y="878"/>
                </a:cubicBezTo>
                <a:cubicBezTo>
                  <a:pt x="348" y="876"/>
                  <a:pt x="348" y="875"/>
                  <a:pt x="348" y="873"/>
                </a:cubicBezTo>
                <a:cubicBezTo>
                  <a:pt x="347" y="872"/>
                  <a:pt x="345" y="871"/>
                  <a:pt x="347" y="870"/>
                </a:cubicBezTo>
                <a:cubicBezTo>
                  <a:pt x="347" y="870"/>
                  <a:pt x="348" y="870"/>
                  <a:pt x="348" y="870"/>
                </a:cubicBezTo>
                <a:cubicBezTo>
                  <a:pt x="347" y="869"/>
                  <a:pt x="347" y="869"/>
                  <a:pt x="347" y="869"/>
                </a:cubicBezTo>
                <a:cubicBezTo>
                  <a:pt x="346" y="869"/>
                  <a:pt x="346" y="869"/>
                  <a:pt x="345" y="868"/>
                </a:cubicBezTo>
                <a:cubicBezTo>
                  <a:pt x="345" y="867"/>
                  <a:pt x="345" y="866"/>
                  <a:pt x="344" y="866"/>
                </a:cubicBezTo>
                <a:cubicBezTo>
                  <a:pt x="344" y="867"/>
                  <a:pt x="344" y="867"/>
                  <a:pt x="344" y="868"/>
                </a:cubicBezTo>
                <a:cubicBezTo>
                  <a:pt x="344" y="869"/>
                  <a:pt x="343" y="872"/>
                  <a:pt x="342" y="871"/>
                </a:cubicBezTo>
                <a:cubicBezTo>
                  <a:pt x="341" y="870"/>
                  <a:pt x="341" y="870"/>
                  <a:pt x="341" y="869"/>
                </a:cubicBezTo>
                <a:cubicBezTo>
                  <a:pt x="342" y="869"/>
                  <a:pt x="342" y="869"/>
                  <a:pt x="342" y="869"/>
                </a:cubicBezTo>
                <a:close/>
                <a:moveTo>
                  <a:pt x="570" y="736"/>
                </a:moveTo>
                <a:cubicBezTo>
                  <a:pt x="569" y="736"/>
                  <a:pt x="569" y="736"/>
                  <a:pt x="569" y="737"/>
                </a:cubicBezTo>
                <a:cubicBezTo>
                  <a:pt x="569" y="737"/>
                  <a:pt x="570" y="737"/>
                  <a:pt x="570" y="737"/>
                </a:cubicBezTo>
                <a:cubicBezTo>
                  <a:pt x="571" y="736"/>
                  <a:pt x="572" y="736"/>
                  <a:pt x="572" y="736"/>
                </a:cubicBezTo>
                <a:cubicBezTo>
                  <a:pt x="571" y="735"/>
                  <a:pt x="571" y="735"/>
                  <a:pt x="570" y="736"/>
                </a:cubicBezTo>
                <a:close/>
                <a:moveTo>
                  <a:pt x="242" y="743"/>
                </a:moveTo>
                <a:cubicBezTo>
                  <a:pt x="242" y="743"/>
                  <a:pt x="241" y="742"/>
                  <a:pt x="241" y="742"/>
                </a:cubicBezTo>
                <a:cubicBezTo>
                  <a:pt x="240" y="742"/>
                  <a:pt x="240" y="743"/>
                  <a:pt x="241" y="744"/>
                </a:cubicBezTo>
                <a:cubicBezTo>
                  <a:pt x="241" y="745"/>
                  <a:pt x="241" y="746"/>
                  <a:pt x="243" y="747"/>
                </a:cubicBezTo>
                <a:cubicBezTo>
                  <a:pt x="243" y="747"/>
                  <a:pt x="244" y="747"/>
                  <a:pt x="245" y="747"/>
                </a:cubicBezTo>
                <a:cubicBezTo>
                  <a:pt x="246" y="746"/>
                  <a:pt x="245" y="746"/>
                  <a:pt x="244" y="746"/>
                </a:cubicBezTo>
                <a:cubicBezTo>
                  <a:pt x="244" y="745"/>
                  <a:pt x="245" y="744"/>
                  <a:pt x="245" y="744"/>
                </a:cubicBezTo>
                <a:cubicBezTo>
                  <a:pt x="246" y="744"/>
                  <a:pt x="247" y="744"/>
                  <a:pt x="247" y="744"/>
                </a:cubicBezTo>
                <a:cubicBezTo>
                  <a:pt x="248" y="743"/>
                  <a:pt x="248" y="743"/>
                  <a:pt x="248" y="742"/>
                </a:cubicBezTo>
                <a:cubicBezTo>
                  <a:pt x="248" y="741"/>
                  <a:pt x="248" y="740"/>
                  <a:pt x="248" y="740"/>
                </a:cubicBezTo>
                <a:cubicBezTo>
                  <a:pt x="248" y="739"/>
                  <a:pt x="248" y="739"/>
                  <a:pt x="247" y="739"/>
                </a:cubicBezTo>
                <a:cubicBezTo>
                  <a:pt x="246" y="739"/>
                  <a:pt x="243" y="740"/>
                  <a:pt x="243" y="742"/>
                </a:cubicBezTo>
                <a:cubicBezTo>
                  <a:pt x="243" y="742"/>
                  <a:pt x="244" y="742"/>
                  <a:pt x="243" y="743"/>
                </a:cubicBezTo>
                <a:cubicBezTo>
                  <a:pt x="243" y="743"/>
                  <a:pt x="242" y="743"/>
                  <a:pt x="242" y="743"/>
                </a:cubicBezTo>
                <a:close/>
                <a:moveTo>
                  <a:pt x="458" y="1181"/>
                </a:moveTo>
                <a:cubicBezTo>
                  <a:pt x="459" y="1181"/>
                  <a:pt x="460" y="1181"/>
                  <a:pt x="460" y="1181"/>
                </a:cubicBezTo>
                <a:cubicBezTo>
                  <a:pt x="461" y="1182"/>
                  <a:pt x="462" y="1182"/>
                  <a:pt x="462" y="1182"/>
                </a:cubicBezTo>
                <a:cubicBezTo>
                  <a:pt x="463" y="1182"/>
                  <a:pt x="466" y="1182"/>
                  <a:pt x="466" y="1181"/>
                </a:cubicBezTo>
                <a:cubicBezTo>
                  <a:pt x="466" y="1180"/>
                  <a:pt x="463" y="1179"/>
                  <a:pt x="462" y="1180"/>
                </a:cubicBezTo>
                <a:cubicBezTo>
                  <a:pt x="461" y="1180"/>
                  <a:pt x="460" y="1180"/>
                  <a:pt x="459" y="1180"/>
                </a:cubicBezTo>
                <a:cubicBezTo>
                  <a:pt x="459" y="1179"/>
                  <a:pt x="458" y="1178"/>
                  <a:pt x="457" y="1179"/>
                </a:cubicBezTo>
                <a:cubicBezTo>
                  <a:pt x="457" y="1179"/>
                  <a:pt x="458" y="1180"/>
                  <a:pt x="458" y="1180"/>
                </a:cubicBezTo>
                <a:cubicBezTo>
                  <a:pt x="458" y="1180"/>
                  <a:pt x="457" y="1180"/>
                  <a:pt x="457" y="1180"/>
                </a:cubicBezTo>
                <a:cubicBezTo>
                  <a:pt x="457" y="1181"/>
                  <a:pt x="458" y="1181"/>
                  <a:pt x="458" y="1181"/>
                </a:cubicBezTo>
                <a:close/>
                <a:moveTo>
                  <a:pt x="570" y="772"/>
                </a:moveTo>
                <a:cubicBezTo>
                  <a:pt x="570" y="773"/>
                  <a:pt x="571" y="773"/>
                  <a:pt x="572" y="773"/>
                </a:cubicBezTo>
                <a:cubicBezTo>
                  <a:pt x="573" y="773"/>
                  <a:pt x="573" y="773"/>
                  <a:pt x="574" y="773"/>
                </a:cubicBezTo>
                <a:cubicBezTo>
                  <a:pt x="575" y="774"/>
                  <a:pt x="575" y="774"/>
                  <a:pt x="576" y="775"/>
                </a:cubicBezTo>
                <a:cubicBezTo>
                  <a:pt x="578" y="775"/>
                  <a:pt x="579" y="775"/>
                  <a:pt x="579" y="777"/>
                </a:cubicBezTo>
                <a:cubicBezTo>
                  <a:pt x="579" y="778"/>
                  <a:pt x="578" y="779"/>
                  <a:pt x="579" y="779"/>
                </a:cubicBezTo>
                <a:cubicBezTo>
                  <a:pt x="580" y="780"/>
                  <a:pt x="580" y="779"/>
                  <a:pt x="581" y="778"/>
                </a:cubicBezTo>
                <a:cubicBezTo>
                  <a:pt x="582" y="777"/>
                  <a:pt x="583" y="776"/>
                  <a:pt x="585" y="776"/>
                </a:cubicBezTo>
                <a:cubicBezTo>
                  <a:pt x="586" y="776"/>
                  <a:pt x="589" y="776"/>
                  <a:pt x="587" y="774"/>
                </a:cubicBezTo>
                <a:cubicBezTo>
                  <a:pt x="587" y="774"/>
                  <a:pt x="587" y="773"/>
                  <a:pt x="586" y="773"/>
                </a:cubicBezTo>
                <a:cubicBezTo>
                  <a:pt x="586" y="772"/>
                  <a:pt x="585" y="772"/>
                  <a:pt x="584" y="772"/>
                </a:cubicBezTo>
                <a:cubicBezTo>
                  <a:pt x="583" y="771"/>
                  <a:pt x="583" y="769"/>
                  <a:pt x="582" y="769"/>
                </a:cubicBezTo>
                <a:cubicBezTo>
                  <a:pt x="581" y="768"/>
                  <a:pt x="579" y="770"/>
                  <a:pt x="579" y="770"/>
                </a:cubicBezTo>
                <a:cubicBezTo>
                  <a:pt x="577" y="771"/>
                  <a:pt x="576" y="771"/>
                  <a:pt x="575" y="772"/>
                </a:cubicBezTo>
                <a:cubicBezTo>
                  <a:pt x="575" y="772"/>
                  <a:pt x="574" y="772"/>
                  <a:pt x="574" y="772"/>
                </a:cubicBezTo>
                <a:cubicBezTo>
                  <a:pt x="573" y="772"/>
                  <a:pt x="573" y="772"/>
                  <a:pt x="572" y="772"/>
                </a:cubicBezTo>
                <a:cubicBezTo>
                  <a:pt x="572" y="772"/>
                  <a:pt x="570" y="771"/>
                  <a:pt x="570" y="772"/>
                </a:cubicBezTo>
                <a:close/>
                <a:moveTo>
                  <a:pt x="565" y="737"/>
                </a:moveTo>
                <a:cubicBezTo>
                  <a:pt x="564" y="737"/>
                  <a:pt x="564" y="737"/>
                  <a:pt x="564" y="737"/>
                </a:cubicBezTo>
                <a:cubicBezTo>
                  <a:pt x="564" y="738"/>
                  <a:pt x="564" y="738"/>
                  <a:pt x="565" y="738"/>
                </a:cubicBezTo>
                <a:cubicBezTo>
                  <a:pt x="565" y="738"/>
                  <a:pt x="566" y="738"/>
                  <a:pt x="566" y="737"/>
                </a:cubicBezTo>
                <a:cubicBezTo>
                  <a:pt x="566" y="737"/>
                  <a:pt x="565" y="737"/>
                  <a:pt x="565" y="737"/>
                </a:cubicBezTo>
                <a:close/>
                <a:moveTo>
                  <a:pt x="2367" y="254"/>
                </a:moveTo>
                <a:cubicBezTo>
                  <a:pt x="2366" y="254"/>
                  <a:pt x="2366" y="254"/>
                  <a:pt x="2365" y="253"/>
                </a:cubicBezTo>
                <a:cubicBezTo>
                  <a:pt x="2365" y="253"/>
                  <a:pt x="2364" y="253"/>
                  <a:pt x="2363" y="253"/>
                </a:cubicBezTo>
                <a:cubicBezTo>
                  <a:pt x="2362" y="253"/>
                  <a:pt x="2360" y="253"/>
                  <a:pt x="2359" y="253"/>
                </a:cubicBezTo>
                <a:cubicBezTo>
                  <a:pt x="2357" y="253"/>
                  <a:pt x="2356" y="253"/>
                  <a:pt x="2355" y="253"/>
                </a:cubicBezTo>
                <a:cubicBezTo>
                  <a:pt x="2353" y="253"/>
                  <a:pt x="2352" y="253"/>
                  <a:pt x="2350" y="252"/>
                </a:cubicBezTo>
                <a:cubicBezTo>
                  <a:pt x="2349" y="252"/>
                  <a:pt x="2348" y="252"/>
                  <a:pt x="2346" y="252"/>
                </a:cubicBezTo>
                <a:cubicBezTo>
                  <a:pt x="2345" y="252"/>
                  <a:pt x="2343" y="251"/>
                  <a:pt x="2342" y="253"/>
                </a:cubicBezTo>
                <a:cubicBezTo>
                  <a:pt x="2342" y="254"/>
                  <a:pt x="2342" y="256"/>
                  <a:pt x="2342" y="257"/>
                </a:cubicBezTo>
                <a:cubicBezTo>
                  <a:pt x="2341" y="259"/>
                  <a:pt x="2339" y="260"/>
                  <a:pt x="2337" y="260"/>
                </a:cubicBezTo>
                <a:cubicBezTo>
                  <a:pt x="2336" y="260"/>
                  <a:pt x="2335" y="260"/>
                  <a:pt x="2334" y="260"/>
                </a:cubicBezTo>
                <a:cubicBezTo>
                  <a:pt x="2333" y="260"/>
                  <a:pt x="2332" y="259"/>
                  <a:pt x="2331" y="260"/>
                </a:cubicBezTo>
                <a:cubicBezTo>
                  <a:pt x="2330" y="261"/>
                  <a:pt x="2331" y="262"/>
                  <a:pt x="2332" y="262"/>
                </a:cubicBezTo>
                <a:cubicBezTo>
                  <a:pt x="2333" y="264"/>
                  <a:pt x="2335" y="263"/>
                  <a:pt x="2336" y="263"/>
                </a:cubicBezTo>
                <a:cubicBezTo>
                  <a:pt x="2337" y="264"/>
                  <a:pt x="2337" y="264"/>
                  <a:pt x="2338" y="264"/>
                </a:cubicBezTo>
                <a:cubicBezTo>
                  <a:pt x="2339" y="264"/>
                  <a:pt x="2339" y="264"/>
                  <a:pt x="2340" y="265"/>
                </a:cubicBezTo>
                <a:cubicBezTo>
                  <a:pt x="2341" y="265"/>
                  <a:pt x="2342" y="265"/>
                  <a:pt x="2342" y="266"/>
                </a:cubicBezTo>
                <a:cubicBezTo>
                  <a:pt x="2344" y="267"/>
                  <a:pt x="2345" y="268"/>
                  <a:pt x="2346" y="268"/>
                </a:cubicBezTo>
                <a:cubicBezTo>
                  <a:pt x="2348" y="268"/>
                  <a:pt x="2349" y="268"/>
                  <a:pt x="2351" y="269"/>
                </a:cubicBezTo>
                <a:cubicBezTo>
                  <a:pt x="2352" y="269"/>
                  <a:pt x="2353" y="269"/>
                  <a:pt x="2355" y="269"/>
                </a:cubicBezTo>
                <a:cubicBezTo>
                  <a:pt x="2357" y="270"/>
                  <a:pt x="2359" y="269"/>
                  <a:pt x="2360" y="267"/>
                </a:cubicBezTo>
                <a:cubicBezTo>
                  <a:pt x="2361" y="267"/>
                  <a:pt x="2362" y="266"/>
                  <a:pt x="2363" y="265"/>
                </a:cubicBezTo>
                <a:cubicBezTo>
                  <a:pt x="2364" y="264"/>
                  <a:pt x="2365" y="264"/>
                  <a:pt x="2366" y="263"/>
                </a:cubicBezTo>
                <a:cubicBezTo>
                  <a:pt x="2366" y="262"/>
                  <a:pt x="2367" y="262"/>
                  <a:pt x="2367" y="261"/>
                </a:cubicBezTo>
                <a:cubicBezTo>
                  <a:pt x="2368" y="261"/>
                  <a:pt x="2368" y="260"/>
                  <a:pt x="2369" y="260"/>
                </a:cubicBezTo>
                <a:cubicBezTo>
                  <a:pt x="2370" y="259"/>
                  <a:pt x="2371" y="257"/>
                  <a:pt x="2370" y="256"/>
                </a:cubicBezTo>
                <a:cubicBezTo>
                  <a:pt x="2370" y="255"/>
                  <a:pt x="2368" y="255"/>
                  <a:pt x="2367" y="254"/>
                </a:cubicBezTo>
                <a:close/>
                <a:moveTo>
                  <a:pt x="595" y="772"/>
                </a:moveTo>
                <a:cubicBezTo>
                  <a:pt x="595" y="772"/>
                  <a:pt x="596" y="772"/>
                  <a:pt x="596" y="772"/>
                </a:cubicBezTo>
                <a:cubicBezTo>
                  <a:pt x="596" y="771"/>
                  <a:pt x="595" y="771"/>
                  <a:pt x="595" y="771"/>
                </a:cubicBezTo>
                <a:cubicBezTo>
                  <a:pt x="595" y="770"/>
                  <a:pt x="595" y="769"/>
                  <a:pt x="594" y="769"/>
                </a:cubicBezTo>
                <a:cubicBezTo>
                  <a:pt x="593" y="769"/>
                  <a:pt x="592" y="770"/>
                  <a:pt x="593" y="770"/>
                </a:cubicBezTo>
                <a:cubicBezTo>
                  <a:pt x="594" y="771"/>
                  <a:pt x="594" y="771"/>
                  <a:pt x="594" y="771"/>
                </a:cubicBezTo>
                <a:cubicBezTo>
                  <a:pt x="594" y="771"/>
                  <a:pt x="594" y="772"/>
                  <a:pt x="595" y="772"/>
                </a:cubicBezTo>
                <a:close/>
                <a:moveTo>
                  <a:pt x="575" y="733"/>
                </a:moveTo>
                <a:cubicBezTo>
                  <a:pt x="575" y="733"/>
                  <a:pt x="575" y="732"/>
                  <a:pt x="574" y="732"/>
                </a:cubicBezTo>
                <a:cubicBezTo>
                  <a:pt x="573" y="732"/>
                  <a:pt x="572" y="732"/>
                  <a:pt x="572" y="733"/>
                </a:cubicBezTo>
                <a:cubicBezTo>
                  <a:pt x="572" y="733"/>
                  <a:pt x="573" y="733"/>
                  <a:pt x="574" y="733"/>
                </a:cubicBezTo>
                <a:cubicBezTo>
                  <a:pt x="574" y="734"/>
                  <a:pt x="575" y="733"/>
                  <a:pt x="575" y="733"/>
                </a:cubicBezTo>
                <a:close/>
                <a:moveTo>
                  <a:pt x="379" y="882"/>
                </a:moveTo>
                <a:cubicBezTo>
                  <a:pt x="378" y="882"/>
                  <a:pt x="378" y="881"/>
                  <a:pt x="377" y="881"/>
                </a:cubicBezTo>
                <a:cubicBezTo>
                  <a:pt x="377" y="881"/>
                  <a:pt x="377" y="883"/>
                  <a:pt x="376" y="884"/>
                </a:cubicBezTo>
                <a:cubicBezTo>
                  <a:pt x="376" y="885"/>
                  <a:pt x="376" y="886"/>
                  <a:pt x="376" y="886"/>
                </a:cubicBezTo>
                <a:cubicBezTo>
                  <a:pt x="378" y="887"/>
                  <a:pt x="378" y="885"/>
                  <a:pt x="378" y="884"/>
                </a:cubicBezTo>
                <a:cubicBezTo>
                  <a:pt x="379" y="883"/>
                  <a:pt x="380" y="884"/>
                  <a:pt x="380" y="884"/>
                </a:cubicBezTo>
                <a:cubicBezTo>
                  <a:pt x="381" y="885"/>
                  <a:pt x="381" y="885"/>
                  <a:pt x="382" y="885"/>
                </a:cubicBezTo>
                <a:cubicBezTo>
                  <a:pt x="382" y="884"/>
                  <a:pt x="382" y="884"/>
                  <a:pt x="381" y="883"/>
                </a:cubicBezTo>
                <a:cubicBezTo>
                  <a:pt x="380" y="883"/>
                  <a:pt x="379" y="883"/>
                  <a:pt x="379" y="882"/>
                </a:cubicBezTo>
                <a:close/>
                <a:moveTo>
                  <a:pt x="565" y="785"/>
                </a:moveTo>
                <a:cubicBezTo>
                  <a:pt x="565" y="786"/>
                  <a:pt x="568" y="786"/>
                  <a:pt x="568" y="787"/>
                </a:cubicBezTo>
                <a:cubicBezTo>
                  <a:pt x="569" y="789"/>
                  <a:pt x="567" y="789"/>
                  <a:pt x="566" y="790"/>
                </a:cubicBezTo>
                <a:cubicBezTo>
                  <a:pt x="565" y="792"/>
                  <a:pt x="568" y="792"/>
                  <a:pt x="569" y="792"/>
                </a:cubicBezTo>
                <a:cubicBezTo>
                  <a:pt x="569" y="793"/>
                  <a:pt x="569" y="793"/>
                  <a:pt x="570" y="793"/>
                </a:cubicBezTo>
                <a:cubicBezTo>
                  <a:pt x="571" y="794"/>
                  <a:pt x="571" y="794"/>
                  <a:pt x="572" y="794"/>
                </a:cubicBezTo>
                <a:cubicBezTo>
                  <a:pt x="573" y="796"/>
                  <a:pt x="571" y="797"/>
                  <a:pt x="570" y="798"/>
                </a:cubicBezTo>
                <a:cubicBezTo>
                  <a:pt x="570" y="799"/>
                  <a:pt x="569" y="799"/>
                  <a:pt x="569" y="800"/>
                </a:cubicBezTo>
                <a:cubicBezTo>
                  <a:pt x="569" y="801"/>
                  <a:pt x="570" y="801"/>
                  <a:pt x="570" y="802"/>
                </a:cubicBezTo>
                <a:cubicBezTo>
                  <a:pt x="571" y="803"/>
                  <a:pt x="571" y="802"/>
                  <a:pt x="571" y="801"/>
                </a:cubicBezTo>
                <a:cubicBezTo>
                  <a:pt x="572" y="800"/>
                  <a:pt x="573" y="799"/>
                  <a:pt x="573" y="798"/>
                </a:cubicBezTo>
                <a:cubicBezTo>
                  <a:pt x="575" y="796"/>
                  <a:pt x="575" y="794"/>
                  <a:pt x="578" y="793"/>
                </a:cubicBezTo>
                <a:cubicBezTo>
                  <a:pt x="579" y="792"/>
                  <a:pt x="580" y="792"/>
                  <a:pt x="582" y="792"/>
                </a:cubicBezTo>
                <a:cubicBezTo>
                  <a:pt x="583" y="791"/>
                  <a:pt x="585" y="791"/>
                  <a:pt x="586" y="790"/>
                </a:cubicBezTo>
                <a:cubicBezTo>
                  <a:pt x="587" y="790"/>
                  <a:pt x="588" y="788"/>
                  <a:pt x="589" y="788"/>
                </a:cubicBezTo>
                <a:cubicBezTo>
                  <a:pt x="590" y="787"/>
                  <a:pt x="591" y="787"/>
                  <a:pt x="592" y="786"/>
                </a:cubicBezTo>
                <a:cubicBezTo>
                  <a:pt x="593" y="786"/>
                  <a:pt x="595" y="787"/>
                  <a:pt x="595" y="785"/>
                </a:cubicBezTo>
                <a:cubicBezTo>
                  <a:pt x="594" y="785"/>
                  <a:pt x="594" y="784"/>
                  <a:pt x="593" y="784"/>
                </a:cubicBezTo>
                <a:cubicBezTo>
                  <a:pt x="593" y="784"/>
                  <a:pt x="591" y="783"/>
                  <a:pt x="592" y="783"/>
                </a:cubicBezTo>
                <a:cubicBezTo>
                  <a:pt x="593" y="783"/>
                  <a:pt x="596" y="785"/>
                  <a:pt x="596" y="783"/>
                </a:cubicBezTo>
                <a:cubicBezTo>
                  <a:pt x="595" y="781"/>
                  <a:pt x="594" y="780"/>
                  <a:pt x="593" y="780"/>
                </a:cubicBezTo>
                <a:cubicBezTo>
                  <a:pt x="592" y="780"/>
                  <a:pt x="591" y="780"/>
                  <a:pt x="591" y="781"/>
                </a:cubicBezTo>
                <a:cubicBezTo>
                  <a:pt x="591" y="781"/>
                  <a:pt x="591" y="782"/>
                  <a:pt x="591" y="783"/>
                </a:cubicBezTo>
                <a:cubicBezTo>
                  <a:pt x="589" y="784"/>
                  <a:pt x="588" y="782"/>
                  <a:pt x="587" y="782"/>
                </a:cubicBezTo>
                <a:cubicBezTo>
                  <a:pt x="586" y="782"/>
                  <a:pt x="584" y="781"/>
                  <a:pt x="583" y="782"/>
                </a:cubicBezTo>
                <a:cubicBezTo>
                  <a:pt x="580" y="782"/>
                  <a:pt x="577" y="783"/>
                  <a:pt x="574" y="784"/>
                </a:cubicBezTo>
                <a:cubicBezTo>
                  <a:pt x="573" y="784"/>
                  <a:pt x="571" y="786"/>
                  <a:pt x="570" y="786"/>
                </a:cubicBezTo>
                <a:cubicBezTo>
                  <a:pt x="568" y="786"/>
                  <a:pt x="567" y="784"/>
                  <a:pt x="565" y="785"/>
                </a:cubicBezTo>
                <a:close/>
                <a:moveTo>
                  <a:pt x="578" y="731"/>
                </a:moveTo>
                <a:cubicBezTo>
                  <a:pt x="578" y="731"/>
                  <a:pt x="577" y="730"/>
                  <a:pt x="577" y="731"/>
                </a:cubicBezTo>
                <a:cubicBezTo>
                  <a:pt x="577" y="731"/>
                  <a:pt x="576" y="731"/>
                  <a:pt x="576" y="731"/>
                </a:cubicBezTo>
                <a:cubicBezTo>
                  <a:pt x="576" y="731"/>
                  <a:pt x="577" y="731"/>
                  <a:pt x="577" y="731"/>
                </a:cubicBezTo>
                <a:cubicBezTo>
                  <a:pt x="578" y="731"/>
                  <a:pt x="578" y="731"/>
                  <a:pt x="578" y="731"/>
                </a:cubicBezTo>
                <a:close/>
                <a:moveTo>
                  <a:pt x="425" y="1144"/>
                </a:moveTo>
                <a:cubicBezTo>
                  <a:pt x="425" y="1145"/>
                  <a:pt x="425" y="1145"/>
                  <a:pt x="425" y="1145"/>
                </a:cubicBezTo>
                <a:cubicBezTo>
                  <a:pt x="425" y="1145"/>
                  <a:pt x="425" y="1145"/>
                  <a:pt x="425" y="1145"/>
                </a:cubicBezTo>
                <a:cubicBezTo>
                  <a:pt x="425" y="1147"/>
                  <a:pt x="426" y="1144"/>
                  <a:pt x="425" y="1144"/>
                </a:cubicBezTo>
                <a:close/>
                <a:moveTo>
                  <a:pt x="423" y="1151"/>
                </a:moveTo>
                <a:cubicBezTo>
                  <a:pt x="422" y="1150"/>
                  <a:pt x="422" y="1152"/>
                  <a:pt x="422" y="1152"/>
                </a:cubicBezTo>
                <a:cubicBezTo>
                  <a:pt x="423" y="1152"/>
                  <a:pt x="423" y="1153"/>
                  <a:pt x="423" y="1154"/>
                </a:cubicBezTo>
                <a:cubicBezTo>
                  <a:pt x="424" y="1153"/>
                  <a:pt x="423" y="1151"/>
                  <a:pt x="423" y="1151"/>
                </a:cubicBezTo>
                <a:close/>
                <a:moveTo>
                  <a:pt x="420" y="1140"/>
                </a:moveTo>
                <a:cubicBezTo>
                  <a:pt x="419" y="1139"/>
                  <a:pt x="419" y="1138"/>
                  <a:pt x="419" y="1137"/>
                </a:cubicBezTo>
                <a:cubicBezTo>
                  <a:pt x="419" y="1137"/>
                  <a:pt x="419" y="1135"/>
                  <a:pt x="418" y="1136"/>
                </a:cubicBezTo>
                <a:cubicBezTo>
                  <a:pt x="417" y="1136"/>
                  <a:pt x="418" y="1138"/>
                  <a:pt x="418" y="1138"/>
                </a:cubicBezTo>
                <a:cubicBezTo>
                  <a:pt x="418" y="1139"/>
                  <a:pt x="418" y="1139"/>
                  <a:pt x="418" y="1140"/>
                </a:cubicBezTo>
                <a:cubicBezTo>
                  <a:pt x="418" y="1140"/>
                  <a:pt x="417" y="1140"/>
                  <a:pt x="417" y="1141"/>
                </a:cubicBezTo>
                <a:cubicBezTo>
                  <a:pt x="417" y="1142"/>
                  <a:pt x="418" y="1142"/>
                  <a:pt x="418" y="1142"/>
                </a:cubicBezTo>
                <a:cubicBezTo>
                  <a:pt x="419" y="1143"/>
                  <a:pt x="419" y="1144"/>
                  <a:pt x="419" y="1144"/>
                </a:cubicBezTo>
                <a:cubicBezTo>
                  <a:pt x="419" y="1145"/>
                  <a:pt x="419" y="1146"/>
                  <a:pt x="420" y="1147"/>
                </a:cubicBezTo>
                <a:cubicBezTo>
                  <a:pt x="420" y="1148"/>
                  <a:pt x="420" y="1148"/>
                  <a:pt x="420" y="1149"/>
                </a:cubicBezTo>
                <a:cubicBezTo>
                  <a:pt x="421" y="1150"/>
                  <a:pt x="420" y="1150"/>
                  <a:pt x="421" y="1151"/>
                </a:cubicBezTo>
                <a:cubicBezTo>
                  <a:pt x="421" y="1150"/>
                  <a:pt x="421" y="1148"/>
                  <a:pt x="421" y="1147"/>
                </a:cubicBezTo>
                <a:cubicBezTo>
                  <a:pt x="421" y="1146"/>
                  <a:pt x="421" y="1144"/>
                  <a:pt x="421" y="1143"/>
                </a:cubicBezTo>
                <a:cubicBezTo>
                  <a:pt x="421" y="1141"/>
                  <a:pt x="420" y="1141"/>
                  <a:pt x="420" y="1140"/>
                </a:cubicBezTo>
                <a:close/>
                <a:moveTo>
                  <a:pt x="425" y="1156"/>
                </a:moveTo>
                <a:cubicBezTo>
                  <a:pt x="425" y="1155"/>
                  <a:pt x="424" y="1154"/>
                  <a:pt x="423" y="1154"/>
                </a:cubicBezTo>
                <a:cubicBezTo>
                  <a:pt x="423" y="1155"/>
                  <a:pt x="425" y="1157"/>
                  <a:pt x="425" y="1156"/>
                </a:cubicBezTo>
                <a:close/>
                <a:moveTo>
                  <a:pt x="426" y="1141"/>
                </a:moveTo>
                <a:cubicBezTo>
                  <a:pt x="426" y="1140"/>
                  <a:pt x="425" y="1140"/>
                  <a:pt x="425" y="1140"/>
                </a:cubicBezTo>
                <a:cubicBezTo>
                  <a:pt x="425" y="1140"/>
                  <a:pt x="425" y="1139"/>
                  <a:pt x="425" y="1139"/>
                </a:cubicBezTo>
                <a:cubicBezTo>
                  <a:pt x="425" y="1138"/>
                  <a:pt x="424" y="1138"/>
                  <a:pt x="424" y="1138"/>
                </a:cubicBezTo>
                <a:cubicBezTo>
                  <a:pt x="423" y="1137"/>
                  <a:pt x="423" y="1136"/>
                  <a:pt x="422" y="1136"/>
                </a:cubicBezTo>
                <a:cubicBezTo>
                  <a:pt x="421" y="1136"/>
                  <a:pt x="422" y="1136"/>
                  <a:pt x="422" y="1137"/>
                </a:cubicBezTo>
                <a:cubicBezTo>
                  <a:pt x="421" y="1137"/>
                  <a:pt x="421" y="1137"/>
                  <a:pt x="420" y="1138"/>
                </a:cubicBezTo>
                <a:cubicBezTo>
                  <a:pt x="420" y="1139"/>
                  <a:pt x="421" y="1139"/>
                  <a:pt x="421" y="1139"/>
                </a:cubicBezTo>
                <a:cubicBezTo>
                  <a:pt x="422" y="1139"/>
                  <a:pt x="422" y="1140"/>
                  <a:pt x="422" y="1140"/>
                </a:cubicBezTo>
                <a:cubicBezTo>
                  <a:pt x="423" y="1141"/>
                  <a:pt x="423" y="1141"/>
                  <a:pt x="424" y="1141"/>
                </a:cubicBezTo>
                <a:cubicBezTo>
                  <a:pt x="424" y="1141"/>
                  <a:pt x="425" y="1142"/>
                  <a:pt x="425" y="1142"/>
                </a:cubicBezTo>
                <a:cubicBezTo>
                  <a:pt x="426" y="1142"/>
                  <a:pt x="426" y="1141"/>
                  <a:pt x="426" y="1141"/>
                </a:cubicBezTo>
                <a:close/>
                <a:moveTo>
                  <a:pt x="442" y="1171"/>
                </a:moveTo>
                <a:cubicBezTo>
                  <a:pt x="442" y="1172"/>
                  <a:pt x="444" y="1173"/>
                  <a:pt x="444" y="1172"/>
                </a:cubicBezTo>
                <a:cubicBezTo>
                  <a:pt x="444" y="1172"/>
                  <a:pt x="444" y="1172"/>
                  <a:pt x="443" y="1171"/>
                </a:cubicBezTo>
                <a:cubicBezTo>
                  <a:pt x="443" y="1171"/>
                  <a:pt x="442" y="1171"/>
                  <a:pt x="442" y="1171"/>
                </a:cubicBezTo>
                <a:close/>
                <a:moveTo>
                  <a:pt x="427" y="1158"/>
                </a:moveTo>
                <a:cubicBezTo>
                  <a:pt x="428" y="1157"/>
                  <a:pt x="427" y="1156"/>
                  <a:pt x="427" y="1155"/>
                </a:cubicBezTo>
                <a:cubicBezTo>
                  <a:pt x="427" y="1155"/>
                  <a:pt x="427" y="1154"/>
                  <a:pt x="426" y="1154"/>
                </a:cubicBezTo>
                <a:cubicBezTo>
                  <a:pt x="425" y="1154"/>
                  <a:pt x="426" y="1155"/>
                  <a:pt x="426" y="1155"/>
                </a:cubicBezTo>
                <a:cubicBezTo>
                  <a:pt x="426" y="1156"/>
                  <a:pt x="426" y="1159"/>
                  <a:pt x="427" y="1158"/>
                </a:cubicBezTo>
                <a:close/>
                <a:moveTo>
                  <a:pt x="2632" y="1408"/>
                </a:moveTo>
                <a:cubicBezTo>
                  <a:pt x="2632" y="1408"/>
                  <a:pt x="2631" y="1408"/>
                  <a:pt x="2630" y="1407"/>
                </a:cubicBezTo>
                <a:cubicBezTo>
                  <a:pt x="2630" y="1407"/>
                  <a:pt x="2630" y="1406"/>
                  <a:pt x="2629" y="1406"/>
                </a:cubicBezTo>
                <a:cubicBezTo>
                  <a:pt x="2627" y="1406"/>
                  <a:pt x="2627" y="1407"/>
                  <a:pt x="2626" y="1408"/>
                </a:cubicBezTo>
                <a:cubicBezTo>
                  <a:pt x="2625" y="1410"/>
                  <a:pt x="2624" y="1410"/>
                  <a:pt x="2623" y="1410"/>
                </a:cubicBezTo>
                <a:cubicBezTo>
                  <a:pt x="2622" y="1411"/>
                  <a:pt x="2621" y="1411"/>
                  <a:pt x="2622" y="1412"/>
                </a:cubicBezTo>
                <a:cubicBezTo>
                  <a:pt x="2622" y="1412"/>
                  <a:pt x="2623" y="1412"/>
                  <a:pt x="2623" y="1413"/>
                </a:cubicBezTo>
                <a:cubicBezTo>
                  <a:pt x="2624" y="1413"/>
                  <a:pt x="2624" y="1414"/>
                  <a:pt x="2624" y="1414"/>
                </a:cubicBezTo>
                <a:cubicBezTo>
                  <a:pt x="2625" y="1414"/>
                  <a:pt x="2626" y="1414"/>
                  <a:pt x="2626" y="1414"/>
                </a:cubicBezTo>
                <a:cubicBezTo>
                  <a:pt x="2627" y="1414"/>
                  <a:pt x="2627" y="1414"/>
                  <a:pt x="2628" y="1413"/>
                </a:cubicBezTo>
                <a:cubicBezTo>
                  <a:pt x="2628" y="1412"/>
                  <a:pt x="2629" y="1412"/>
                  <a:pt x="2629" y="1412"/>
                </a:cubicBezTo>
                <a:cubicBezTo>
                  <a:pt x="2630" y="1412"/>
                  <a:pt x="2631" y="1412"/>
                  <a:pt x="2631" y="1411"/>
                </a:cubicBezTo>
                <a:cubicBezTo>
                  <a:pt x="2632" y="1411"/>
                  <a:pt x="2632" y="1410"/>
                  <a:pt x="2633" y="1410"/>
                </a:cubicBezTo>
                <a:cubicBezTo>
                  <a:pt x="2634" y="1409"/>
                  <a:pt x="2637" y="1409"/>
                  <a:pt x="2636" y="1408"/>
                </a:cubicBezTo>
                <a:cubicBezTo>
                  <a:pt x="2636" y="1407"/>
                  <a:pt x="2633" y="1408"/>
                  <a:pt x="2632" y="1408"/>
                </a:cubicBezTo>
                <a:close/>
                <a:moveTo>
                  <a:pt x="455" y="1180"/>
                </a:moveTo>
                <a:cubicBezTo>
                  <a:pt x="456" y="1180"/>
                  <a:pt x="455" y="1179"/>
                  <a:pt x="455" y="1178"/>
                </a:cubicBezTo>
                <a:cubicBezTo>
                  <a:pt x="454" y="1178"/>
                  <a:pt x="453" y="1178"/>
                  <a:pt x="452" y="1178"/>
                </a:cubicBezTo>
                <a:cubicBezTo>
                  <a:pt x="452" y="1178"/>
                  <a:pt x="451" y="1177"/>
                  <a:pt x="451" y="1178"/>
                </a:cubicBezTo>
                <a:cubicBezTo>
                  <a:pt x="452" y="1178"/>
                  <a:pt x="452" y="1179"/>
                  <a:pt x="453" y="1179"/>
                </a:cubicBezTo>
                <a:cubicBezTo>
                  <a:pt x="453" y="1179"/>
                  <a:pt x="454" y="1179"/>
                  <a:pt x="454" y="1179"/>
                </a:cubicBezTo>
                <a:cubicBezTo>
                  <a:pt x="454" y="1179"/>
                  <a:pt x="455" y="1180"/>
                  <a:pt x="455" y="1180"/>
                </a:cubicBezTo>
                <a:close/>
                <a:moveTo>
                  <a:pt x="452" y="1186"/>
                </a:moveTo>
                <a:cubicBezTo>
                  <a:pt x="451" y="1186"/>
                  <a:pt x="451" y="1186"/>
                  <a:pt x="450" y="1186"/>
                </a:cubicBezTo>
                <a:cubicBezTo>
                  <a:pt x="450" y="1187"/>
                  <a:pt x="450" y="1187"/>
                  <a:pt x="450" y="1187"/>
                </a:cubicBezTo>
                <a:cubicBezTo>
                  <a:pt x="450" y="1188"/>
                  <a:pt x="449" y="1188"/>
                  <a:pt x="449" y="1188"/>
                </a:cubicBezTo>
                <a:cubicBezTo>
                  <a:pt x="450" y="1188"/>
                  <a:pt x="450" y="1188"/>
                  <a:pt x="450" y="1188"/>
                </a:cubicBezTo>
                <a:cubicBezTo>
                  <a:pt x="450" y="1187"/>
                  <a:pt x="450" y="1188"/>
                  <a:pt x="451" y="1188"/>
                </a:cubicBezTo>
                <a:cubicBezTo>
                  <a:pt x="451" y="1188"/>
                  <a:pt x="452" y="1188"/>
                  <a:pt x="453" y="1187"/>
                </a:cubicBezTo>
                <a:cubicBezTo>
                  <a:pt x="453" y="1187"/>
                  <a:pt x="454" y="1187"/>
                  <a:pt x="453" y="1186"/>
                </a:cubicBezTo>
                <a:cubicBezTo>
                  <a:pt x="453" y="1186"/>
                  <a:pt x="452" y="1187"/>
                  <a:pt x="452" y="1186"/>
                </a:cubicBezTo>
                <a:close/>
                <a:moveTo>
                  <a:pt x="436" y="1164"/>
                </a:moveTo>
                <a:cubicBezTo>
                  <a:pt x="436" y="1165"/>
                  <a:pt x="437" y="1166"/>
                  <a:pt x="438" y="1166"/>
                </a:cubicBezTo>
                <a:cubicBezTo>
                  <a:pt x="438" y="1165"/>
                  <a:pt x="436" y="1164"/>
                  <a:pt x="436" y="1164"/>
                </a:cubicBezTo>
                <a:cubicBezTo>
                  <a:pt x="435" y="1163"/>
                  <a:pt x="434" y="1162"/>
                  <a:pt x="433" y="1161"/>
                </a:cubicBezTo>
                <a:cubicBezTo>
                  <a:pt x="433" y="1161"/>
                  <a:pt x="432" y="1160"/>
                  <a:pt x="432" y="1160"/>
                </a:cubicBezTo>
                <a:cubicBezTo>
                  <a:pt x="432" y="1160"/>
                  <a:pt x="432" y="1161"/>
                  <a:pt x="432" y="1161"/>
                </a:cubicBezTo>
                <a:cubicBezTo>
                  <a:pt x="431" y="1161"/>
                  <a:pt x="432" y="1161"/>
                  <a:pt x="431" y="1161"/>
                </a:cubicBezTo>
                <a:cubicBezTo>
                  <a:pt x="431" y="1161"/>
                  <a:pt x="431" y="1161"/>
                  <a:pt x="431" y="1160"/>
                </a:cubicBezTo>
                <a:cubicBezTo>
                  <a:pt x="430" y="1160"/>
                  <a:pt x="430" y="1158"/>
                  <a:pt x="429" y="1159"/>
                </a:cubicBezTo>
                <a:cubicBezTo>
                  <a:pt x="429" y="1159"/>
                  <a:pt x="430" y="1160"/>
                  <a:pt x="431" y="1161"/>
                </a:cubicBezTo>
                <a:cubicBezTo>
                  <a:pt x="431" y="1162"/>
                  <a:pt x="432" y="1163"/>
                  <a:pt x="433" y="1163"/>
                </a:cubicBezTo>
                <a:cubicBezTo>
                  <a:pt x="433" y="1162"/>
                  <a:pt x="432" y="1162"/>
                  <a:pt x="432" y="1161"/>
                </a:cubicBezTo>
                <a:cubicBezTo>
                  <a:pt x="433" y="1161"/>
                  <a:pt x="435" y="1163"/>
                  <a:pt x="436" y="1164"/>
                </a:cubicBezTo>
                <a:close/>
                <a:moveTo>
                  <a:pt x="350" y="863"/>
                </a:moveTo>
                <a:cubicBezTo>
                  <a:pt x="350" y="864"/>
                  <a:pt x="351" y="864"/>
                  <a:pt x="352" y="864"/>
                </a:cubicBezTo>
                <a:cubicBezTo>
                  <a:pt x="353" y="864"/>
                  <a:pt x="353" y="866"/>
                  <a:pt x="354" y="867"/>
                </a:cubicBezTo>
                <a:cubicBezTo>
                  <a:pt x="355" y="868"/>
                  <a:pt x="355" y="868"/>
                  <a:pt x="355" y="869"/>
                </a:cubicBezTo>
                <a:cubicBezTo>
                  <a:pt x="355" y="869"/>
                  <a:pt x="355" y="870"/>
                  <a:pt x="356" y="871"/>
                </a:cubicBezTo>
                <a:cubicBezTo>
                  <a:pt x="356" y="871"/>
                  <a:pt x="357" y="872"/>
                  <a:pt x="356" y="872"/>
                </a:cubicBezTo>
                <a:cubicBezTo>
                  <a:pt x="356" y="873"/>
                  <a:pt x="355" y="872"/>
                  <a:pt x="355" y="874"/>
                </a:cubicBezTo>
                <a:cubicBezTo>
                  <a:pt x="355" y="875"/>
                  <a:pt x="357" y="875"/>
                  <a:pt x="358" y="876"/>
                </a:cubicBezTo>
                <a:cubicBezTo>
                  <a:pt x="360" y="876"/>
                  <a:pt x="361" y="877"/>
                  <a:pt x="362" y="877"/>
                </a:cubicBezTo>
                <a:cubicBezTo>
                  <a:pt x="363" y="878"/>
                  <a:pt x="364" y="878"/>
                  <a:pt x="366" y="878"/>
                </a:cubicBezTo>
                <a:cubicBezTo>
                  <a:pt x="366" y="878"/>
                  <a:pt x="367" y="878"/>
                  <a:pt x="368" y="878"/>
                </a:cubicBezTo>
                <a:cubicBezTo>
                  <a:pt x="368" y="879"/>
                  <a:pt x="368" y="879"/>
                  <a:pt x="368" y="880"/>
                </a:cubicBezTo>
                <a:cubicBezTo>
                  <a:pt x="367" y="880"/>
                  <a:pt x="364" y="881"/>
                  <a:pt x="366" y="881"/>
                </a:cubicBezTo>
                <a:cubicBezTo>
                  <a:pt x="367" y="882"/>
                  <a:pt x="367" y="881"/>
                  <a:pt x="368" y="882"/>
                </a:cubicBezTo>
                <a:cubicBezTo>
                  <a:pt x="368" y="883"/>
                  <a:pt x="369" y="883"/>
                  <a:pt x="368" y="884"/>
                </a:cubicBezTo>
                <a:cubicBezTo>
                  <a:pt x="367" y="884"/>
                  <a:pt x="366" y="884"/>
                  <a:pt x="366" y="885"/>
                </a:cubicBezTo>
                <a:cubicBezTo>
                  <a:pt x="366" y="886"/>
                  <a:pt x="367" y="886"/>
                  <a:pt x="368" y="887"/>
                </a:cubicBezTo>
                <a:cubicBezTo>
                  <a:pt x="368" y="887"/>
                  <a:pt x="368" y="888"/>
                  <a:pt x="369" y="889"/>
                </a:cubicBezTo>
                <a:cubicBezTo>
                  <a:pt x="369" y="889"/>
                  <a:pt x="369" y="890"/>
                  <a:pt x="369" y="890"/>
                </a:cubicBezTo>
                <a:cubicBezTo>
                  <a:pt x="370" y="891"/>
                  <a:pt x="369" y="892"/>
                  <a:pt x="369" y="893"/>
                </a:cubicBezTo>
                <a:cubicBezTo>
                  <a:pt x="370" y="893"/>
                  <a:pt x="370" y="894"/>
                  <a:pt x="371" y="894"/>
                </a:cubicBezTo>
                <a:cubicBezTo>
                  <a:pt x="371" y="895"/>
                  <a:pt x="371" y="896"/>
                  <a:pt x="372" y="896"/>
                </a:cubicBezTo>
                <a:cubicBezTo>
                  <a:pt x="372" y="895"/>
                  <a:pt x="372" y="894"/>
                  <a:pt x="372" y="893"/>
                </a:cubicBezTo>
                <a:cubicBezTo>
                  <a:pt x="372" y="892"/>
                  <a:pt x="372" y="890"/>
                  <a:pt x="374" y="889"/>
                </a:cubicBezTo>
                <a:cubicBezTo>
                  <a:pt x="375" y="888"/>
                  <a:pt x="377" y="887"/>
                  <a:pt x="374" y="887"/>
                </a:cubicBezTo>
                <a:cubicBezTo>
                  <a:pt x="373" y="886"/>
                  <a:pt x="370" y="886"/>
                  <a:pt x="371" y="885"/>
                </a:cubicBezTo>
                <a:cubicBezTo>
                  <a:pt x="371" y="883"/>
                  <a:pt x="373" y="884"/>
                  <a:pt x="374" y="882"/>
                </a:cubicBezTo>
                <a:cubicBezTo>
                  <a:pt x="374" y="881"/>
                  <a:pt x="372" y="880"/>
                  <a:pt x="374" y="879"/>
                </a:cubicBezTo>
                <a:cubicBezTo>
                  <a:pt x="374" y="878"/>
                  <a:pt x="375" y="878"/>
                  <a:pt x="375" y="878"/>
                </a:cubicBezTo>
                <a:cubicBezTo>
                  <a:pt x="376" y="877"/>
                  <a:pt x="377" y="877"/>
                  <a:pt x="378" y="877"/>
                </a:cubicBezTo>
                <a:cubicBezTo>
                  <a:pt x="379" y="877"/>
                  <a:pt x="381" y="877"/>
                  <a:pt x="381" y="875"/>
                </a:cubicBezTo>
                <a:cubicBezTo>
                  <a:pt x="381" y="874"/>
                  <a:pt x="378" y="872"/>
                  <a:pt x="377" y="872"/>
                </a:cubicBezTo>
                <a:cubicBezTo>
                  <a:pt x="376" y="871"/>
                  <a:pt x="375" y="871"/>
                  <a:pt x="376" y="870"/>
                </a:cubicBezTo>
                <a:cubicBezTo>
                  <a:pt x="377" y="868"/>
                  <a:pt x="378" y="868"/>
                  <a:pt x="379" y="867"/>
                </a:cubicBezTo>
                <a:cubicBezTo>
                  <a:pt x="380" y="866"/>
                  <a:pt x="380" y="866"/>
                  <a:pt x="381" y="866"/>
                </a:cubicBezTo>
                <a:cubicBezTo>
                  <a:pt x="382" y="866"/>
                  <a:pt x="383" y="865"/>
                  <a:pt x="383" y="864"/>
                </a:cubicBezTo>
                <a:cubicBezTo>
                  <a:pt x="383" y="863"/>
                  <a:pt x="383" y="863"/>
                  <a:pt x="383" y="863"/>
                </a:cubicBezTo>
                <a:cubicBezTo>
                  <a:pt x="383" y="862"/>
                  <a:pt x="383" y="861"/>
                  <a:pt x="383" y="861"/>
                </a:cubicBezTo>
                <a:cubicBezTo>
                  <a:pt x="383" y="860"/>
                  <a:pt x="383" y="859"/>
                  <a:pt x="383" y="859"/>
                </a:cubicBezTo>
                <a:cubicBezTo>
                  <a:pt x="383" y="857"/>
                  <a:pt x="383" y="856"/>
                  <a:pt x="382" y="855"/>
                </a:cubicBezTo>
                <a:cubicBezTo>
                  <a:pt x="381" y="853"/>
                  <a:pt x="380" y="853"/>
                  <a:pt x="378" y="853"/>
                </a:cubicBezTo>
                <a:cubicBezTo>
                  <a:pt x="377" y="853"/>
                  <a:pt x="375" y="853"/>
                  <a:pt x="374" y="853"/>
                </a:cubicBezTo>
                <a:cubicBezTo>
                  <a:pt x="374" y="853"/>
                  <a:pt x="373" y="854"/>
                  <a:pt x="372" y="854"/>
                </a:cubicBezTo>
                <a:cubicBezTo>
                  <a:pt x="372" y="854"/>
                  <a:pt x="371" y="854"/>
                  <a:pt x="371" y="855"/>
                </a:cubicBezTo>
                <a:cubicBezTo>
                  <a:pt x="370" y="856"/>
                  <a:pt x="371" y="856"/>
                  <a:pt x="371" y="857"/>
                </a:cubicBezTo>
                <a:cubicBezTo>
                  <a:pt x="372" y="857"/>
                  <a:pt x="372" y="858"/>
                  <a:pt x="372" y="858"/>
                </a:cubicBezTo>
                <a:cubicBezTo>
                  <a:pt x="372" y="859"/>
                  <a:pt x="373" y="859"/>
                  <a:pt x="373" y="860"/>
                </a:cubicBezTo>
                <a:cubicBezTo>
                  <a:pt x="373" y="861"/>
                  <a:pt x="373" y="861"/>
                  <a:pt x="373" y="862"/>
                </a:cubicBezTo>
                <a:cubicBezTo>
                  <a:pt x="373" y="863"/>
                  <a:pt x="372" y="866"/>
                  <a:pt x="371" y="864"/>
                </a:cubicBezTo>
                <a:cubicBezTo>
                  <a:pt x="371" y="863"/>
                  <a:pt x="371" y="863"/>
                  <a:pt x="372" y="862"/>
                </a:cubicBezTo>
                <a:cubicBezTo>
                  <a:pt x="372" y="862"/>
                  <a:pt x="372" y="861"/>
                  <a:pt x="372" y="860"/>
                </a:cubicBezTo>
                <a:cubicBezTo>
                  <a:pt x="372" y="859"/>
                  <a:pt x="371" y="856"/>
                  <a:pt x="370" y="858"/>
                </a:cubicBezTo>
                <a:cubicBezTo>
                  <a:pt x="369" y="858"/>
                  <a:pt x="370" y="859"/>
                  <a:pt x="370" y="860"/>
                </a:cubicBezTo>
                <a:cubicBezTo>
                  <a:pt x="370" y="861"/>
                  <a:pt x="370" y="861"/>
                  <a:pt x="370" y="861"/>
                </a:cubicBezTo>
                <a:cubicBezTo>
                  <a:pt x="369" y="862"/>
                  <a:pt x="369" y="862"/>
                  <a:pt x="369" y="863"/>
                </a:cubicBezTo>
                <a:cubicBezTo>
                  <a:pt x="368" y="864"/>
                  <a:pt x="368" y="864"/>
                  <a:pt x="368" y="865"/>
                </a:cubicBezTo>
                <a:cubicBezTo>
                  <a:pt x="367" y="865"/>
                  <a:pt x="367" y="865"/>
                  <a:pt x="367" y="865"/>
                </a:cubicBezTo>
                <a:cubicBezTo>
                  <a:pt x="367" y="864"/>
                  <a:pt x="366" y="863"/>
                  <a:pt x="366" y="863"/>
                </a:cubicBezTo>
                <a:cubicBezTo>
                  <a:pt x="366" y="862"/>
                  <a:pt x="365" y="862"/>
                  <a:pt x="365" y="861"/>
                </a:cubicBezTo>
                <a:cubicBezTo>
                  <a:pt x="365" y="860"/>
                  <a:pt x="365" y="860"/>
                  <a:pt x="366" y="859"/>
                </a:cubicBezTo>
                <a:cubicBezTo>
                  <a:pt x="366" y="858"/>
                  <a:pt x="366" y="858"/>
                  <a:pt x="367" y="857"/>
                </a:cubicBezTo>
                <a:cubicBezTo>
                  <a:pt x="367" y="857"/>
                  <a:pt x="368" y="856"/>
                  <a:pt x="367" y="856"/>
                </a:cubicBezTo>
                <a:cubicBezTo>
                  <a:pt x="366" y="856"/>
                  <a:pt x="365" y="857"/>
                  <a:pt x="364" y="857"/>
                </a:cubicBezTo>
                <a:cubicBezTo>
                  <a:pt x="363" y="857"/>
                  <a:pt x="362" y="856"/>
                  <a:pt x="360" y="856"/>
                </a:cubicBezTo>
                <a:cubicBezTo>
                  <a:pt x="360" y="856"/>
                  <a:pt x="359" y="855"/>
                  <a:pt x="358" y="856"/>
                </a:cubicBezTo>
                <a:cubicBezTo>
                  <a:pt x="359" y="857"/>
                  <a:pt x="360" y="857"/>
                  <a:pt x="360" y="857"/>
                </a:cubicBezTo>
                <a:cubicBezTo>
                  <a:pt x="361" y="858"/>
                  <a:pt x="361" y="858"/>
                  <a:pt x="361" y="859"/>
                </a:cubicBezTo>
                <a:cubicBezTo>
                  <a:pt x="362" y="860"/>
                  <a:pt x="359" y="862"/>
                  <a:pt x="358" y="863"/>
                </a:cubicBezTo>
                <a:cubicBezTo>
                  <a:pt x="358" y="863"/>
                  <a:pt x="357" y="863"/>
                  <a:pt x="356" y="863"/>
                </a:cubicBezTo>
                <a:cubicBezTo>
                  <a:pt x="355" y="864"/>
                  <a:pt x="354" y="864"/>
                  <a:pt x="352" y="863"/>
                </a:cubicBezTo>
                <a:cubicBezTo>
                  <a:pt x="352" y="863"/>
                  <a:pt x="351" y="862"/>
                  <a:pt x="350" y="863"/>
                </a:cubicBezTo>
                <a:close/>
                <a:moveTo>
                  <a:pt x="240" y="750"/>
                </a:moveTo>
                <a:cubicBezTo>
                  <a:pt x="240" y="749"/>
                  <a:pt x="240" y="749"/>
                  <a:pt x="239" y="749"/>
                </a:cubicBezTo>
                <a:cubicBezTo>
                  <a:pt x="238" y="748"/>
                  <a:pt x="238" y="746"/>
                  <a:pt x="237" y="747"/>
                </a:cubicBezTo>
                <a:cubicBezTo>
                  <a:pt x="235" y="747"/>
                  <a:pt x="238" y="749"/>
                  <a:pt x="238" y="750"/>
                </a:cubicBezTo>
                <a:cubicBezTo>
                  <a:pt x="238" y="751"/>
                  <a:pt x="238" y="752"/>
                  <a:pt x="238" y="752"/>
                </a:cubicBezTo>
                <a:cubicBezTo>
                  <a:pt x="238" y="753"/>
                  <a:pt x="238" y="754"/>
                  <a:pt x="239" y="753"/>
                </a:cubicBezTo>
                <a:cubicBezTo>
                  <a:pt x="239" y="753"/>
                  <a:pt x="239" y="752"/>
                  <a:pt x="239" y="751"/>
                </a:cubicBezTo>
                <a:cubicBezTo>
                  <a:pt x="240" y="751"/>
                  <a:pt x="240" y="751"/>
                  <a:pt x="240" y="750"/>
                </a:cubicBezTo>
                <a:close/>
                <a:moveTo>
                  <a:pt x="240" y="766"/>
                </a:moveTo>
                <a:cubicBezTo>
                  <a:pt x="240" y="766"/>
                  <a:pt x="240" y="765"/>
                  <a:pt x="240" y="764"/>
                </a:cubicBezTo>
                <a:cubicBezTo>
                  <a:pt x="240" y="764"/>
                  <a:pt x="241" y="763"/>
                  <a:pt x="241" y="763"/>
                </a:cubicBezTo>
                <a:cubicBezTo>
                  <a:pt x="242" y="762"/>
                  <a:pt x="241" y="762"/>
                  <a:pt x="240" y="761"/>
                </a:cubicBezTo>
                <a:cubicBezTo>
                  <a:pt x="240" y="761"/>
                  <a:pt x="240" y="759"/>
                  <a:pt x="239" y="759"/>
                </a:cubicBezTo>
                <a:cubicBezTo>
                  <a:pt x="239" y="759"/>
                  <a:pt x="238" y="761"/>
                  <a:pt x="238" y="761"/>
                </a:cubicBezTo>
                <a:cubicBezTo>
                  <a:pt x="238" y="762"/>
                  <a:pt x="238" y="762"/>
                  <a:pt x="238" y="763"/>
                </a:cubicBezTo>
                <a:cubicBezTo>
                  <a:pt x="238" y="764"/>
                  <a:pt x="238" y="767"/>
                  <a:pt x="240" y="766"/>
                </a:cubicBezTo>
                <a:close/>
                <a:moveTo>
                  <a:pt x="353" y="820"/>
                </a:moveTo>
                <a:cubicBezTo>
                  <a:pt x="352" y="820"/>
                  <a:pt x="352" y="821"/>
                  <a:pt x="353" y="821"/>
                </a:cubicBezTo>
                <a:cubicBezTo>
                  <a:pt x="353" y="821"/>
                  <a:pt x="354" y="820"/>
                  <a:pt x="353" y="820"/>
                </a:cubicBezTo>
                <a:close/>
                <a:moveTo>
                  <a:pt x="364" y="800"/>
                </a:moveTo>
                <a:cubicBezTo>
                  <a:pt x="364" y="800"/>
                  <a:pt x="364" y="800"/>
                  <a:pt x="364" y="800"/>
                </a:cubicBezTo>
                <a:cubicBezTo>
                  <a:pt x="364" y="800"/>
                  <a:pt x="364" y="800"/>
                  <a:pt x="364" y="800"/>
                </a:cubicBezTo>
                <a:cubicBezTo>
                  <a:pt x="366" y="801"/>
                  <a:pt x="366" y="801"/>
                  <a:pt x="367" y="800"/>
                </a:cubicBezTo>
                <a:cubicBezTo>
                  <a:pt x="367" y="799"/>
                  <a:pt x="368" y="798"/>
                  <a:pt x="367" y="797"/>
                </a:cubicBezTo>
                <a:cubicBezTo>
                  <a:pt x="367" y="797"/>
                  <a:pt x="365" y="797"/>
                  <a:pt x="365" y="797"/>
                </a:cubicBezTo>
                <a:cubicBezTo>
                  <a:pt x="364" y="797"/>
                  <a:pt x="364" y="797"/>
                  <a:pt x="364" y="798"/>
                </a:cubicBezTo>
                <a:cubicBezTo>
                  <a:pt x="364" y="798"/>
                  <a:pt x="363" y="798"/>
                  <a:pt x="363" y="799"/>
                </a:cubicBezTo>
                <a:cubicBezTo>
                  <a:pt x="363" y="799"/>
                  <a:pt x="363" y="800"/>
                  <a:pt x="363" y="800"/>
                </a:cubicBezTo>
                <a:cubicBezTo>
                  <a:pt x="363" y="800"/>
                  <a:pt x="364" y="800"/>
                  <a:pt x="364" y="800"/>
                </a:cubicBezTo>
                <a:close/>
                <a:moveTo>
                  <a:pt x="432" y="1155"/>
                </a:moveTo>
                <a:cubicBezTo>
                  <a:pt x="432" y="1155"/>
                  <a:pt x="432" y="1155"/>
                  <a:pt x="432" y="1156"/>
                </a:cubicBezTo>
                <a:cubicBezTo>
                  <a:pt x="432" y="1156"/>
                  <a:pt x="432" y="1157"/>
                  <a:pt x="433" y="1157"/>
                </a:cubicBezTo>
                <a:cubicBezTo>
                  <a:pt x="433" y="1158"/>
                  <a:pt x="434" y="1157"/>
                  <a:pt x="434" y="1157"/>
                </a:cubicBezTo>
                <a:cubicBezTo>
                  <a:pt x="434" y="1156"/>
                  <a:pt x="434" y="1155"/>
                  <a:pt x="433" y="1155"/>
                </a:cubicBezTo>
                <a:cubicBezTo>
                  <a:pt x="432" y="1154"/>
                  <a:pt x="432" y="1153"/>
                  <a:pt x="431" y="1153"/>
                </a:cubicBezTo>
                <a:cubicBezTo>
                  <a:pt x="430" y="1152"/>
                  <a:pt x="429" y="1151"/>
                  <a:pt x="429" y="1150"/>
                </a:cubicBezTo>
                <a:cubicBezTo>
                  <a:pt x="428" y="1150"/>
                  <a:pt x="426" y="1147"/>
                  <a:pt x="426" y="1147"/>
                </a:cubicBezTo>
                <a:cubicBezTo>
                  <a:pt x="425" y="1148"/>
                  <a:pt x="427" y="1150"/>
                  <a:pt x="427" y="1150"/>
                </a:cubicBezTo>
                <a:cubicBezTo>
                  <a:pt x="428" y="1151"/>
                  <a:pt x="429" y="1151"/>
                  <a:pt x="430" y="1152"/>
                </a:cubicBezTo>
                <a:cubicBezTo>
                  <a:pt x="430" y="1153"/>
                  <a:pt x="431" y="1154"/>
                  <a:pt x="432" y="1155"/>
                </a:cubicBezTo>
                <a:close/>
                <a:moveTo>
                  <a:pt x="427" y="1145"/>
                </a:moveTo>
                <a:cubicBezTo>
                  <a:pt x="427" y="1144"/>
                  <a:pt x="427" y="1143"/>
                  <a:pt x="426" y="1143"/>
                </a:cubicBezTo>
                <a:cubicBezTo>
                  <a:pt x="426" y="1144"/>
                  <a:pt x="426" y="1145"/>
                  <a:pt x="427" y="1146"/>
                </a:cubicBezTo>
                <a:cubicBezTo>
                  <a:pt x="427" y="1146"/>
                  <a:pt x="427" y="1146"/>
                  <a:pt x="427" y="1145"/>
                </a:cubicBezTo>
                <a:close/>
                <a:moveTo>
                  <a:pt x="433" y="1166"/>
                </a:moveTo>
                <a:cubicBezTo>
                  <a:pt x="433" y="1167"/>
                  <a:pt x="439" y="1171"/>
                  <a:pt x="440" y="1171"/>
                </a:cubicBezTo>
                <a:cubicBezTo>
                  <a:pt x="440" y="1171"/>
                  <a:pt x="435" y="1168"/>
                  <a:pt x="434" y="1167"/>
                </a:cubicBezTo>
                <a:cubicBezTo>
                  <a:pt x="433" y="1167"/>
                  <a:pt x="433" y="1166"/>
                  <a:pt x="432" y="1165"/>
                </a:cubicBezTo>
                <a:cubicBezTo>
                  <a:pt x="432" y="1164"/>
                  <a:pt x="429" y="1161"/>
                  <a:pt x="429" y="1161"/>
                </a:cubicBezTo>
                <a:cubicBezTo>
                  <a:pt x="428" y="1162"/>
                  <a:pt x="429" y="1163"/>
                  <a:pt x="429" y="1163"/>
                </a:cubicBezTo>
                <a:cubicBezTo>
                  <a:pt x="430" y="1164"/>
                  <a:pt x="432" y="1165"/>
                  <a:pt x="433" y="1166"/>
                </a:cubicBezTo>
                <a:close/>
                <a:moveTo>
                  <a:pt x="415" y="1147"/>
                </a:moveTo>
                <a:cubicBezTo>
                  <a:pt x="415" y="1148"/>
                  <a:pt x="416" y="1148"/>
                  <a:pt x="416" y="1148"/>
                </a:cubicBezTo>
                <a:cubicBezTo>
                  <a:pt x="416" y="1149"/>
                  <a:pt x="416" y="1147"/>
                  <a:pt x="416" y="1147"/>
                </a:cubicBezTo>
                <a:cubicBezTo>
                  <a:pt x="416" y="1147"/>
                  <a:pt x="415" y="1147"/>
                  <a:pt x="416" y="1146"/>
                </a:cubicBezTo>
                <a:cubicBezTo>
                  <a:pt x="415" y="1146"/>
                  <a:pt x="414" y="1147"/>
                  <a:pt x="415" y="1147"/>
                </a:cubicBezTo>
                <a:close/>
                <a:moveTo>
                  <a:pt x="457" y="1183"/>
                </a:moveTo>
                <a:cubicBezTo>
                  <a:pt x="456" y="1185"/>
                  <a:pt x="459" y="1185"/>
                  <a:pt x="460" y="1185"/>
                </a:cubicBezTo>
                <a:cubicBezTo>
                  <a:pt x="460" y="1185"/>
                  <a:pt x="461" y="1185"/>
                  <a:pt x="461" y="1185"/>
                </a:cubicBezTo>
                <a:cubicBezTo>
                  <a:pt x="462" y="1185"/>
                  <a:pt x="462" y="1185"/>
                  <a:pt x="463" y="1185"/>
                </a:cubicBezTo>
                <a:cubicBezTo>
                  <a:pt x="464" y="1185"/>
                  <a:pt x="465" y="1185"/>
                  <a:pt x="466" y="1185"/>
                </a:cubicBezTo>
                <a:cubicBezTo>
                  <a:pt x="468" y="1185"/>
                  <a:pt x="469" y="1186"/>
                  <a:pt x="470" y="1186"/>
                </a:cubicBezTo>
                <a:cubicBezTo>
                  <a:pt x="470" y="1186"/>
                  <a:pt x="472" y="1186"/>
                  <a:pt x="471" y="1185"/>
                </a:cubicBezTo>
                <a:cubicBezTo>
                  <a:pt x="470" y="1185"/>
                  <a:pt x="469" y="1185"/>
                  <a:pt x="469" y="1185"/>
                </a:cubicBezTo>
                <a:cubicBezTo>
                  <a:pt x="468" y="1185"/>
                  <a:pt x="466" y="1185"/>
                  <a:pt x="465" y="1184"/>
                </a:cubicBezTo>
                <a:cubicBezTo>
                  <a:pt x="464" y="1184"/>
                  <a:pt x="463" y="1184"/>
                  <a:pt x="463" y="1184"/>
                </a:cubicBezTo>
                <a:cubicBezTo>
                  <a:pt x="462" y="1184"/>
                  <a:pt x="462" y="1183"/>
                  <a:pt x="461" y="1183"/>
                </a:cubicBezTo>
                <a:cubicBezTo>
                  <a:pt x="460" y="1183"/>
                  <a:pt x="460" y="1184"/>
                  <a:pt x="460" y="1184"/>
                </a:cubicBezTo>
                <a:cubicBezTo>
                  <a:pt x="459" y="1184"/>
                  <a:pt x="457" y="1182"/>
                  <a:pt x="457" y="1183"/>
                </a:cubicBezTo>
                <a:close/>
                <a:moveTo>
                  <a:pt x="2884" y="1208"/>
                </a:moveTo>
                <a:cubicBezTo>
                  <a:pt x="2883" y="1208"/>
                  <a:pt x="2883" y="1209"/>
                  <a:pt x="2883" y="1210"/>
                </a:cubicBezTo>
                <a:cubicBezTo>
                  <a:pt x="2883" y="1211"/>
                  <a:pt x="2883" y="1213"/>
                  <a:pt x="2884" y="1212"/>
                </a:cubicBezTo>
                <a:cubicBezTo>
                  <a:pt x="2884" y="1212"/>
                  <a:pt x="2884" y="1211"/>
                  <a:pt x="2884" y="1210"/>
                </a:cubicBezTo>
                <a:cubicBezTo>
                  <a:pt x="2884" y="1210"/>
                  <a:pt x="2886" y="1208"/>
                  <a:pt x="2884" y="1208"/>
                </a:cubicBezTo>
                <a:close/>
                <a:moveTo>
                  <a:pt x="198" y="1260"/>
                </a:moveTo>
                <a:cubicBezTo>
                  <a:pt x="198" y="1260"/>
                  <a:pt x="197" y="1260"/>
                  <a:pt x="197" y="1260"/>
                </a:cubicBezTo>
                <a:cubicBezTo>
                  <a:pt x="195" y="1261"/>
                  <a:pt x="194" y="1261"/>
                  <a:pt x="193" y="1262"/>
                </a:cubicBezTo>
                <a:cubicBezTo>
                  <a:pt x="191" y="1262"/>
                  <a:pt x="190" y="1264"/>
                  <a:pt x="189" y="1265"/>
                </a:cubicBezTo>
                <a:cubicBezTo>
                  <a:pt x="187" y="1266"/>
                  <a:pt x="185" y="1266"/>
                  <a:pt x="184" y="1267"/>
                </a:cubicBezTo>
                <a:cubicBezTo>
                  <a:pt x="182" y="1268"/>
                  <a:pt x="181" y="1270"/>
                  <a:pt x="183" y="1270"/>
                </a:cubicBezTo>
                <a:cubicBezTo>
                  <a:pt x="185" y="1271"/>
                  <a:pt x="187" y="1270"/>
                  <a:pt x="188" y="1271"/>
                </a:cubicBezTo>
                <a:cubicBezTo>
                  <a:pt x="189" y="1271"/>
                  <a:pt x="188" y="1273"/>
                  <a:pt x="190" y="1274"/>
                </a:cubicBezTo>
                <a:cubicBezTo>
                  <a:pt x="190" y="1275"/>
                  <a:pt x="191" y="1274"/>
                  <a:pt x="192" y="1275"/>
                </a:cubicBezTo>
                <a:cubicBezTo>
                  <a:pt x="192" y="1275"/>
                  <a:pt x="192" y="1276"/>
                  <a:pt x="193" y="1276"/>
                </a:cubicBezTo>
                <a:cubicBezTo>
                  <a:pt x="194" y="1277"/>
                  <a:pt x="196" y="1276"/>
                  <a:pt x="197" y="1276"/>
                </a:cubicBezTo>
                <a:cubicBezTo>
                  <a:pt x="199" y="1275"/>
                  <a:pt x="200" y="1274"/>
                  <a:pt x="200" y="1273"/>
                </a:cubicBezTo>
                <a:cubicBezTo>
                  <a:pt x="201" y="1271"/>
                  <a:pt x="201" y="1270"/>
                  <a:pt x="203" y="1269"/>
                </a:cubicBezTo>
                <a:cubicBezTo>
                  <a:pt x="204" y="1268"/>
                  <a:pt x="205" y="1267"/>
                  <a:pt x="204" y="1265"/>
                </a:cubicBezTo>
                <a:cubicBezTo>
                  <a:pt x="203" y="1264"/>
                  <a:pt x="201" y="1265"/>
                  <a:pt x="200" y="1265"/>
                </a:cubicBezTo>
                <a:cubicBezTo>
                  <a:pt x="199" y="1265"/>
                  <a:pt x="198" y="1265"/>
                  <a:pt x="198" y="1264"/>
                </a:cubicBezTo>
                <a:cubicBezTo>
                  <a:pt x="198" y="1264"/>
                  <a:pt x="198" y="1263"/>
                  <a:pt x="198" y="1262"/>
                </a:cubicBezTo>
                <a:cubicBezTo>
                  <a:pt x="198" y="1262"/>
                  <a:pt x="199" y="1261"/>
                  <a:pt x="198" y="1260"/>
                </a:cubicBezTo>
                <a:close/>
                <a:moveTo>
                  <a:pt x="3003" y="1182"/>
                </a:moveTo>
                <a:cubicBezTo>
                  <a:pt x="3002" y="1183"/>
                  <a:pt x="2998" y="1183"/>
                  <a:pt x="2998" y="1180"/>
                </a:cubicBezTo>
                <a:cubicBezTo>
                  <a:pt x="2998" y="1179"/>
                  <a:pt x="2999" y="1178"/>
                  <a:pt x="2998" y="1178"/>
                </a:cubicBezTo>
                <a:cubicBezTo>
                  <a:pt x="2997" y="1177"/>
                  <a:pt x="2996" y="1176"/>
                  <a:pt x="2997" y="1176"/>
                </a:cubicBezTo>
                <a:cubicBezTo>
                  <a:pt x="2998" y="1175"/>
                  <a:pt x="2999" y="1176"/>
                  <a:pt x="2999" y="1175"/>
                </a:cubicBezTo>
                <a:cubicBezTo>
                  <a:pt x="2999" y="1174"/>
                  <a:pt x="2998" y="1174"/>
                  <a:pt x="2997" y="1173"/>
                </a:cubicBezTo>
                <a:cubicBezTo>
                  <a:pt x="2996" y="1172"/>
                  <a:pt x="2993" y="1171"/>
                  <a:pt x="2994" y="1170"/>
                </a:cubicBezTo>
                <a:cubicBezTo>
                  <a:pt x="2995" y="1169"/>
                  <a:pt x="2995" y="1169"/>
                  <a:pt x="2995" y="1168"/>
                </a:cubicBezTo>
                <a:cubicBezTo>
                  <a:pt x="2996" y="1167"/>
                  <a:pt x="2995" y="1167"/>
                  <a:pt x="2996" y="1166"/>
                </a:cubicBezTo>
                <a:cubicBezTo>
                  <a:pt x="2996" y="1165"/>
                  <a:pt x="2997" y="1164"/>
                  <a:pt x="2998" y="1163"/>
                </a:cubicBezTo>
                <a:cubicBezTo>
                  <a:pt x="2999" y="1161"/>
                  <a:pt x="2999" y="1160"/>
                  <a:pt x="3000" y="1159"/>
                </a:cubicBezTo>
                <a:cubicBezTo>
                  <a:pt x="3000" y="1158"/>
                  <a:pt x="3000" y="1157"/>
                  <a:pt x="3000" y="1157"/>
                </a:cubicBezTo>
                <a:cubicBezTo>
                  <a:pt x="2999" y="1156"/>
                  <a:pt x="2999" y="1157"/>
                  <a:pt x="2998" y="1157"/>
                </a:cubicBezTo>
                <a:cubicBezTo>
                  <a:pt x="2996" y="1159"/>
                  <a:pt x="2995" y="1161"/>
                  <a:pt x="2993" y="1163"/>
                </a:cubicBezTo>
                <a:cubicBezTo>
                  <a:pt x="2992" y="1164"/>
                  <a:pt x="2991" y="1165"/>
                  <a:pt x="2990" y="1166"/>
                </a:cubicBezTo>
                <a:cubicBezTo>
                  <a:pt x="2989" y="1167"/>
                  <a:pt x="2987" y="1167"/>
                  <a:pt x="2986" y="1167"/>
                </a:cubicBezTo>
                <a:cubicBezTo>
                  <a:pt x="2984" y="1167"/>
                  <a:pt x="2983" y="1166"/>
                  <a:pt x="2982" y="1166"/>
                </a:cubicBezTo>
                <a:cubicBezTo>
                  <a:pt x="2981" y="1166"/>
                  <a:pt x="2980" y="1166"/>
                  <a:pt x="2980" y="1166"/>
                </a:cubicBezTo>
                <a:cubicBezTo>
                  <a:pt x="2979" y="1165"/>
                  <a:pt x="2978" y="1166"/>
                  <a:pt x="2978" y="1165"/>
                </a:cubicBezTo>
                <a:cubicBezTo>
                  <a:pt x="2976" y="1165"/>
                  <a:pt x="2977" y="1163"/>
                  <a:pt x="2975" y="1162"/>
                </a:cubicBezTo>
                <a:cubicBezTo>
                  <a:pt x="2975" y="1162"/>
                  <a:pt x="2973" y="1163"/>
                  <a:pt x="2972" y="1163"/>
                </a:cubicBezTo>
                <a:cubicBezTo>
                  <a:pt x="2970" y="1163"/>
                  <a:pt x="2969" y="1163"/>
                  <a:pt x="2968" y="1162"/>
                </a:cubicBezTo>
                <a:cubicBezTo>
                  <a:pt x="2965" y="1160"/>
                  <a:pt x="2963" y="1159"/>
                  <a:pt x="2961" y="1157"/>
                </a:cubicBezTo>
                <a:cubicBezTo>
                  <a:pt x="2959" y="1154"/>
                  <a:pt x="2955" y="1154"/>
                  <a:pt x="2952" y="1151"/>
                </a:cubicBezTo>
                <a:cubicBezTo>
                  <a:pt x="2952" y="1150"/>
                  <a:pt x="2951" y="1148"/>
                  <a:pt x="2950" y="1147"/>
                </a:cubicBezTo>
                <a:cubicBezTo>
                  <a:pt x="2948" y="1146"/>
                  <a:pt x="2947" y="1145"/>
                  <a:pt x="2946" y="1144"/>
                </a:cubicBezTo>
                <a:cubicBezTo>
                  <a:pt x="2944" y="1143"/>
                  <a:pt x="2944" y="1141"/>
                  <a:pt x="2943" y="1140"/>
                </a:cubicBezTo>
                <a:cubicBezTo>
                  <a:pt x="2943" y="1139"/>
                  <a:pt x="2942" y="1139"/>
                  <a:pt x="2942" y="1138"/>
                </a:cubicBezTo>
                <a:cubicBezTo>
                  <a:pt x="2940" y="1138"/>
                  <a:pt x="2940" y="1137"/>
                  <a:pt x="2939" y="1137"/>
                </a:cubicBezTo>
                <a:cubicBezTo>
                  <a:pt x="2938" y="1136"/>
                  <a:pt x="2938" y="1136"/>
                  <a:pt x="2938" y="1135"/>
                </a:cubicBezTo>
                <a:cubicBezTo>
                  <a:pt x="2938" y="1134"/>
                  <a:pt x="2938" y="1133"/>
                  <a:pt x="2936" y="1132"/>
                </a:cubicBezTo>
                <a:cubicBezTo>
                  <a:pt x="2935" y="1131"/>
                  <a:pt x="2934" y="1131"/>
                  <a:pt x="2934" y="1129"/>
                </a:cubicBezTo>
                <a:cubicBezTo>
                  <a:pt x="2933" y="1129"/>
                  <a:pt x="2933" y="1128"/>
                  <a:pt x="2932" y="1128"/>
                </a:cubicBezTo>
                <a:cubicBezTo>
                  <a:pt x="2931" y="1128"/>
                  <a:pt x="2931" y="1129"/>
                  <a:pt x="2931" y="1129"/>
                </a:cubicBezTo>
                <a:cubicBezTo>
                  <a:pt x="2931" y="1130"/>
                  <a:pt x="2930" y="1130"/>
                  <a:pt x="2930" y="1131"/>
                </a:cubicBezTo>
                <a:cubicBezTo>
                  <a:pt x="2929" y="1131"/>
                  <a:pt x="2929" y="1131"/>
                  <a:pt x="2928" y="1130"/>
                </a:cubicBezTo>
                <a:cubicBezTo>
                  <a:pt x="2927" y="1129"/>
                  <a:pt x="2927" y="1130"/>
                  <a:pt x="2927" y="1131"/>
                </a:cubicBezTo>
                <a:cubicBezTo>
                  <a:pt x="2926" y="1132"/>
                  <a:pt x="2926" y="1132"/>
                  <a:pt x="2926" y="1133"/>
                </a:cubicBezTo>
                <a:cubicBezTo>
                  <a:pt x="2926" y="1134"/>
                  <a:pt x="2926" y="1136"/>
                  <a:pt x="2926" y="1138"/>
                </a:cubicBezTo>
                <a:cubicBezTo>
                  <a:pt x="2926" y="1138"/>
                  <a:pt x="2926" y="1139"/>
                  <a:pt x="2927" y="1139"/>
                </a:cubicBezTo>
                <a:cubicBezTo>
                  <a:pt x="2927" y="1140"/>
                  <a:pt x="2927" y="1141"/>
                  <a:pt x="2927" y="1141"/>
                </a:cubicBezTo>
                <a:cubicBezTo>
                  <a:pt x="2927" y="1143"/>
                  <a:pt x="2929" y="1144"/>
                  <a:pt x="2929" y="1145"/>
                </a:cubicBezTo>
                <a:cubicBezTo>
                  <a:pt x="2929" y="1147"/>
                  <a:pt x="2929" y="1148"/>
                  <a:pt x="2929" y="1150"/>
                </a:cubicBezTo>
                <a:cubicBezTo>
                  <a:pt x="2929" y="1154"/>
                  <a:pt x="2929" y="1158"/>
                  <a:pt x="2928" y="1161"/>
                </a:cubicBezTo>
                <a:cubicBezTo>
                  <a:pt x="2927" y="1164"/>
                  <a:pt x="2926" y="1167"/>
                  <a:pt x="2923" y="1168"/>
                </a:cubicBezTo>
                <a:cubicBezTo>
                  <a:pt x="2922" y="1169"/>
                  <a:pt x="2921" y="1170"/>
                  <a:pt x="2921" y="1171"/>
                </a:cubicBezTo>
                <a:cubicBezTo>
                  <a:pt x="2920" y="1172"/>
                  <a:pt x="2921" y="1173"/>
                  <a:pt x="2921" y="1174"/>
                </a:cubicBezTo>
                <a:cubicBezTo>
                  <a:pt x="2921" y="1175"/>
                  <a:pt x="2922" y="1176"/>
                  <a:pt x="2922" y="1176"/>
                </a:cubicBezTo>
                <a:cubicBezTo>
                  <a:pt x="2922" y="1177"/>
                  <a:pt x="2921" y="1178"/>
                  <a:pt x="2922" y="1179"/>
                </a:cubicBezTo>
                <a:cubicBezTo>
                  <a:pt x="2922" y="1180"/>
                  <a:pt x="2922" y="1180"/>
                  <a:pt x="2922" y="1181"/>
                </a:cubicBezTo>
                <a:cubicBezTo>
                  <a:pt x="2922" y="1182"/>
                  <a:pt x="2921" y="1182"/>
                  <a:pt x="2921" y="1182"/>
                </a:cubicBezTo>
                <a:cubicBezTo>
                  <a:pt x="2920" y="1183"/>
                  <a:pt x="2920" y="1183"/>
                  <a:pt x="2919" y="1184"/>
                </a:cubicBezTo>
                <a:cubicBezTo>
                  <a:pt x="2919" y="1184"/>
                  <a:pt x="2919" y="1185"/>
                  <a:pt x="2918" y="1185"/>
                </a:cubicBezTo>
                <a:cubicBezTo>
                  <a:pt x="2917" y="1186"/>
                  <a:pt x="2917" y="1185"/>
                  <a:pt x="2916" y="1185"/>
                </a:cubicBezTo>
                <a:cubicBezTo>
                  <a:pt x="2916" y="1185"/>
                  <a:pt x="2915" y="1185"/>
                  <a:pt x="2915" y="1184"/>
                </a:cubicBezTo>
                <a:cubicBezTo>
                  <a:pt x="2914" y="1184"/>
                  <a:pt x="2914" y="1184"/>
                  <a:pt x="2913" y="1184"/>
                </a:cubicBezTo>
                <a:cubicBezTo>
                  <a:pt x="2912" y="1184"/>
                  <a:pt x="2912" y="1184"/>
                  <a:pt x="2911" y="1184"/>
                </a:cubicBezTo>
                <a:cubicBezTo>
                  <a:pt x="2910" y="1185"/>
                  <a:pt x="2910" y="1184"/>
                  <a:pt x="2909" y="1184"/>
                </a:cubicBezTo>
                <a:cubicBezTo>
                  <a:pt x="2909" y="1184"/>
                  <a:pt x="2908" y="1184"/>
                  <a:pt x="2908" y="1183"/>
                </a:cubicBezTo>
                <a:cubicBezTo>
                  <a:pt x="2907" y="1183"/>
                  <a:pt x="2907" y="1182"/>
                  <a:pt x="2906" y="1182"/>
                </a:cubicBezTo>
                <a:cubicBezTo>
                  <a:pt x="2906" y="1182"/>
                  <a:pt x="2906" y="1182"/>
                  <a:pt x="2905" y="1181"/>
                </a:cubicBezTo>
                <a:cubicBezTo>
                  <a:pt x="2905" y="1180"/>
                  <a:pt x="2904" y="1180"/>
                  <a:pt x="2903" y="1181"/>
                </a:cubicBezTo>
                <a:cubicBezTo>
                  <a:pt x="2903" y="1181"/>
                  <a:pt x="2902" y="1181"/>
                  <a:pt x="2901" y="1181"/>
                </a:cubicBezTo>
                <a:cubicBezTo>
                  <a:pt x="2899" y="1182"/>
                  <a:pt x="2901" y="1183"/>
                  <a:pt x="2901" y="1184"/>
                </a:cubicBezTo>
                <a:cubicBezTo>
                  <a:pt x="2902" y="1185"/>
                  <a:pt x="2901" y="1186"/>
                  <a:pt x="2902" y="1186"/>
                </a:cubicBezTo>
                <a:cubicBezTo>
                  <a:pt x="2902" y="1187"/>
                  <a:pt x="2903" y="1186"/>
                  <a:pt x="2904" y="1187"/>
                </a:cubicBezTo>
                <a:cubicBezTo>
                  <a:pt x="2904" y="1189"/>
                  <a:pt x="2903" y="1190"/>
                  <a:pt x="2902" y="1191"/>
                </a:cubicBezTo>
                <a:cubicBezTo>
                  <a:pt x="2901" y="1192"/>
                  <a:pt x="2900" y="1193"/>
                  <a:pt x="2899" y="1194"/>
                </a:cubicBezTo>
                <a:cubicBezTo>
                  <a:pt x="2898" y="1194"/>
                  <a:pt x="2898" y="1194"/>
                  <a:pt x="2897" y="1194"/>
                </a:cubicBezTo>
                <a:cubicBezTo>
                  <a:pt x="2896" y="1195"/>
                  <a:pt x="2896" y="1195"/>
                  <a:pt x="2896" y="1196"/>
                </a:cubicBezTo>
                <a:cubicBezTo>
                  <a:pt x="2895" y="1197"/>
                  <a:pt x="2893" y="1196"/>
                  <a:pt x="2892" y="1197"/>
                </a:cubicBezTo>
                <a:cubicBezTo>
                  <a:pt x="2890" y="1197"/>
                  <a:pt x="2891" y="1199"/>
                  <a:pt x="2890" y="1200"/>
                </a:cubicBezTo>
                <a:cubicBezTo>
                  <a:pt x="2890" y="1202"/>
                  <a:pt x="2889" y="1203"/>
                  <a:pt x="2889" y="1204"/>
                </a:cubicBezTo>
                <a:cubicBezTo>
                  <a:pt x="2889" y="1205"/>
                  <a:pt x="2890" y="1207"/>
                  <a:pt x="2891" y="1208"/>
                </a:cubicBezTo>
                <a:cubicBezTo>
                  <a:pt x="2891" y="1208"/>
                  <a:pt x="2892" y="1209"/>
                  <a:pt x="2893" y="1209"/>
                </a:cubicBezTo>
                <a:cubicBezTo>
                  <a:pt x="2893" y="1210"/>
                  <a:pt x="2894" y="1210"/>
                  <a:pt x="2894" y="1211"/>
                </a:cubicBezTo>
                <a:cubicBezTo>
                  <a:pt x="2895" y="1212"/>
                  <a:pt x="2896" y="1213"/>
                  <a:pt x="2896" y="1215"/>
                </a:cubicBezTo>
                <a:cubicBezTo>
                  <a:pt x="2896" y="1215"/>
                  <a:pt x="2896" y="1216"/>
                  <a:pt x="2895" y="1216"/>
                </a:cubicBezTo>
                <a:cubicBezTo>
                  <a:pt x="2895" y="1217"/>
                  <a:pt x="2895" y="1218"/>
                  <a:pt x="2895" y="1218"/>
                </a:cubicBezTo>
                <a:cubicBezTo>
                  <a:pt x="2895" y="1219"/>
                  <a:pt x="2895" y="1220"/>
                  <a:pt x="2894" y="1220"/>
                </a:cubicBezTo>
                <a:cubicBezTo>
                  <a:pt x="2894" y="1221"/>
                  <a:pt x="2893" y="1221"/>
                  <a:pt x="2893" y="1222"/>
                </a:cubicBezTo>
                <a:cubicBezTo>
                  <a:pt x="2893" y="1224"/>
                  <a:pt x="2894" y="1224"/>
                  <a:pt x="2895" y="1225"/>
                </a:cubicBezTo>
                <a:cubicBezTo>
                  <a:pt x="2896" y="1225"/>
                  <a:pt x="2896" y="1226"/>
                  <a:pt x="2897" y="1226"/>
                </a:cubicBezTo>
                <a:cubicBezTo>
                  <a:pt x="2897" y="1227"/>
                  <a:pt x="2897" y="1228"/>
                  <a:pt x="2898" y="1227"/>
                </a:cubicBezTo>
                <a:cubicBezTo>
                  <a:pt x="2899" y="1227"/>
                  <a:pt x="2899" y="1225"/>
                  <a:pt x="2900" y="1224"/>
                </a:cubicBezTo>
                <a:cubicBezTo>
                  <a:pt x="2901" y="1224"/>
                  <a:pt x="2901" y="1223"/>
                  <a:pt x="2902" y="1223"/>
                </a:cubicBezTo>
                <a:cubicBezTo>
                  <a:pt x="2902" y="1222"/>
                  <a:pt x="2903" y="1222"/>
                  <a:pt x="2903" y="1221"/>
                </a:cubicBezTo>
                <a:cubicBezTo>
                  <a:pt x="2903" y="1220"/>
                  <a:pt x="2904" y="1220"/>
                  <a:pt x="2905" y="1219"/>
                </a:cubicBezTo>
                <a:cubicBezTo>
                  <a:pt x="2905" y="1219"/>
                  <a:pt x="2906" y="1218"/>
                  <a:pt x="2907" y="1218"/>
                </a:cubicBezTo>
                <a:cubicBezTo>
                  <a:pt x="2907" y="1218"/>
                  <a:pt x="2907" y="1217"/>
                  <a:pt x="2908" y="1217"/>
                </a:cubicBezTo>
                <a:cubicBezTo>
                  <a:pt x="2909" y="1217"/>
                  <a:pt x="2909" y="1218"/>
                  <a:pt x="2909" y="1218"/>
                </a:cubicBezTo>
                <a:cubicBezTo>
                  <a:pt x="2910" y="1219"/>
                  <a:pt x="2911" y="1218"/>
                  <a:pt x="2911" y="1219"/>
                </a:cubicBezTo>
                <a:cubicBezTo>
                  <a:pt x="2912" y="1219"/>
                  <a:pt x="2912" y="1220"/>
                  <a:pt x="2912" y="1220"/>
                </a:cubicBezTo>
                <a:cubicBezTo>
                  <a:pt x="2913" y="1221"/>
                  <a:pt x="2913" y="1220"/>
                  <a:pt x="2914" y="1220"/>
                </a:cubicBezTo>
                <a:cubicBezTo>
                  <a:pt x="2914" y="1219"/>
                  <a:pt x="2915" y="1218"/>
                  <a:pt x="2915" y="1218"/>
                </a:cubicBezTo>
                <a:cubicBezTo>
                  <a:pt x="2915" y="1217"/>
                  <a:pt x="2916" y="1217"/>
                  <a:pt x="2916" y="1217"/>
                </a:cubicBezTo>
                <a:cubicBezTo>
                  <a:pt x="2916" y="1215"/>
                  <a:pt x="2914" y="1216"/>
                  <a:pt x="2913" y="1215"/>
                </a:cubicBezTo>
                <a:cubicBezTo>
                  <a:pt x="2912" y="1214"/>
                  <a:pt x="2912" y="1213"/>
                  <a:pt x="2911" y="1212"/>
                </a:cubicBezTo>
                <a:cubicBezTo>
                  <a:pt x="2910" y="1212"/>
                  <a:pt x="2910" y="1211"/>
                  <a:pt x="2909" y="1211"/>
                </a:cubicBezTo>
                <a:cubicBezTo>
                  <a:pt x="2909" y="1210"/>
                  <a:pt x="2909" y="1210"/>
                  <a:pt x="2908" y="1210"/>
                </a:cubicBezTo>
                <a:cubicBezTo>
                  <a:pt x="2906" y="1210"/>
                  <a:pt x="2906" y="1211"/>
                  <a:pt x="2904" y="1209"/>
                </a:cubicBezTo>
                <a:cubicBezTo>
                  <a:pt x="2903" y="1208"/>
                  <a:pt x="2902" y="1208"/>
                  <a:pt x="2901" y="1207"/>
                </a:cubicBezTo>
                <a:cubicBezTo>
                  <a:pt x="2900" y="1207"/>
                  <a:pt x="2899" y="1205"/>
                  <a:pt x="2899" y="1204"/>
                </a:cubicBezTo>
                <a:cubicBezTo>
                  <a:pt x="2900" y="1204"/>
                  <a:pt x="2901" y="1203"/>
                  <a:pt x="2901" y="1202"/>
                </a:cubicBezTo>
                <a:cubicBezTo>
                  <a:pt x="2901" y="1201"/>
                  <a:pt x="2902" y="1202"/>
                  <a:pt x="2902" y="1201"/>
                </a:cubicBezTo>
                <a:cubicBezTo>
                  <a:pt x="2903" y="1201"/>
                  <a:pt x="2903" y="1200"/>
                  <a:pt x="2903" y="1200"/>
                </a:cubicBezTo>
                <a:cubicBezTo>
                  <a:pt x="2904" y="1199"/>
                  <a:pt x="2905" y="1199"/>
                  <a:pt x="2906" y="1199"/>
                </a:cubicBezTo>
                <a:cubicBezTo>
                  <a:pt x="2907" y="1199"/>
                  <a:pt x="2908" y="1200"/>
                  <a:pt x="2909" y="1200"/>
                </a:cubicBezTo>
                <a:cubicBezTo>
                  <a:pt x="2909" y="1201"/>
                  <a:pt x="2909" y="1201"/>
                  <a:pt x="2910" y="1202"/>
                </a:cubicBezTo>
                <a:cubicBezTo>
                  <a:pt x="2910" y="1202"/>
                  <a:pt x="2911" y="1202"/>
                  <a:pt x="2912" y="1203"/>
                </a:cubicBezTo>
                <a:cubicBezTo>
                  <a:pt x="2912" y="1203"/>
                  <a:pt x="2913" y="1203"/>
                  <a:pt x="2913" y="1204"/>
                </a:cubicBezTo>
                <a:cubicBezTo>
                  <a:pt x="2913" y="1205"/>
                  <a:pt x="2912" y="1205"/>
                  <a:pt x="2913" y="1206"/>
                </a:cubicBezTo>
                <a:cubicBezTo>
                  <a:pt x="2914" y="1206"/>
                  <a:pt x="2914" y="1205"/>
                  <a:pt x="2915" y="1205"/>
                </a:cubicBezTo>
                <a:cubicBezTo>
                  <a:pt x="2916" y="1204"/>
                  <a:pt x="2916" y="1205"/>
                  <a:pt x="2917" y="1204"/>
                </a:cubicBezTo>
                <a:cubicBezTo>
                  <a:pt x="2918" y="1202"/>
                  <a:pt x="2920" y="1201"/>
                  <a:pt x="2922" y="1200"/>
                </a:cubicBezTo>
                <a:cubicBezTo>
                  <a:pt x="2923" y="1199"/>
                  <a:pt x="2924" y="1199"/>
                  <a:pt x="2925" y="1199"/>
                </a:cubicBezTo>
                <a:cubicBezTo>
                  <a:pt x="2926" y="1199"/>
                  <a:pt x="2927" y="1198"/>
                  <a:pt x="2928" y="1199"/>
                </a:cubicBezTo>
                <a:cubicBezTo>
                  <a:pt x="2929" y="1199"/>
                  <a:pt x="2929" y="1200"/>
                  <a:pt x="2930" y="1200"/>
                </a:cubicBezTo>
                <a:cubicBezTo>
                  <a:pt x="2931" y="1200"/>
                  <a:pt x="2932" y="1200"/>
                  <a:pt x="2934" y="1201"/>
                </a:cubicBezTo>
                <a:cubicBezTo>
                  <a:pt x="2935" y="1202"/>
                  <a:pt x="2936" y="1202"/>
                  <a:pt x="2937" y="1203"/>
                </a:cubicBezTo>
                <a:cubicBezTo>
                  <a:pt x="2938" y="1203"/>
                  <a:pt x="2938" y="1204"/>
                  <a:pt x="2938" y="1204"/>
                </a:cubicBezTo>
                <a:cubicBezTo>
                  <a:pt x="2939" y="1205"/>
                  <a:pt x="2939" y="1205"/>
                  <a:pt x="2940" y="1205"/>
                </a:cubicBezTo>
                <a:cubicBezTo>
                  <a:pt x="2941" y="1205"/>
                  <a:pt x="2942" y="1206"/>
                  <a:pt x="2943" y="1207"/>
                </a:cubicBezTo>
                <a:cubicBezTo>
                  <a:pt x="2944" y="1207"/>
                  <a:pt x="2946" y="1208"/>
                  <a:pt x="2947" y="1208"/>
                </a:cubicBezTo>
                <a:cubicBezTo>
                  <a:pt x="2948" y="1209"/>
                  <a:pt x="2950" y="1209"/>
                  <a:pt x="2951" y="1210"/>
                </a:cubicBezTo>
                <a:cubicBezTo>
                  <a:pt x="2952" y="1210"/>
                  <a:pt x="2953" y="1211"/>
                  <a:pt x="2954" y="1212"/>
                </a:cubicBezTo>
                <a:cubicBezTo>
                  <a:pt x="2955" y="1212"/>
                  <a:pt x="2955" y="1213"/>
                  <a:pt x="2956" y="1213"/>
                </a:cubicBezTo>
                <a:cubicBezTo>
                  <a:pt x="2956" y="1213"/>
                  <a:pt x="2956" y="1214"/>
                  <a:pt x="2957" y="1214"/>
                </a:cubicBezTo>
                <a:cubicBezTo>
                  <a:pt x="2959" y="1215"/>
                  <a:pt x="2960" y="1210"/>
                  <a:pt x="2960" y="1209"/>
                </a:cubicBezTo>
                <a:cubicBezTo>
                  <a:pt x="2960" y="1207"/>
                  <a:pt x="2960" y="1205"/>
                  <a:pt x="2961" y="1204"/>
                </a:cubicBezTo>
                <a:cubicBezTo>
                  <a:pt x="2962" y="1203"/>
                  <a:pt x="2962" y="1202"/>
                  <a:pt x="2963" y="1201"/>
                </a:cubicBezTo>
                <a:cubicBezTo>
                  <a:pt x="2963" y="1199"/>
                  <a:pt x="2964" y="1198"/>
                  <a:pt x="2966" y="1197"/>
                </a:cubicBezTo>
                <a:cubicBezTo>
                  <a:pt x="2967" y="1196"/>
                  <a:pt x="2968" y="1195"/>
                  <a:pt x="2969" y="1194"/>
                </a:cubicBezTo>
                <a:cubicBezTo>
                  <a:pt x="2971" y="1192"/>
                  <a:pt x="2974" y="1190"/>
                  <a:pt x="2977" y="1191"/>
                </a:cubicBezTo>
                <a:cubicBezTo>
                  <a:pt x="2979" y="1191"/>
                  <a:pt x="2980" y="1191"/>
                  <a:pt x="2982" y="1191"/>
                </a:cubicBezTo>
                <a:cubicBezTo>
                  <a:pt x="2983" y="1191"/>
                  <a:pt x="2984" y="1191"/>
                  <a:pt x="2984" y="1191"/>
                </a:cubicBezTo>
                <a:cubicBezTo>
                  <a:pt x="2985" y="1191"/>
                  <a:pt x="2986" y="1191"/>
                  <a:pt x="2986" y="1191"/>
                </a:cubicBezTo>
                <a:cubicBezTo>
                  <a:pt x="2987" y="1191"/>
                  <a:pt x="2987" y="1191"/>
                  <a:pt x="2988" y="1191"/>
                </a:cubicBezTo>
                <a:cubicBezTo>
                  <a:pt x="2989" y="1190"/>
                  <a:pt x="2988" y="1190"/>
                  <a:pt x="2989" y="1189"/>
                </a:cubicBezTo>
                <a:cubicBezTo>
                  <a:pt x="2990" y="1188"/>
                  <a:pt x="2991" y="1190"/>
                  <a:pt x="2992" y="1190"/>
                </a:cubicBezTo>
                <a:cubicBezTo>
                  <a:pt x="2993" y="1190"/>
                  <a:pt x="2994" y="1189"/>
                  <a:pt x="2995" y="1188"/>
                </a:cubicBezTo>
                <a:cubicBezTo>
                  <a:pt x="2995" y="1187"/>
                  <a:pt x="2996" y="1187"/>
                  <a:pt x="2996" y="1187"/>
                </a:cubicBezTo>
                <a:cubicBezTo>
                  <a:pt x="2998" y="1187"/>
                  <a:pt x="2999" y="1186"/>
                  <a:pt x="3000" y="1186"/>
                </a:cubicBezTo>
                <a:cubicBezTo>
                  <a:pt x="3001" y="1185"/>
                  <a:pt x="3002" y="1184"/>
                  <a:pt x="3003" y="1183"/>
                </a:cubicBezTo>
                <a:cubicBezTo>
                  <a:pt x="3004" y="1183"/>
                  <a:pt x="3005" y="1182"/>
                  <a:pt x="3005" y="1182"/>
                </a:cubicBezTo>
                <a:cubicBezTo>
                  <a:pt x="3006" y="1182"/>
                  <a:pt x="3007" y="1182"/>
                  <a:pt x="3007" y="1181"/>
                </a:cubicBezTo>
                <a:cubicBezTo>
                  <a:pt x="3007" y="1180"/>
                  <a:pt x="3004" y="1181"/>
                  <a:pt x="3003" y="1182"/>
                </a:cubicBezTo>
                <a:close/>
                <a:moveTo>
                  <a:pt x="2914" y="1129"/>
                </a:moveTo>
                <a:cubicBezTo>
                  <a:pt x="2914" y="1129"/>
                  <a:pt x="2913" y="1130"/>
                  <a:pt x="2913" y="1130"/>
                </a:cubicBezTo>
                <a:cubicBezTo>
                  <a:pt x="2913" y="1131"/>
                  <a:pt x="2913" y="1131"/>
                  <a:pt x="2914" y="1132"/>
                </a:cubicBezTo>
                <a:cubicBezTo>
                  <a:pt x="2914" y="1132"/>
                  <a:pt x="2914" y="1133"/>
                  <a:pt x="2914" y="1133"/>
                </a:cubicBezTo>
                <a:cubicBezTo>
                  <a:pt x="2914" y="1134"/>
                  <a:pt x="2915" y="1133"/>
                  <a:pt x="2915" y="1133"/>
                </a:cubicBezTo>
                <a:cubicBezTo>
                  <a:pt x="2915" y="1132"/>
                  <a:pt x="2914" y="1131"/>
                  <a:pt x="2914" y="1131"/>
                </a:cubicBezTo>
                <a:cubicBezTo>
                  <a:pt x="2914" y="1130"/>
                  <a:pt x="2914" y="1129"/>
                  <a:pt x="2914" y="1129"/>
                </a:cubicBezTo>
                <a:close/>
                <a:moveTo>
                  <a:pt x="2762" y="1347"/>
                </a:moveTo>
                <a:cubicBezTo>
                  <a:pt x="2763" y="1346"/>
                  <a:pt x="2762" y="1344"/>
                  <a:pt x="2761" y="1345"/>
                </a:cubicBezTo>
                <a:cubicBezTo>
                  <a:pt x="2760" y="1345"/>
                  <a:pt x="2761" y="1347"/>
                  <a:pt x="2762" y="1347"/>
                </a:cubicBezTo>
                <a:close/>
                <a:moveTo>
                  <a:pt x="2859" y="1311"/>
                </a:moveTo>
                <a:cubicBezTo>
                  <a:pt x="2860" y="1311"/>
                  <a:pt x="2861" y="1311"/>
                  <a:pt x="2861" y="1311"/>
                </a:cubicBezTo>
                <a:cubicBezTo>
                  <a:pt x="2862" y="1311"/>
                  <a:pt x="2861" y="1310"/>
                  <a:pt x="2862" y="1310"/>
                </a:cubicBezTo>
                <a:cubicBezTo>
                  <a:pt x="2862" y="1309"/>
                  <a:pt x="2864" y="1309"/>
                  <a:pt x="2864" y="1308"/>
                </a:cubicBezTo>
                <a:cubicBezTo>
                  <a:pt x="2865" y="1307"/>
                  <a:pt x="2864" y="1306"/>
                  <a:pt x="2864" y="1305"/>
                </a:cubicBezTo>
                <a:cubicBezTo>
                  <a:pt x="2864" y="1304"/>
                  <a:pt x="2865" y="1302"/>
                  <a:pt x="2865" y="1300"/>
                </a:cubicBezTo>
                <a:cubicBezTo>
                  <a:pt x="2864" y="1298"/>
                  <a:pt x="2862" y="1301"/>
                  <a:pt x="2861" y="1302"/>
                </a:cubicBezTo>
                <a:cubicBezTo>
                  <a:pt x="2861" y="1302"/>
                  <a:pt x="2860" y="1302"/>
                  <a:pt x="2860" y="1303"/>
                </a:cubicBezTo>
                <a:cubicBezTo>
                  <a:pt x="2859" y="1304"/>
                  <a:pt x="2859" y="1305"/>
                  <a:pt x="2859" y="1305"/>
                </a:cubicBezTo>
                <a:cubicBezTo>
                  <a:pt x="2859" y="1306"/>
                  <a:pt x="2859" y="1307"/>
                  <a:pt x="2860" y="1307"/>
                </a:cubicBezTo>
                <a:cubicBezTo>
                  <a:pt x="2860" y="1308"/>
                  <a:pt x="2860" y="1308"/>
                  <a:pt x="2860" y="1309"/>
                </a:cubicBezTo>
                <a:cubicBezTo>
                  <a:pt x="2859" y="1309"/>
                  <a:pt x="2858" y="1310"/>
                  <a:pt x="2859" y="1311"/>
                </a:cubicBezTo>
                <a:close/>
                <a:moveTo>
                  <a:pt x="2882" y="1380"/>
                </a:moveTo>
                <a:cubicBezTo>
                  <a:pt x="2882" y="1380"/>
                  <a:pt x="2882" y="1381"/>
                  <a:pt x="2882" y="1381"/>
                </a:cubicBezTo>
                <a:cubicBezTo>
                  <a:pt x="2882" y="1381"/>
                  <a:pt x="2882" y="1382"/>
                  <a:pt x="2883" y="1382"/>
                </a:cubicBezTo>
                <a:cubicBezTo>
                  <a:pt x="2883" y="1382"/>
                  <a:pt x="2883" y="1381"/>
                  <a:pt x="2883" y="1381"/>
                </a:cubicBezTo>
                <a:cubicBezTo>
                  <a:pt x="2883" y="1380"/>
                  <a:pt x="2883" y="1380"/>
                  <a:pt x="2882" y="1380"/>
                </a:cubicBezTo>
                <a:close/>
                <a:moveTo>
                  <a:pt x="2878" y="1394"/>
                </a:moveTo>
                <a:cubicBezTo>
                  <a:pt x="2877" y="1394"/>
                  <a:pt x="2877" y="1395"/>
                  <a:pt x="2877" y="1395"/>
                </a:cubicBezTo>
                <a:cubicBezTo>
                  <a:pt x="2877" y="1395"/>
                  <a:pt x="2878" y="1395"/>
                  <a:pt x="2878" y="1395"/>
                </a:cubicBezTo>
                <a:cubicBezTo>
                  <a:pt x="2880" y="1395"/>
                  <a:pt x="2878" y="1394"/>
                  <a:pt x="2878" y="1394"/>
                </a:cubicBezTo>
                <a:close/>
                <a:moveTo>
                  <a:pt x="2885" y="1396"/>
                </a:moveTo>
                <a:cubicBezTo>
                  <a:pt x="2884" y="1397"/>
                  <a:pt x="2884" y="1397"/>
                  <a:pt x="2885" y="1398"/>
                </a:cubicBezTo>
                <a:cubicBezTo>
                  <a:pt x="2886" y="1398"/>
                  <a:pt x="2887" y="1397"/>
                  <a:pt x="2887" y="1396"/>
                </a:cubicBezTo>
                <a:cubicBezTo>
                  <a:pt x="2887" y="1395"/>
                  <a:pt x="2885" y="1396"/>
                  <a:pt x="2885" y="1396"/>
                </a:cubicBezTo>
                <a:close/>
                <a:moveTo>
                  <a:pt x="3186" y="1025"/>
                </a:moveTo>
                <a:cubicBezTo>
                  <a:pt x="3186" y="1025"/>
                  <a:pt x="3186" y="1025"/>
                  <a:pt x="3186" y="1025"/>
                </a:cubicBezTo>
                <a:cubicBezTo>
                  <a:pt x="3185" y="1025"/>
                  <a:pt x="3184" y="1026"/>
                  <a:pt x="3184" y="1027"/>
                </a:cubicBezTo>
                <a:cubicBezTo>
                  <a:pt x="3184" y="1028"/>
                  <a:pt x="3184" y="1029"/>
                  <a:pt x="3184" y="1030"/>
                </a:cubicBezTo>
                <a:cubicBezTo>
                  <a:pt x="3183" y="1031"/>
                  <a:pt x="3181" y="1032"/>
                  <a:pt x="3181" y="1034"/>
                </a:cubicBezTo>
                <a:cubicBezTo>
                  <a:pt x="3182" y="1034"/>
                  <a:pt x="3183" y="1034"/>
                  <a:pt x="3183" y="1034"/>
                </a:cubicBezTo>
                <a:cubicBezTo>
                  <a:pt x="3183" y="1033"/>
                  <a:pt x="3184" y="1033"/>
                  <a:pt x="3184" y="1033"/>
                </a:cubicBezTo>
                <a:cubicBezTo>
                  <a:pt x="3184" y="1033"/>
                  <a:pt x="3185" y="1033"/>
                  <a:pt x="3185" y="1033"/>
                </a:cubicBezTo>
                <a:cubicBezTo>
                  <a:pt x="3187" y="1033"/>
                  <a:pt x="3186" y="1031"/>
                  <a:pt x="3186" y="1029"/>
                </a:cubicBezTo>
                <a:cubicBezTo>
                  <a:pt x="3186" y="1028"/>
                  <a:pt x="3188" y="1028"/>
                  <a:pt x="3188" y="1027"/>
                </a:cubicBezTo>
                <a:cubicBezTo>
                  <a:pt x="3188" y="1026"/>
                  <a:pt x="3188" y="1025"/>
                  <a:pt x="3186" y="1025"/>
                </a:cubicBezTo>
                <a:close/>
                <a:moveTo>
                  <a:pt x="3021" y="1155"/>
                </a:moveTo>
                <a:cubicBezTo>
                  <a:pt x="3020" y="1155"/>
                  <a:pt x="3020" y="1154"/>
                  <a:pt x="3019" y="1154"/>
                </a:cubicBezTo>
                <a:cubicBezTo>
                  <a:pt x="3018" y="1154"/>
                  <a:pt x="3018" y="1154"/>
                  <a:pt x="3017" y="1154"/>
                </a:cubicBezTo>
                <a:cubicBezTo>
                  <a:pt x="3016" y="1153"/>
                  <a:pt x="3017" y="1152"/>
                  <a:pt x="3016" y="1152"/>
                </a:cubicBezTo>
                <a:cubicBezTo>
                  <a:pt x="3015" y="1152"/>
                  <a:pt x="3015" y="1153"/>
                  <a:pt x="3015" y="1153"/>
                </a:cubicBezTo>
                <a:cubicBezTo>
                  <a:pt x="3014" y="1155"/>
                  <a:pt x="3013" y="1156"/>
                  <a:pt x="3012" y="1157"/>
                </a:cubicBezTo>
                <a:cubicBezTo>
                  <a:pt x="3011" y="1158"/>
                  <a:pt x="3010" y="1159"/>
                  <a:pt x="3009" y="1160"/>
                </a:cubicBezTo>
                <a:cubicBezTo>
                  <a:pt x="3008" y="1161"/>
                  <a:pt x="3007" y="1162"/>
                  <a:pt x="3006" y="1163"/>
                </a:cubicBezTo>
                <a:cubicBezTo>
                  <a:pt x="3005" y="1164"/>
                  <a:pt x="3004" y="1166"/>
                  <a:pt x="3003" y="1167"/>
                </a:cubicBezTo>
                <a:cubicBezTo>
                  <a:pt x="3002" y="1167"/>
                  <a:pt x="3002" y="1168"/>
                  <a:pt x="3001" y="1168"/>
                </a:cubicBezTo>
                <a:cubicBezTo>
                  <a:pt x="3001" y="1169"/>
                  <a:pt x="3001" y="1173"/>
                  <a:pt x="3003" y="1173"/>
                </a:cubicBezTo>
                <a:cubicBezTo>
                  <a:pt x="3004" y="1173"/>
                  <a:pt x="3004" y="1172"/>
                  <a:pt x="3004" y="1171"/>
                </a:cubicBezTo>
                <a:cubicBezTo>
                  <a:pt x="3004" y="1170"/>
                  <a:pt x="3004" y="1169"/>
                  <a:pt x="3005" y="1168"/>
                </a:cubicBezTo>
                <a:cubicBezTo>
                  <a:pt x="3006" y="1168"/>
                  <a:pt x="3007" y="1168"/>
                  <a:pt x="3008" y="1167"/>
                </a:cubicBezTo>
                <a:cubicBezTo>
                  <a:pt x="3008" y="1167"/>
                  <a:pt x="3009" y="1166"/>
                  <a:pt x="3009" y="1165"/>
                </a:cubicBezTo>
                <a:cubicBezTo>
                  <a:pt x="3009" y="1165"/>
                  <a:pt x="3010" y="1164"/>
                  <a:pt x="3010" y="1163"/>
                </a:cubicBezTo>
                <a:cubicBezTo>
                  <a:pt x="3011" y="1162"/>
                  <a:pt x="3012" y="1161"/>
                  <a:pt x="3014" y="1160"/>
                </a:cubicBezTo>
                <a:cubicBezTo>
                  <a:pt x="3015" y="1159"/>
                  <a:pt x="3017" y="1159"/>
                  <a:pt x="3018" y="1158"/>
                </a:cubicBezTo>
                <a:cubicBezTo>
                  <a:pt x="3019" y="1157"/>
                  <a:pt x="3021" y="1157"/>
                  <a:pt x="3022" y="1156"/>
                </a:cubicBezTo>
                <a:cubicBezTo>
                  <a:pt x="3023" y="1156"/>
                  <a:pt x="3023" y="1155"/>
                  <a:pt x="3023" y="1155"/>
                </a:cubicBezTo>
                <a:cubicBezTo>
                  <a:pt x="3022" y="1154"/>
                  <a:pt x="3021" y="1155"/>
                  <a:pt x="3021" y="1155"/>
                </a:cubicBezTo>
                <a:close/>
                <a:moveTo>
                  <a:pt x="3151" y="1072"/>
                </a:moveTo>
                <a:cubicBezTo>
                  <a:pt x="3150" y="1072"/>
                  <a:pt x="3150" y="1073"/>
                  <a:pt x="3151" y="1073"/>
                </a:cubicBezTo>
                <a:cubicBezTo>
                  <a:pt x="3152" y="1073"/>
                  <a:pt x="3152" y="1071"/>
                  <a:pt x="3151" y="1072"/>
                </a:cubicBezTo>
                <a:close/>
                <a:moveTo>
                  <a:pt x="3139" y="1084"/>
                </a:moveTo>
                <a:cubicBezTo>
                  <a:pt x="3140" y="1084"/>
                  <a:pt x="3141" y="1083"/>
                  <a:pt x="3141" y="1083"/>
                </a:cubicBezTo>
                <a:cubicBezTo>
                  <a:pt x="3140" y="1082"/>
                  <a:pt x="3138" y="1083"/>
                  <a:pt x="3139" y="1084"/>
                </a:cubicBezTo>
                <a:close/>
                <a:moveTo>
                  <a:pt x="3174" y="1043"/>
                </a:moveTo>
                <a:cubicBezTo>
                  <a:pt x="3173" y="1043"/>
                  <a:pt x="3171" y="1045"/>
                  <a:pt x="3171" y="1045"/>
                </a:cubicBezTo>
                <a:cubicBezTo>
                  <a:pt x="3171" y="1045"/>
                  <a:pt x="3170" y="1047"/>
                  <a:pt x="3170" y="1047"/>
                </a:cubicBezTo>
                <a:cubicBezTo>
                  <a:pt x="3171" y="1047"/>
                  <a:pt x="3172" y="1046"/>
                  <a:pt x="3173" y="1045"/>
                </a:cubicBezTo>
                <a:cubicBezTo>
                  <a:pt x="3173" y="1045"/>
                  <a:pt x="3175" y="1043"/>
                  <a:pt x="3174" y="1043"/>
                </a:cubicBezTo>
                <a:close/>
                <a:moveTo>
                  <a:pt x="3131" y="1091"/>
                </a:moveTo>
                <a:cubicBezTo>
                  <a:pt x="3130" y="1092"/>
                  <a:pt x="3130" y="1093"/>
                  <a:pt x="3128" y="1093"/>
                </a:cubicBezTo>
                <a:cubicBezTo>
                  <a:pt x="3127" y="1094"/>
                  <a:pt x="3125" y="1095"/>
                  <a:pt x="3125" y="1097"/>
                </a:cubicBezTo>
                <a:cubicBezTo>
                  <a:pt x="3128" y="1097"/>
                  <a:pt x="3129" y="1094"/>
                  <a:pt x="3131" y="1093"/>
                </a:cubicBezTo>
                <a:cubicBezTo>
                  <a:pt x="3131" y="1092"/>
                  <a:pt x="3132" y="1092"/>
                  <a:pt x="3133" y="1091"/>
                </a:cubicBezTo>
                <a:cubicBezTo>
                  <a:pt x="3134" y="1090"/>
                  <a:pt x="3135" y="1090"/>
                  <a:pt x="3135" y="1089"/>
                </a:cubicBezTo>
                <a:cubicBezTo>
                  <a:pt x="3134" y="1088"/>
                  <a:pt x="3131" y="1091"/>
                  <a:pt x="3131" y="1091"/>
                </a:cubicBezTo>
                <a:close/>
                <a:moveTo>
                  <a:pt x="3154" y="1064"/>
                </a:moveTo>
                <a:cubicBezTo>
                  <a:pt x="3153" y="1065"/>
                  <a:pt x="3154" y="1065"/>
                  <a:pt x="3154" y="1065"/>
                </a:cubicBezTo>
                <a:cubicBezTo>
                  <a:pt x="3155" y="1065"/>
                  <a:pt x="3155" y="1063"/>
                  <a:pt x="3154" y="1064"/>
                </a:cubicBezTo>
                <a:close/>
                <a:moveTo>
                  <a:pt x="3122" y="2150"/>
                </a:moveTo>
                <a:cubicBezTo>
                  <a:pt x="3121" y="2149"/>
                  <a:pt x="3119" y="2149"/>
                  <a:pt x="3118" y="2149"/>
                </a:cubicBezTo>
                <a:cubicBezTo>
                  <a:pt x="3117" y="2149"/>
                  <a:pt x="3116" y="2148"/>
                  <a:pt x="3115" y="2148"/>
                </a:cubicBezTo>
                <a:cubicBezTo>
                  <a:pt x="3114" y="2147"/>
                  <a:pt x="3113" y="2146"/>
                  <a:pt x="3112" y="2146"/>
                </a:cubicBezTo>
                <a:cubicBezTo>
                  <a:pt x="3111" y="2146"/>
                  <a:pt x="3110" y="2145"/>
                  <a:pt x="3109" y="2144"/>
                </a:cubicBezTo>
                <a:cubicBezTo>
                  <a:pt x="3109" y="2144"/>
                  <a:pt x="3108" y="2142"/>
                  <a:pt x="3107" y="2143"/>
                </a:cubicBezTo>
                <a:cubicBezTo>
                  <a:pt x="3107" y="2144"/>
                  <a:pt x="3107" y="2144"/>
                  <a:pt x="3108" y="2144"/>
                </a:cubicBezTo>
                <a:cubicBezTo>
                  <a:pt x="3108" y="2145"/>
                  <a:pt x="3109" y="2146"/>
                  <a:pt x="3108" y="2146"/>
                </a:cubicBezTo>
                <a:cubicBezTo>
                  <a:pt x="3107" y="2146"/>
                  <a:pt x="3106" y="2145"/>
                  <a:pt x="3106" y="2147"/>
                </a:cubicBezTo>
                <a:cubicBezTo>
                  <a:pt x="3107" y="2147"/>
                  <a:pt x="3108" y="2147"/>
                  <a:pt x="3109" y="2147"/>
                </a:cubicBezTo>
                <a:cubicBezTo>
                  <a:pt x="3112" y="2148"/>
                  <a:pt x="3114" y="2151"/>
                  <a:pt x="3117" y="2152"/>
                </a:cubicBezTo>
                <a:cubicBezTo>
                  <a:pt x="3117" y="2152"/>
                  <a:pt x="3118" y="2153"/>
                  <a:pt x="3118" y="2153"/>
                </a:cubicBezTo>
                <a:cubicBezTo>
                  <a:pt x="3124" y="2153"/>
                  <a:pt x="3124" y="2153"/>
                  <a:pt x="3124" y="2153"/>
                </a:cubicBezTo>
                <a:cubicBezTo>
                  <a:pt x="3124" y="2153"/>
                  <a:pt x="3124" y="2153"/>
                  <a:pt x="3124" y="2152"/>
                </a:cubicBezTo>
                <a:cubicBezTo>
                  <a:pt x="3123" y="2152"/>
                  <a:pt x="3123" y="2151"/>
                  <a:pt x="3122" y="2150"/>
                </a:cubicBezTo>
                <a:close/>
                <a:moveTo>
                  <a:pt x="2829" y="2127"/>
                </a:moveTo>
                <a:cubicBezTo>
                  <a:pt x="2828" y="2127"/>
                  <a:pt x="2826" y="2127"/>
                  <a:pt x="2825" y="2126"/>
                </a:cubicBezTo>
                <a:cubicBezTo>
                  <a:pt x="2823" y="2126"/>
                  <a:pt x="2822" y="2126"/>
                  <a:pt x="2821" y="2126"/>
                </a:cubicBezTo>
                <a:cubicBezTo>
                  <a:pt x="2820" y="2125"/>
                  <a:pt x="2819" y="2125"/>
                  <a:pt x="2819" y="2125"/>
                </a:cubicBezTo>
                <a:cubicBezTo>
                  <a:pt x="2818" y="2125"/>
                  <a:pt x="2817" y="2125"/>
                  <a:pt x="2816" y="2125"/>
                </a:cubicBezTo>
                <a:cubicBezTo>
                  <a:pt x="2815" y="2125"/>
                  <a:pt x="2814" y="2125"/>
                  <a:pt x="2814" y="2125"/>
                </a:cubicBezTo>
                <a:cubicBezTo>
                  <a:pt x="2813" y="2125"/>
                  <a:pt x="2812" y="2125"/>
                  <a:pt x="2811" y="2125"/>
                </a:cubicBezTo>
                <a:cubicBezTo>
                  <a:pt x="2810" y="2124"/>
                  <a:pt x="2808" y="2123"/>
                  <a:pt x="2806" y="2124"/>
                </a:cubicBezTo>
                <a:cubicBezTo>
                  <a:pt x="2804" y="2124"/>
                  <a:pt x="2807" y="2125"/>
                  <a:pt x="2808" y="2125"/>
                </a:cubicBezTo>
                <a:cubicBezTo>
                  <a:pt x="2808" y="2126"/>
                  <a:pt x="2809" y="2126"/>
                  <a:pt x="2810" y="2126"/>
                </a:cubicBezTo>
                <a:cubicBezTo>
                  <a:pt x="2810" y="2126"/>
                  <a:pt x="2811" y="2126"/>
                  <a:pt x="2811" y="2127"/>
                </a:cubicBezTo>
                <a:cubicBezTo>
                  <a:pt x="2813" y="2127"/>
                  <a:pt x="2814" y="2127"/>
                  <a:pt x="2815" y="2128"/>
                </a:cubicBezTo>
                <a:cubicBezTo>
                  <a:pt x="2816" y="2129"/>
                  <a:pt x="2818" y="2128"/>
                  <a:pt x="2819" y="2129"/>
                </a:cubicBezTo>
                <a:cubicBezTo>
                  <a:pt x="2820" y="2129"/>
                  <a:pt x="2820" y="2130"/>
                  <a:pt x="2821" y="2130"/>
                </a:cubicBezTo>
                <a:cubicBezTo>
                  <a:pt x="2822" y="2131"/>
                  <a:pt x="2823" y="2131"/>
                  <a:pt x="2823" y="2131"/>
                </a:cubicBezTo>
                <a:cubicBezTo>
                  <a:pt x="2825" y="2130"/>
                  <a:pt x="2826" y="2130"/>
                  <a:pt x="2828" y="2129"/>
                </a:cubicBezTo>
                <a:cubicBezTo>
                  <a:pt x="2828" y="2129"/>
                  <a:pt x="2829" y="2128"/>
                  <a:pt x="2830" y="2129"/>
                </a:cubicBezTo>
                <a:cubicBezTo>
                  <a:pt x="2831" y="2129"/>
                  <a:pt x="2832" y="2129"/>
                  <a:pt x="2832" y="2128"/>
                </a:cubicBezTo>
                <a:cubicBezTo>
                  <a:pt x="2834" y="2126"/>
                  <a:pt x="2830" y="2126"/>
                  <a:pt x="2829" y="2127"/>
                </a:cubicBezTo>
                <a:close/>
                <a:moveTo>
                  <a:pt x="3029" y="1168"/>
                </a:moveTo>
                <a:cubicBezTo>
                  <a:pt x="3028" y="1168"/>
                  <a:pt x="3028" y="1168"/>
                  <a:pt x="3028" y="1168"/>
                </a:cubicBezTo>
                <a:cubicBezTo>
                  <a:pt x="3026" y="1169"/>
                  <a:pt x="3024" y="1169"/>
                  <a:pt x="3024" y="1171"/>
                </a:cubicBezTo>
                <a:cubicBezTo>
                  <a:pt x="3025" y="1171"/>
                  <a:pt x="3026" y="1170"/>
                  <a:pt x="3026" y="1170"/>
                </a:cubicBezTo>
                <a:cubicBezTo>
                  <a:pt x="3027" y="1169"/>
                  <a:pt x="3028" y="1170"/>
                  <a:pt x="3029" y="1169"/>
                </a:cubicBezTo>
                <a:cubicBezTo>
                  <a:pt x="3029" y="1168"/>
                  <a:pt x="3029" y="1168"/>
                  <a:pt x="3029" y="1168"/>
                </a:cubicBezTo>
                <a:close/>
                <a:moveTo>
                  <a:pt x="3100" y="1111"/>
                </a:moveTo>
                <a:cubicBezTo>
                  <a:pt x="3099" y="1112"/>
                  <a:pt x="3097" y="1111"/>
                  <a:pt x="3096" y="1112"/>
                </a:cubicBezTo>
                <a:cubicBezTo>
                  <a:pt x="3095" y="1112"/>
                  <a:pt x="3094" y="1114"/>
                  <a:pt x="3092" y="1115"/>
                </a:cubicBezTo>
                <a:cubicBezTo>
                  <a:pt x="3092" y="1115"/>
                  <a:pt x="3091" y="1115"/>
                  <a:pt x="3090" y="1116"/>
                </a:cubicBezTo>
                <a:cubicBezTo>
                  <a:pt x="3089" y="1116"/>
                  <a:pt x="3089" y="1117"/>
                  <a:pt x="3088" y="1118"/>
                </a:cubicBezTo>
                <a:cubicBezTo>
                  <a:pt x="3087" y="1119"/>
                  <a:pt x="3086" y="1120"/>
                  <a:pt x="3086" y="1120"/>
                </a:cubicBezTo>
                <a:cubicBezTo>
                  <a:pt x="3085" y="1121"/>
                  <a:pt x="3084" y="1123"/>
                  <a:pt x="3083" y="1124"/>
                </a:cubicBezTo>
                <a:cubicBezTo>
                  <a:pt x="3082" y="1125"/>
                  <a:pt x="3081" y="1126"/>
                  <a:pt x="3081" y="1127"/>
                </a:cubicBezTo>
                <a:cubicBezTo>
                  <a:pt x="3081" y="1128"/>
                  <a:pt x="3082" y="1127"/>
                  <a:pt x="3083" y="1127"/>
                </a:cubicBezTo>
                <a:cubicBezTo>
                  <a:pt x="3084" y="1126"/>
                  <a:pt x="3085" y="1125"/>
                  <a:pt x="3087" y="1124"/>
                </a:cubicBezTo>
                <a:cubicBezTo>
                  <a:pt x="3088" y="1123"/>
                  <a:pt x="3090" y="1122"/>
                  <a:pt x="3091" y="1121"/>
                </a:cubicBezTo>
                <a:cubicBezTo>
                  <a:pt x="3093" y="1120"/>
                  <a:pt x="3094" y="1118"/>
                  <a:pt x="3096" y="1117"/>
                </a:cubicBezTo>
                <a:cubicBezTo>
                  <a:pt x="3097" y="1115"/>
                  <a:pt x="3099" y="1114"/>
                  <a:pt x="3101" y="1113"/>
                </a:cubicBezTo>
                <a:cubicBezTo>
                  <a:pt x="3102" y="1113"/>
                  <a:pt x="3103" y="1111"/>
                  <a:pt x="3100" y="1111"/>
                </a:cubicBezTo>
                <a:close/>
                <a:moveTo>
                  <a:pt x="2930" y="949"/>
                </a:moveTo>
                <a:cubicBezTo>
                  <a:pt x="2929" y="950"/>
                  <a:pt x="2929" y="951"/>
                  <a:pt x="2929" y="952"/>
                </a:cubicBezTo>
                <a:cubicBezTo>
                  <a:pt x="2929" y="953"/>
                  <a:pt x="2928" y="955"/>
                  <a:pt x="2928" y="957"/>
                </a:cubicBezTo>
                <a:cubicBezTo>
                  <a:pt x="2928" y="958"/>
                  <a:pt x="2927" y="959"/>
                  <a:pt x="2927" y="960"/>
                </a:cubicBezTo>
                <a:cubicBezTo>
                  <a:pt x="2926" y="961"/>
                  <a:pt x="2926" y="963"/>
                  <a:pt x="2926" y="964"/>
                </a:cubicBezTo>
                <a:cubicBezTo>
                  <a:pt x="2927" y="966"/>
                  <a:pt x="2927" y="968"/>
                  <a:pt x="2927" y="969"/>
                </a:cubicBezTo>
                <a:cubicBezTo>
                  <a:pt x="2928" y="970"/>
                  <a:pt x="2929" y="970"/>
                  <a:pt x="2930" y="972"/>
                </a:cubicBezTo>
                <a:cubicBezTo>
                  <a:pt x="2931" y="973"/>
                  <a:pt x="2930" y="975"/>
                  <a:pt x="2931" y="976"/>
                </a:cubicBezTo>
                <a:cubicBezTo>
                  <a:pt x="2932" y="976"/>
                  <a:pt x="2933" y="977"/>
                  <a:pt x="2933" y="977"/>
                </a:cubicBezTo>
                <a:cubicBezTo>
                  <a:pt x="2934" y="978"/>
                  <a:pt x="2934" y="978"/>
                  <a:pt x="2934" y="979"/>
                </a:cubicBezTo>
                <a:cubicBezTo>
                  <a:pt x="2935" y="980"/>
                  <a:pt x="2935" y="981"/>
                  <a:pt x="2935" y="982"/>
                </a:cubicBezTo>
                <a:cubicBezTo>
                  <a:pt x="2935" y="983"/>
                  <a:pt x="2936" y="983"/>
                  <a:pt x="2937" y="984"/>
                </a:cubicBezTo>
                <a:cubicBezTo>
                  <a:pt x="2938" y="985"/>
                  <a:pt x="2938" y="986"/>
                  <a:pt x="2938" y="987"/>
                </a:cubicBezTo>
                <a:cubicBezTo>
                  <a:pt x="2939" y="989"/>
                  <a:pt x="2938" y="990"/>
                  <a:pt x="2937" y="992"/>
                </a:cubicBezTo>
                <a:cubicBezTo>
                  <a:pt x="2936" y="993"/>
                  <a:pt x="2936" y="995"/>
                  <a:pt x="2935" y="996"/>
                </a:cubicBezTo>
                <a:cubicBezTo>
                  <a:pt x="2934" y="1000"/>
                  <a:pt x="2937" y="1004"/>
                  <a:pt x="2936" y="1007"/>
                </a:cubicBezTo>
                <a:cubicBezTo>
                  <a:pt x="2936" y="1010"/>
                  <a:pt x="2936" y="1013"/>
                  <a:pt x="2936" y="1016"/>
                </a:cubicBezTo>
                <a:cubicBezTo>
                  <a:pt x="2936" y="1017"/>
                  <a:pt x="2937" y="1018"/>
                  <a:pt x="2937" y="1019"/>
                </a:cubicBezTo>
                <a:cubicBezTo>
                  <a:pt x="2937" y="1019"/>
                  <a:pt x="2936" y="1020"/>
                  <a:pt x="2936" y="1021"/>
                </a:cubicBezTo>
                <a:cubicBezTo>
                  <a:pt x="2936" y="1024"/>
                  <a:pt x="2935" y="1026"/>
                  <a:pt x="2935" y="1029"/>
                </a:cubicBezTo>
                <a:cubicBezTo>
                  <a:pt x="2934" y="1031"/>
                  <a:pt x="2933" y="1034"/>
                  <a:pt x="2932" y="1036"/>
                </a:cubicBezTo>
                <a:cubicBezTo>
                  <a:pt x="2931" y="1040"/>
                  <a:pt x="2931" y="1043"/>
                  <a:pt x="2931" y="1046"/>
                </a:cubicBezTo>
                <a:cubicBezTo>
                  <a:pt x="2931" y="1048"/>
                  <a:pt x="2931" y="1049"/>
                  <a:pt x="2932" y="1051"/>
                </a:cubicBezTo>
                <a:cubicBezTo>
                  <a:pt x="2932" y="1052"/>
                  <a:pt x="2934" y="1054"/>
                  <a:pt x="2934" y="1055"/>
                </a:cubicBezTo>
                <a:cubicBezTo>
                  <a:pt x="2934" y="1056"/>
                  <a:pt x="2935" y="1057"/>
                  <a:pt x="2936" y="1057"/>
                </a:cubicBezTo>
                <a:cubicBezTo>
                  <a:pt x="2937" y="1059"/>
                  <a:pt x="2936" y="1060"/>
                  <a:pt x="2936" y="1062"/>
                </a:cubicBezTo>
                <a:cubicBezTo>
                  <a:pt x="2936" y="1063"/>
                  <a:pt x="2937" y="1064"/>
                  <a:pt x="2937" y="1066"/>
                </a:cubicBezTo>
                <a:cubicBezTo>
                  <a:pt x="2937" y="1067"/>
                  <a:pt x="2936" y="1068"/>
                  <a:pt x="2936" y="1069"/>
                </a:cubicBezTo>
                <a:cubicBezTo>
                  <a:pt x="2936" y="1069"/>
                  <a:pt x="2936" y="1070"/>
                  <a:pt x="2935" y="1071"/>
                </a:cubicBezTo>
                <a:cubicBezTo>
                  <a:pt x="2934" y="1072"/>
                  <a:pt x="2933" y="1073"/>
                  <a:pt x="2933" y="1074"/>
                </a:cubicBezTo>
                <a:cubicBezTo>
                  <a:pt x="2933" y="1076"/>
                  <a:pt x="2933" y="1077"/>
                  <a:pt x="2933" y="1079"/>
                </a:cubicBezTo>
                <a:cubicBezTo>
                  <a:pt x="2933" y="1080"/>
                  <a:pt x="2933" y="1081"/>
                  <a:pt x="2934" y="1083"/>
                </a:cubicBezTo>
                <a:cubicBezTo>
                  <a:pt x="2935" y="1084"/>
                  <a:pt x="2934" y="1086"/>
                  <a:pt x="2934" y="1087"/>
                </a:cubicBezTo>
                <a:cubicBezTo>
                  <a:pt x="2934" y="1088"/>
                  <a:pt x="2934" y="1090"/>
                  <a:pt x="2934" y="1092"/>
                </a:cubicBezTo>
                <a:cubicBezTo>
                  <a:pt x="2934" y="1093"/>
                  <a:pt x="2933" y="1094"/>
                  <a:pt x="2933" y="1095"/>
                </a:cubicBezTo>
                <a:cubicBezTo>
                  <a:pt x="2932" y="1097"/>
                  <a:pt x="2932" y="1098"/>
                  <a:pt x="2931" y="1099"/>
                </a:cubicBezTo>
                <a:cubicBezTo>
                  <a:pt x="2931" y="1101"/>
                  <a:pt x="2930" y="1102"/>
                  <a:pt x="2930" y="1103"/>
                </a:cubicBezTo>
                <a:cubicBezTo>
                  <a:pt x="2930" y="1105"/>
                  <a:pt x="2931" y="1106"/>
                  <a:pt x="2931" y="1108"/>
                </a:cubicBezTo>
                <a:cubicBezTo>
                  <a:pt x="2931" y="1109"/>
                  <a:pt x="2932" y="1111"/>
                  <a:pt x="2932" y="1112"/>
                </a:cubicBezTo>
                <a:cubicBezTo>
                  <a:pt x="2932" y="1114"/>
                  <a:pt x="2932" y="1115"/>
                  <a:pt x="2933" y="1116"/>
                </a:cubicBezTo>
                <a:cubicBezTo>
                  <a:pt x="2934" y="1116"/>
                  <a:pt x="2934" y="1118"/>
                  <a:pt x="2935" y="1119"/>
                </a:cubicBezTo>
                <a:cubicBezTo>
                  <a:pt x="2937" y="1118"/>
                  <a:pt x="2936" y="1117"/>
                  <a:pt x="2937" y="1116"/>
                </a:cubicBezTo>
                <a:cubicBezTo>
                  <a:pt x="2937" y="1114"/>
                  <a:pt x="2937" y="1113"/>
                  <a:pt x="2938" y="1111"/>
                </a:cubicBezTo>
                <a:cubicBezTo>
                  <a:pt x="2938" y="1110"/>
                  <a:pt x="2939" y="1109"/>
                  <a:pt x="2940" y="1108"/>
                </a:cubicBezTo>
                <a:cubicBezTo>
                  <a:pt x="2942" y="1105"/>
                  <a:pt x="2940" y="1102"/>
                  <a:pt x="2943" y="1100"/>
                </a:cubicBezTo>
                <a:cubicBezTo>
                  <a:pt x="2944" y="1100"/>
                  <a:pt x="2945" y="1099"/>
                  <a:pt x="2945" y="1099"/>
                </a:cubicBezTo>
                <a:cubicBezTo>
                  <a:pt x="2946" y="1099"/>
                  <a:pt x="2946" y="1098"/>
                  <a:pt x="2947" y="1098"/>
                </a:cubicBezTo>
                <a:cubicBezTo>
                  <a:pt x="2948" y="1099"/>
                  <a:pt x="2948" y="1099"/>
                  <a:pt x="2948" y="1100"/>
                </a:cubicBezTo>
                <a:cubicBezTo>
                  <a:pt x="2948" y="1101"/>
                  <a:pt x="2949" y="1101"/>
                  <a:pt x="2949" y="1101"/>
                </a:cubicBezTo>
                <a:cubicBezTo>
                  <a:pt x="2951" y="1102"/>
                  <a:pt x="2953" y="1102"/>
                  <a:pt x="2954" y="1102"/>
                </a:cubicBezTo>
                <a:cubicBezTo>
                  <a:pt x="2955" y="1102"/>
                  <a:pt x="2956" y="1102"/>
                  <a:pt x="2957" y="1102"/>
                </a:cubicBezTo>
                <a:cubicBezTo>
                  <a:pt x="2958" y="1103"/>
                  <a:pt x="2958" y="1102"/>
                  <a:pt x="2959" y="1103"/>
                </a:cubicBezTo>
                <a:cubicBezTo>
                  <a:pt x="2960" y="1103"/>
                  <a:pt x="2961" y="1103"/>
                  <a:pt x="2960" y="1104"/>
                </a:cubicBezTo>
                <a:cubicBezTo>
                  <a:pt x="2960" y="1104"/>
                  <a:pt x="2960" y="1105"/>
                  <a:pt x="2960" y="1105"/>
                </a:cubicBezTo>
                <a:cubicBezTo>
                  <a:pt x="2960" y="1106"/>
                  <a:pt x="2960" y="1107"/>
                  <a:pt x="2960" y="1107"/>
                </a:cubicBezTo>
                <a:cubicBezTo>
                  <a:pt x="2961" y="1108"/>
                  <a:pt x="2960" y="1109"/>
                  <a:pt x="2961" y="1109"/>
                </a:cubicBezTo>
                <a:cubicBezTo>
                  <a:pt x="2961" y="1110"/>
                  <a:pt x="2961" y="1111"/>
                  <a:pt x="2962" y="1111"/>
                </a:cubicBezTo>
                <a:cubicBezTo>
                  <a:pt x="2962" y="1112"/>
                  <a:pt x="2962" y="1115"/>
                  <a:pt x="2963" y="1115"/>
                </a:cubicBezTo>
                <a:cubicBezTo>
                  <a:pt x="2963" y="1114"/>
                  <a:pt x="2963" y="1113"/>
                  <a:pt x="2963" y="1113"/>
                </a:cubicBezTo>
                <a:cubicBezTo>
                  <a:pt x="2963" y="1112"/>
                  <a:pt x="2963" y="1111"/>
                  <a:pt x="2964" y="1111"/>
                </a:cubicBezTo>
                <a:cubicBezTo>
                  <a:pt x="2964" y="1110"/>
                  <a:pt x="2966" y="1108"/>
                  <a:pt x="2966" y="1107"/>
                </a:cubicBezTo>
                <a:cubicBezTo>
                  <a:pt x="2966" y="1106"/>
                  <a:pt x="2965" y="1107"/>
                  <a:pt x="2964" y="1106"/>
                </a:cubicBezTo>
                <a:cubicBezTo>
                  <a:pt x="2964" y="1105"/>
                  <a:pt x="2964" y="1104"/>
                  <a:pt x="2964" y="1104"/>
                </a:cubicBezTo>
                <a:cubicBezTo>
                  <a:pt x="2964" y="1102"/>
                  <a:pt x="2963" y="1102"/>
                  <a:pt x="2963" y="1100"/>
                </a:cubicBezTo>
                <a:cubicBezTo>
                  <a:pt x="2963" y="1099"/>
                  <a:pt x="2964" y="1097"/>
                  <a:pt x="2963" y="1096"/>
                </a:cubicBezTo>
                <a:cubicBezTo>
                  <a:pt x="2962" y="1095"/>
                  <a:pt x="2960" y="1096"/>
                  <a:pt x="2959" y="1095"/>
                </a:cubicBezTo>
                <a:cubicBezTo>
                  <a:pt x="2958" y="1095"/>
                  <a:pt x="2957" y="1095"/>
                  <a:pt x="2957" y="1095"/>
                </a:cubicBezTo>
                <a:cubicBezTo>
                  <a:pt x="2956" y="1095"/>
                  <a:pt x="2957" y="1096"/>
                  <a:pt x="2957" y="1096"/>
                </a:cubicBezTo>
                <a:cubicBezTo>
                  <a:pt x="2958" y="1097"/>
                  <a:pt x="2958" y="1097"/>
                  <a:pt x="2958" y="1098"/>
                </a:cubicBezTo>
                <a:cubicBezTo>
                  <a:pt x="2959" y="1098"/>
                  <a:pt x="2960" y="1098"/>
                  <a:pt x="2960" y="1099"/>
                </a:cubicBezTo>
                <a:cubicBezTo>
                  <a:pt x="2959" y="1099"/>
                  <a:pt x="2958" y="1099"/>
                  <a:pt x="2957" y="1099"/>
                </a:cubicBezTo>
                <a:cubicBezTo>
                  <a:pt x="2957" y="1098"/>
                  <a:pt x="2957" y="1097"/>
                  <a:pt x="2956" y="1097"/>
                </a:cubicBezTo>
                <a:cubicBezTo>
                  <a:pt x="2956" y="1096"/>
                  <a:pt x="2955" y="1094"/>
                  <a:pt x="2955" y="1093"/>
                </a:cubicBezTo>
                <a:cubicBezTo>
                  <a:pt x="2955" y="1090"/>
                  <a:pt x="2955" y="1087"/>
                  <a:pt x="2952" y="1085"/>
                </a:cubicBezTo>
                <a:cubicBezTo>
                  <a:pt x="2951" y="1084"/>
                  <a:pt x="2950" y="1084"/>
                  <a:pt x="2949" y="1082"/>
                </a:cubicBezTo>
                <a:cubicBezTo>
                  <a:pt x="2949" y="1082"/>
                  <a:pt x="2948" y="1081"/>
                  <a:pt x="2948" y="1080"/>
                </a:cubicBezTo>
                <a:cubicBezTo>
                  <a:pt x="2947" y="1080"/>
                  <a:pt x="2947" y="1079"/>
                  <a:pt x="2947" y="1078"/>
                </a:cubicBezTo>
                <a:cubicBezTo>
                  <a:pt x="2946" y="1077"/>
                  <a:pt x="2945" y="1076"/>
                  <a:pt x="2945" y="1074"/>
                </a:cubicBezTo>
                <a:cubicBezTo>
                  <a:pt x="2943" y="1072"/>
                  <a:pt x="2944" y="1067"/>
                  <a:pt x="2945" y="1065"/>
                </a:cubicBezTo>
                <a:cubicBezTo>
                  <a:pt x="2946" y="1063"/>
                  <a:pt x="2946" y="1062"/>
                  <a:pt x="2947" y="1061"/>
                </a:cubicBezTo>
                <a:cubicBezTo>
                  <a:pt x="2947" y="1060"/>
                  <a:pt x="2948" y="1058"/>
                  <a:pt x="2948" y="1057"/>
                </a:cubicBezTo>
                <a:cubicBezTo>
                  <a:pt x="2948" y="1056"/>
                  <a:pt x="2949" y="1054"/>
                  <a:pt x="2949" y="1053"/>
                </a:cubicBezTo>
                <a:cubicBezTo>
                  <a:pt x="2950" y="1051"/>
                  <a:pt x="2951" y="1050"/>
                  <a:pt x="2951" y="1049"/>
                </a:cubicBezTo>
                <a:cubicBezTo>
                  <a:pt x="2952" y="1047"/>
                  <a:pt x="2952" y="1046"/>
                  <a:pt x="2952" y="1044"/>
                </a:cubicBezTo>
                <a:cubicBezTo>
                  <a:pt x="2952" y="1043"/>
                  <a:pt x="2953" y="1041"/>
                  <a:pt x="2954" y="1040"/>
                </a:cubicBezTo>
                <a:cubicBezTo>
                  <a:pt x="2955" y="1038"/>
                  <a:pt x="2955" y="1036"/>
                  <a:pt x="2957" y="1035"/>
                </a:cubicBezTo>
                <a:cubicBezTo>
                  <a:pt x="2959" y="1033"/>
                  <a:pt x="2961" y="1035"/>
                  <a:pt x="2964" y="1034"/>
                </a:cubicBezTo>
                <a:cubicBezTo>
                  <a:pt x="2965" y="1034"/>
                  <a:pt x="2966" y="1032"/>
                  <a:pt x="2967" y="1033"/>
                </a:cubicBezTo>
                <a:cubicBezTo>
                  <a:pt x="2968" y="1033"/>
                  <a:pt x="2968" y="1034"/>
                  <a:pt x="2969" y="1034"/>
                </a:cubicBezTo>
                <a:cubicBezTo>
                  <a:pt x="2969" y="1034"/>
                  <a:pt x="2970" y="1034"/>
                  <a:pt x="2971" y="1034"/>
                </a:cubicBezTo>
                <a:cubicBezTo>
                  <a:pt x="2972" y="1034"/>
                  <a:pt x="2973" y="1035"/>
                  <a:pt x="2974" y="1036"/>
                </a:cubicBezTo>
                <a:cubicBezTo>
                  <a:pt x="2976" y="1037"/>
                  <a:pt x="2977" y="1037"/>
                  <a:pt x="2977" y="1038"/>
                </a:cubicBezTo>
                <a:cubicBezTo>
                  <a:pt x="2978" y="1040"/>
                  <a:pt x="2979" y="1040"/>
                  <a:pt x="2980" y="1041"/>
                </a:cubicBezTo>
                <a:cubicBezTo>
                  <a:pt x="2981" y="1042"/>
                  <a:pt x="2982" y="1042"/>
                  <a:pt x="2983" y="1044"/>
                </a:cubicBezTo>
                <a:cubicBezTo>
                  <a:pt x="2983" y="1045"/>
                  <a:pt x="2984" y="1045"/>
                  <a:pt x="2985" y="1046"/>
                </a:cubicBezTo>
                <a:cubicBezTo>
                  <a:pt x="2985" y="1047"/>
                  <a:pt x="2987" y="1050"/>
                  <a:pt x="2987" y="1047"/>
                </a:cubicBezTo>
                <a:cubicBezTo>
                  <a:pt x="2988" y="1045"/>
                  <a:pt x="2984" y="1043"/>
                  <a:pt x="2983" y="1041"/>
                </a:cubicBezTo>
                <a:cubicBezTo>
                  <a:pt x="2982" y="1040"/>
                  <a:pt x="2981" y="1039"/>
                  <a:pt x="2980" y="1038"/>
                </a:cubicBezTo>
                <a:cubicBezTo>
                  <a:pt x="2979" y="1037"/>
                  <a:pt x="2978" y="1034"/>
                  <a:pt x="2978" y="1033"/>
                </a:cubicBezTo>
                <a:cubicBezTo>
                  <a:pt x="2978" y="1031"/>
                  <a:pt x="2978" y="1030"/>
                  <a:pt x="2977" y="1029"/>
                </a:cubicBezTo>
                <a:cubicBezTo>
                  <a:pt x="2977" y="1027"/>
                  <a:pt x="2976" y="1027"/>
                  <a:pt x="2976" y="1025"/>
                </a:cubicBezTo>
                <a:cubicBezTo>
                  <a:pt x="2975" y="1024"/>
                  <a:pt x="2975" y="1023"/>
                  <a:pt x="2975" y="1021"/>
                </a:cubicBezTo>
                <a:cubicBezTo>
                  <a:pt x="2974" y="1018"/>
                  <a:pt x="2972" y="1015"/>
                  <a:pt x="2971" y="1012"/>
                </a:cubicBezTo>
                <a:cubicBezTo>
                  <a:pt x="2971" y="1010"/>
                  <a:pt x="2970" y="1008"/>
                  <a:pt x="2970" y="1007"/>
                </a:cubicBezTo>
                <a:cubicBezTo>
                  <a:pt x="2970" y="1005"/>
                  <a:pt x="2969" y="1003"/>
                  <a:pt x="2969" y="1002"/>
                </a:cubicBezTo>
                <a:cubicBezTo>
                  <a:pt x="2968" y="1000"/>
                  <a:pt x="2968" y="999"/>
                  <a:pt x="2967" y="997"/>
                </a:cubicBezTo>
                <a:cubicBezTo>
                  <a:pt x="2966" y="995"/>
                  <a:pt x="2966" y="992"/>
                  <a:pt x="2965" y="990"/>
                </a:cubicBezTo>
                <a:cubicBezTo>
                  <a:pt x="2965" y="989"/>
                  <a:pt x="2965" y="989"/>
                  <a:pt x="2965" y="988"/>
                </a:cubicBezTo>
                <a:cubicBezTo>
                  <a:pt x="2965" y="987"/>
                  <a:pt x="2964" y="987"/>
                  <a:pt x="2964" y="986"/>
                </a:cubicBezTo>
                <a:cubicBezTo>
                  <a:pt x="2964" y="985"/>
                  <a:pt x="2964" y="983"/>
                  <a:pt x="2963" y="982"/>
                </a:cubicBezTo>
                <a:cubicBezTo>
                  <a:pt x="2962" y="982"/>
                  <a:pt x="2962" y="982"/>
                  <a:pt x="2961" y="982"/>
                </a:cubicBezTo>
                <a:cubicBezTo>
                  <a:pt x="2961" y="981"/>
                  <a:pt x="2961" y="980"/>
                  <a:pt x="2961" y="980"/>
                </a:cubicBezTo>
                <a:cubicBezTo>
                  <a:pt x="2961" y="978"/>
                  <a:pt x="2962" y="978"/>
                  <a:pt x="2961" y="976"/>
                </a:cubicBezTo>
                <a:cubicBezTo>
                  <a:pt x="2961" y="975"/>
                  <a:pt x="2961" y="975"/>
                  <a:pt x="2961" y="974"/>
                </a:cubicBezTo>
                <a:cubicBezTo>
                  <a:pt x="2961" y="974"/>
                  <a:pt x="2961" y="972"/>
                  <a:pt x="2960" y="973"/>
                </a:cubicBezTo>
                <a:cubicBezTo>
                  <a:pt x="2959" y="974"/>
                  <a:pt x="2960" y="977"/>
                  <a:pt x="2958" y="976"/>
                </a:cubicBezTo>
                <a:cubicBezTo>
                  <a:pt x="2957" y="976"/>
                  <a:pt x="2957" y="973"/>
                  <a:pt x="2957" y="972"/>
                </a:cubicBezTo>
                <a:cubicBezTo>
                  <a:pt x="2957" y="971"/>
                  <a:pt x="2957" y="970"/>
                  <a:pt x="2956" y="968"/>
                </a:cubicBezTo>
                <a:cubicBezTo>
                  <a:pt x="2955" y="967"/>
                  <a:pt x="2955" y="966"/>
                  <a:pt x="2955" y="964"/>
                </a:cubicBezTo>
                <a:cubicBezTo>
                  <a:pt x="2955" y="963"/>
                  <a:pt x="2956" y="962"/>
                  <a:pt x="2956" y="960"/>
                </a:cubicBezTo>
                <a:cubicBezTo>
                  <a:pt x="2957" y="959"/>
                  <a:pt x="2956" y="957"/>
                  <a:pt x="2956" y="956"/>
                </a:cubicBezTo>
                <a:cubicBezTo>
                  <a:pt x="2956" y="954"/>
                  <a:pt x="2957" y="952"/>
                  <a:pt x="2957" y="950"/>
                </a:cubicBezTo>
                <a:cubicBezTo>
                  <a:pt x="2958" y="948"/>
                  <a:pt x="2959" y="946"/>
                  <a:pt x="2958" y="945"/>
                </a:cubicBezTo>
                <a:cubicBezTo>
                  <a:pt x="2958" y="943"/>
                  <a:pt x="2958" y="942"/>
                  <a:pt x="2958" y="940"/>
                </a:cubicBezTo>
                <a:cubicBezTo>
                  <a:pt x="2958" y="939"/>
                  <a:pt x="2958" y="937"/>
                  <a:pt x="2957" y="936"/>
                </a:cubicBezTo>
                <a:cubicBezTo>
                  <a:pt x="2957" y="935"/>
                  <a:pt x="2957" y="935"/>
                  <a:pt x="2956" y="935"/>
                </a:cubicBezTo>
                <a:cubicBezTo>
                  <a:pt x="2956" y="934"/>
                  <a:pt x="2956" y="934"/>
                  <a:pt x="2956" y="933"/>
                </a:cubicBezTo>
                <a:cubicBezTo>
                  <a:pt x="2956" y="931"/>
                  <a:pt x="2955" y="930"/>
                  <a:pt x="2955" y="929"/>
                </a:cubicBezTo>
                <a:cubicBezTo>
                  <a:pt x="2955" y="928"/>
                  <a:pt x="2956" y="927"/>
                  <a:pt x="2956" y="928"/>
                </a:cubicBezTo>
                <a:cubicBezTo>
                  <a:pt x="2956" y="929"/>
                  <a:pt x="2956" y="930"/>
                  <a:pt x="2956" y="931"/>
                </a:cubicBezTo>
                <a:cubicBezTo>
                  <a:pt x="2957" y="931"/>
                  <a:pt x="2957" y="932"/>
                  <a:pt x="2958" y="932"/>
                </a:cubicBezTo>
                <a:cubicBezTo>
                  <a:pt x="2958" y="933"/>
                  <a:pt x="2958" y="934"/>
                  <a:pt x="2958" y="934"/>
                </a:cubicBezTo>
                <a:cubicBezTo>
                  <a:pt x="2958" y="935"/>
                  <a:pt x="2959" y="938"/>
                  <a:pt x="2959" y="938"/>
                </a:cubicBezTo>
                <a:cubicBezTo>
                  <a:pt x="2960" y="937"/>
                  <a:pt x="2959" y="935"/>
                  <a:pt x="2959" y="934"/>
                </a:cubicBezTo>
                <a:cubicBezTo>
                  <a:pt x="2959" y="933"/>
                  <a:pt x="2959" y="931"/>
                  <a:pt x="2958" y="930"/>
                </a:cubicBezTo>
                <a:cubicBezTo>
                  <a:pt x="2958" y="929"/>
                  <a:pt x="2957" y="928"/>
                  <a:pt x="2957" y="927"/>
                </a:cubicBezTo>
                <a:cubicBezTo>
                  <a:pt x="2956" y="925"/>
                  <a:pt x="2956" y="924"/>
                  <a:pt x="2955" y="923"/>
                </a:cubicBezTo>
                <a:cubicBezTo>
                  <a:pt x="2955" y="921"/>
                  <a:pt x="2954" y="920"/>
                  <a:pt x="2954" y="919"/>
                </a:cubicBezTo>
                <a:cubicBezTo>
                  <a:pt x="2953" y="918"/>
                  <a:pt x="2952" y="917"/>
                  <a:pt x="2952" y="916"/>
                </a:cubicBezTo>
                <a:cubicBezTo>
                  <a:pt x="2951" y="915"/>
                  <a:pt x="2951" y="913"/>
                  <a:pt x="2952" y="912"/>
                </a:cubicBezTo>
                <a:cubicBezTo>
                  <a:pt x="2952" y="911"/>
                  <a:pt x="2952" y="911"/>
                  <a:pt x="2952" y="911"/>
                </a:cubicBezTo>
                <a:cubicBezTo>
                  <a:pt x="2953" y="911"/>
                  <a:pt x="2953" y="910"/>
                  <a:pt x="2953" y="910"/>
                </a:cubicBezTo>
                <a:cubicBezTo>
                  <a:pt x="2953" y="909"/>
                  <a:pt x="2953" y="908"/>
                  <a:pt x="2953" y="908"/>
                </a:cubicBezTo>
                <a:cubicBezTo>
                  <a:pt x="2953" y="906"/>
                  <a:pt x="2953" y="905"/>
                  <a:pt x="2952" y="904"/>
                </a:cubicBezTo>
                <a:cubicBezTo>
                  <a:pt x="2951" y="903"/>
                  <a:pt x="2950" y="903"/>
                  <a:pt x="2950" y="901"/>
                </a:cubicBezTo>
                <a:cubicBezTo>
                  <a:pt x="2949" y="901"/>
                  <a:pt x="2948" y="899"/>
                  <a:pt x="2948" y="899"/>
                </a:cubicBezTo>
                <a:cubicBezTo>
                  <a:pt x="2946" y="899"/>
                  <a:pt x="2947" y="901"/>
                  <a:pt x="2946" y="902"/>
                </a:cubicBezTo>
                <a:cubicBezTo>
                  <a:pt x="2946" y="902"/>
                  <a:pt x="2945" y="902"/>
                  <a:pt x="2944" y="902"/>
                </a:cubicBezTo>
                <a:cubicBezTo>
                  <a:pt x="2944" y="902"/>
                  <a:pt x="2943" y="903"/>
                  <a:pt x="2942" y="903"/>
                </a:cubicBezTo>
                <a:cubicBezTo>
                  <a:pt x="2941" y="903"/>
                  <a:pt x="2940" y="902"/>
                  <a:pt x="2939" y="902"/>
                </a:cubicBezTo>
                <a:cubicBezTo>
                  <a:pt x="2939" y="903"/>
                  <a:pt x="2941" y="904"/>
                  <a:pt x="2942" y="905"/>
                </a:cubicBezTo>
                <a:cubicBezTo>
                  <a:pt x="2943" y="906"/>
                  <a:pt x="2945" y="908"/>
                  <a:pt x="2946" y="909"/>
                </a:cubicBezTo>
                <a:cubicBezTo>
                  <a:pt x="2946" y="910"/>
                  <a:pt x="2946" y="910"/>
                  <a:pt x="2946" y="910"/>
                </a:cubicBezTo>
                <a:cubicBezTo>
                  <a:pt x="2947" y="911"/>
                  <a:pt x="2948" y="911"/>
                  <a:pt x="2948" y="912"/>
                </a:cubicBezTo>
                <a:cubicBezTo>
                  <a:pt x="2948" y="913"/>
                  <a:pt x="2947" y="914"/>
                  <a:pt x="2947" y="914"/>
                </a:cubicBezTo>
                <a:cubicBezTo>
                  <a:pt x="2947" y="915"/>
                  <a:pt x="2947" y="915"/>
                  <a:pt x="2946" y="916"/>
                </a:cubicBezTo>
                <a:cubicBezTo>
                  <a:pt x="2946" y="916"/>
                  <a:pt x="2945" y="916"/>
                  <a:pt x="2945" y="916"/>
                </a:cubicBezTo>
                <a:cubicBezTo>
                  <a:pt x="2944" y="917"/>
                  <a:pt x="2947" y="918"/>
                  <a:pt x="2947" y="919"/>
                </a:cubicBezTo>
                <a:cubicBezTo>
                  <a:pt x="2948" y="919"/>
                  <a:pt x="2948" y="920"/>
                  <a:pt x="2947" y="920"/>
                </a:cubicBezTo>
                <a:cubicBezTo>
                  <a:pt x="2946" y="919"/>
                  <a:pt x="2946" y="918"/>
                  <a:pt x="2945" y="919"/>
                </a:cubicBezTo>
                <a:cubicBezTo>
                  <a:pt x="2945" y="920"/>
                  <a:pt x="2945" y="920"/>
                  <a:pt x="2944" y="921"/>
                </a:cubicBezTo>
                <a:cubicBezTo>
                  <a:pt x="2944" y="921"/>
                  <a:pt x="2943" y="922"/>
                  <a:pt x="2943" y="922"/>
                </a:cubicBezTo>
                <a:cubicBezTo>
                  <a:pt x="2942" y="924"/>
                  <a:pt x="2945" y="923"/>
                  <a:pt x="2946" y="923"/>
                </a:cubicBezTo>
                <a:cubicBezTo>
                  <a:pt x="2946" y="924"/>
                  <a:pt x="2945" y="924"/>
                  <a:pt x="2945" y="925"/>
                </a:cubicBezTo>
                <a:cubicBezTo>
                  <a:pt x="2944" y="925"/>
                  <a:pt x="2943" y="927"/>
                  <a:pt x="2942" y="927"/>
                </a:cubicBezTo>
                <a:cubicBezTo>
                  <a:pt x="2940" y="927"/>
                  <a:pt x="2939" y="927"/>
                  <a:pt x="2939" y="926"/>
                </a:cubicBezTo>
                <a:cubicBezTo>
                  <a:pt x="2938" y="924"/>
                  <a:pt x="2938" y="923"/>
                  <a:pt x="2936" y="923"/>
                </a:cubicBezTo>
                <a:cubicBezTo>
                  <a:pt x="2935" y="923"/>
                  <a:pt x="2935" y="924"/>
                  <a:pt x="2934" y="924"/>
                </a:cubicBezTo>
                <a:cubicBezTo>
                  <a:pt x="2933" y="925"/>
                  <a:pt x="2933" y="925"/>
                  <a:pt x="2932" y="925"/>
                </a:cubicBezTo>
                <a:cubicBezTo>
                  <a:pt x="2931" y="926"/>
                  <a:pt x="2929" y="926"/>
                  <a:pt x="2929" y="928"/>
                </a:cubicBezTo>
                <a:cubicBezTo>
                  <a:pt x="2929" y="929"/>
                  <a:pt x="2929" y="930"/>
                  <a:pt x="2930" y="932"/>
                </a:cubicBezTo>
                <a:cubicBezTo>
                  <a:pt x="2932" y="935"/>
                  <a:pt x="2930" y="939"/>
                  <a:pt x="2931" y="942"/>
                </a:cubicBezTo>
                <a:cubicBezTo>
                  <a:pt x="2931" y="943"/>
                  <a:pt x="2931" y="945"/>
                  <a:pt x="2931" y="946"/>
                </a:cubicBezTo>
                <a:cubicBezTo>
                  <a:pt x="2931" y="947"/>
                  <a:pt x="2930" y="947"/>
                  <a:pt x="2930" y="949"/>
                </a:cubicBezTo>
                <a:close/>
                <a:moveTo>
                  <a:pt x="2932" y="1261"/>
                </a:moveTo>
                <a:cubicBezTo>
                  <a:pt x="2931" y="1259"/>
                  <a:pt x="2931" y="1259"/>
                  <a:pt x="2930" y="1257"/>
                </a:cubicBezTo>
                <a:cubicBezTo>
                  <a:pt x="2929" y="1254"/>
                  <a:pt x="2927" y="1252"/>
                  <a:pt x="2926" y="1249"/>
                </a:cubicBezTo>
                <a:cubicBezTo>
                  <a:pt x="2926" y="1248"/>
                  <a:pt x="2925" y="1247"/>
                  <a:pt x="2924" y="1246"/>
                </a:cubicBezTo>
                <a:cubicBezTo>
                  <a:pt x="2923" y="1245"/>
                  <a:pt x="2923" y="1244"/>
                  <a:pt x="2922" y="1242"/>
                </a:cubicBezTo>
                <a:cubicBezTo>
                  <a:pt x="2922" y="1241"/>
                  <a:pt x="2921" y="1240"/>
                  <a:pt x="2921" y="1238"/>
                </a:cubicBezTo>
                <a:cubicBezTo>
                  <a:pt x="2921" y="1237"/>
                  <a:pt x="2922" y="1235"/>
                  <a:pt x="2922" y="1234"/>
                </a:cubicBezTo>
                <a:cubicBezTo>
                  <a:pt x="2922" y="1232"/>
                  <a:pt x="2921" y="1231"/>
                  <a:pt x="2922" y="1229"/>
                </a:cubicBezTo>
                <a:cubicBezTo>
                  <a:pt x="2923" y="1229"/>
                  <a:pt x="2923" y="1229"/>
                  <a:pt x="2923" y="1228"/>
                </a:cubicBezTo>
                <a:cubicBezTo>
                  <a:pt x="2924" y="1227"/>
                  <a:pt x="2923" y="1226"/>
                  <a:pt x="2922" y="1226"/>
                </a:cubicBezTo>
                <a:cubicBezTo>
                  <a:pt x="2921" y="1226"/>
                  <a:pt x="2920" y="1227"/>
                  <a:pt x="2918" y="1226"/>
                </a:cubicBezTo>
                <a:cubicBezTo>
                  <a:pt x="2918" y="1226"/>
                  <a:pt x="2918" y="1225"/>
                  <a:pt x="2917" y="1225"/>
                </a:cubicBezTo>
                <a:cubicBezTo>
                  <a:pt x="2916" y="1225"/>
                  <a:pt x="2915" y="1225"/>
                  <a:pt x="2915" y="1225"/>
                </a:cubicBezTo>
                <a:cubicBezTo>
                  <a:pt x="2914" y="1224"/>
                  <a:pt x="2912" y="1224"/>
                  <a:pt x="2912" y="1226"/>
                </a:cubicBezTo>
                <a:cubicBezTo>
                  <a:pt x="2911" y="1226"/>
                  <a:pt x="2912" y="1227"/>
                  <a:pt x="2911" y="1227"/>
                </a:cubicBezTo>
                <a:cubicBezTo>
                  <a:pt x="2911" y="1228"/>
                  <a:pt x="2910" y="1228"/>
                  <a:pt x="2910" y="1229"/>
                </a:cubicBezTo>
                <a:cubicBezTo>
                  <a:pt x="2910" y="1230"/>
                  <a:pt x="2910" y="1230"/>
                  <a:pt x="2910" y="1231"/>
                </a:cubicBezTo>
                <a:cubicBezTo>
                  <a:pt x="2910" y="1232"/>
                  <a:pt x="2909" y="1233"/>
                  <a:pt x="2909" y="1233"/>
                </a:cubicBezTo>
                <a:cubicBezTo>
                  <a:pt x="2910" y="1234"/>
                  <a:pt x="2910" y="1234"/>
                  <a:pt x="2911" y="1234"/>
                </a:cubicBezTo>
                <a:cubicBezTo>
                  <a:pt x="2912" y="1234"/>
                  <a:pt x="2912" y="1233"/>
                  <a:pt x="2912" y="1232"/>
                </a:cubicBezTo>
                <a:cubicBezTo>
                  <a:pt x="2913" y="1231"/>
                  <a:pt x="2915" y="1232"/>
                  <a:pt x="2916" y="1231"/>
                </a:cubicBezTo>
                <a:cubicBezTo>
                  <a:pt x="2917" y="1231"/>
                  <a:pt x="2917" y="1230"/>
                  <a:pt x="2918" y="1231"/>
                </a:cubicBezTo>
                <a:cubicBezTo>
                  <a:pt x="2922" y="1232"/>
                  <a:pt x="2918" y="1235"/>
                  <a:pt x="2918" y="1237"/>
                </a:cubicBezTo>
                <a:cubicBezTo>
                  <a:pt x="2918" y="1238"/>
                  <a:pt x="2917" y="1240"/>
                  <a:pt x="2915" y="1240"/>
                </a:cubicBezTo>
                <a:cubicBezTo>
                  <a:pt x="2915" y="1240"/>
                  <a:pt x="2914" y="1240"/>
                  <a:pt x="2913" y="1239"/>
                </a:cubicBezTo>
                <a:cubicBezTo>
                  <a:pt x="2913" y="1239"/>
                  <a:pt x="2912" y="1239"/>
                  <a:pt x="2911" y="1239"/>
                </a:cubicBezTo>
                <a:cubicBezTo>
                  <a:pt x="2910" y="1240"/>
                  <a:pt x="2910" y="1240"/>
                  <a:pt x="2909" y="1240"/>
                </a:cubicBezTo>
                <a:cubicBezTo>
                  <a:pt x="2908" y="1239"/>
                  <a:pt x="2908" y="1239"/>
                  <a:pt x="2908" y="1238"/>
                </a:cubicBezTo>
                <a:cubicBezTo>
                  <a:pt x="2908" y="1237"/>
                  <a:pt x="2906" y="1236"/>
                  <a:pt x="2906" y="1235"/>
                </a:cubicBezTo>
                <a:cubicBezTo>
                  <a:pt x="2907" y="1233"/>
                  <a:pt x="2907" y="1232"/>
                  <a:pt x="2905" y="1232"/>
                </a:cubicBezTo>
                <a:cubicBezTo>
                  <a:pt x="2904" y="1232"/>
                  <a:pt x="2903" y="1232"/>
                  <a:pt x="2903" y="1231"/>
                </a:cubicBezTo>
                <a:cubicBezTo>
                  <a:pt x="2902" y="1231"/>
                  <a:pt x="2902" y="1230"/>
                  <a:pt x="2901" y="1230"/>
                </a:cubicBezTo>
                <a:cubicBezTo>
                  <a:pt x="2900" y="1231"/>
                  <a:pt x="2902" y="1233"/>
                  <a:pt x="2902" y="1234"/>
                </a:cubicBezTo>
                <a:cubicBezTo>
                  <a:pt x="2902" y="1236"/>
                  <a:pt x="2901" y="1237"/>
                  <a:pt x="2900" y="1238"/>
                </a:cubicBezTo>
                <a:cubicBezTo>
                  <a:pt x="2899" y="1239"/>
                  <a:pt x="2897" y="1240"/>
                  <a:pt x="2896" y="1241"/>
                </a:cubicBezTo>
                <a:cubicBezTo>
                  <a:pt x="2894" y="1243"/>
                  <a:pt x="2890" y="1245"/>
                  <a:pt x="2892" y="1248"/>
                </a:cubicBezTo>
                <a:cubicBezTo>
                  <a:pt x="2893" y="1249"/>
                  <a:pt x="2894" y="1250"/>
                  <a:pt x="2893" y="1252"/>
                </a:cubicBezTo>
                <a:cubicBezTo>
                  <a:pt x="2893" y="1253"/>
                  <a:pt x="2892" y="1254"/>
                  <a:pt x="2892" y="1255"/>
                </a:cubicBezTo>
                <a:cubicBezTo>
                  <a:pt x="2891" y="1256"/>
                  <a:pt x="2892" y="1257"/>
                  <a:pt x="2891" y="1259"/>
                </a:cubicBezTo>
                <a:cubicBezTo>
                  <a:pt x="2891" y="1260"/>
                  <a:pt x="2890" y="1260"/>
                  <a:pt x="2889" y="1260"/>
                </a:cubicBezTo>
                <a:cubicBezTo>
                  <a:pt x="2889" y="1259"/>
                  <a:pt x="2888" y="1259"/>
                  <a:pt x="2888" y="1259"/>
                </a:cubicBezTo>
                <a:cubicBezTo>
                  <a:pt x="2888" y="1260"/>
                  <a:pt x="2889" y="1260"/>
                  <a:pt x="2889" y="1260"/>
                </a:cubicBezTo>
                <a:cubicBezTo>
                  <a:pt x="2889" y="1261"/>
                  <a:pt x="2890" y="1261"/>
                  <a:pt x="2890" y="1262"/>
                </a:cubicBezTo>
                <a:cubicBezTo>
                  <a:pt x="2890" y="1262"/>
                  <a:pt x="2890" y="1263"/>
                  <a:pt x="2890" y="1264"/>
                </a:cubicBezTo>
                <a:cubicBezTo>
                  <a:pt x="2892" y="1264"/>
                  <a:pt x="2891" y="1262"/>
                  <a:pt x="2893" y="1262"/>
                </a:cubicBezTo>
                <a:cubicBezTo>
                  <a:pt x="2894" y="1263"/>
                  <a:pt x="2894" y="1264"/>
                  <a:pt x="2894" y="1265"/>
                </a:cubicBezTo>
                <a:cubicBezTo>
                  <a:pt x="2895" y="1267"/>
                  <a:pt x="2895" y="1270"/>
                  <a:pt x="2894" y="1272"/>
                </a:cubicBezTo>
                <a:cubicBezTo>
                  <a:pt x="2892" y="1275"/>
                  <a:pt x="2891" y="1278"/>
                  <a:pt x="2890" y="1281"/>
                </a:cubicBezTo>
                <a:cubicBezTo>
                  <a:pt x="2890" y="1283"/>
                  <a:pt x="2889" y="1284"/>
                  <a:pt x="2889" y="1286"/>
                </a:cubicBezTo>
                <a:cubicBezTo>
                  <a:pt x="2888" y="1289"/>
                  <a:pt x="2886" y="1291"/>
                  <a:pt x="2885" y="1294"/>
                </a:cubicBezTo>
                <a:cubicBezTo>
                  <a:pt x="2884" y="1295"/>
                  <a:pt x="2884" y="1297"/>
                  <a:pt x="2884" y="1298"/>
                </a:cubicBezTo>
                <a:cubicBezTo>
                  <a:pt x="2883" y="1301"/>
                  <a:pt x="2882" y="1303"/>
                  <a:pt x="2880" y="1305"/>
                </a:cubicBezTo>
                <a:cubicBezTo>
                  <a:pt x="2879" y="1306"/>
                  <a:pt x="2877" y="1307"/>
                  <a:pt x="2876" y="1308"/>
                </a:cubicBezTo>
                <a:cubicBezTo>
                  <a:pt x="2875" y="1310"/>
                  <a:pt x="2874" y="1311"/>
                  <a:pt x="2872" y="1312"/>
                </a:cubicBezTo>
                <a:cubicBezTo>
                  <a:pt x="2871" y="1313"/>
                  <a:pt x="2870" y="1315"/>
                  <a:pt x="2868" y="1316"/>
                </a:cubicBezTo>
                <a:cubicBezTo>
                  <a:pt x="2867" y="1317"/>
                  <a:pt x="2866" y="1320"/>
                  <a:pt x="2864" y="1321"/>
                </a:cubicBezTo>
                <a:cubicBezTo>
                  <a:pt x="2863" y="1322"/>
                  <a:pt x="2861" y="1323"/>
                  <a:pt x="2859" y="1324"/>
                </a:cubicBezTo>
                <a:cubicBezTo>
                  <a:pt x="2858" y="1324"/>
                  <a:pt x="2858" y="1325"/>
                  <a:pt x="2857" y="1325"/>
                </a:cubicBezTo>
                <a:cubicBezTo>
                  <a:pt x="2855" y="1325"/>
                  <a:pt x="2854" y="1326"/>
                  <a:pt x="2853" y="1326"/>
                </a:cubicBezTo>
                <a:cubicBezTo>
                  <a:pt x="2852" y="1327"/>
                  <a:pt x="2850" y="1328"/>
                  <a:pt x="2849" y="1329"/>
                </a:cubicBezTo>
                <a:cubicBezTo>
                  <a:pt x="2847" y="1329"/>
                  <a:pt x="2846" y="1331"/>
                  <a:pt x="2845" y="1332"/>
                </a:cubicBezTo>
                <a:cubicBezTo>
                  <a:pt x="2844" y="1333"/>
                  <a:pt x="2842" y="1334"/>
                  <a:pt x="2840" y="1334"/>
                </a:cubicBezTo>
                <a:cubicBezTo>
                  <a:pt x="2840" y="1334"/>
                  <a:pt x="2839" y="1334"/>
                  <a:pt x="2838" y="1334"/>
                </a:cubicBezTo>
                <a:cubicBezTo>
                  <a:pt x="2838" y="1334"/>
                  <a:pt x="2837" y="1333"/>
                  <a:pt x="2837" y="1333"/>
                </a:cubicBezTo>
                <a:cubicBezTo>
                  <a:pt x="2836" y="1332"/>
                  <a:pt x="2836" y="1332"/>
                  <a:pt x="2836" y="1331"/>
                </a:cubicBezTo>
                <a:cubicBezTo>
                  <a:pt x="2836" y="1330"/>
                  <a:pt x="2836" y="1329"/>
                  <a:pt x="2836" y="1329"/>
                </a:cubicBezTo>
                <a:cubicBezTo>
                  <a:pt x="2836" y="1328"/>
                  <a:pt x="2836" y="1327"/>
                  <a:pt x="2836" y="1327"/>
                </a:cubicBezTo>
                <a:cubicBezTo>
                  <a:pt x="2835" y="1326"/>
                  <a:pt x="2834" y="1326"/>
                  <a:pt x="2833" y="1326"/>
                </a:cubicBezTo>
                <a:cubicBezTo>
                  <a:pt x="2833" y="1326"/>
                  <a:pt x="2832" y="1326"/>
                  <a:pt x="2832" y="1325"/>
                </a:cubicBezTo>
                <a:cubicBezTo>
                  <a:pt x="2832" y="1324"/>
                  <a:pt x="2833" y="1324"/>
                  <a:pt x="2834" y="1324"/>
                </a:cubicBezTo>
                <a:cubicBezTo>
                  <a:pt x="2835" y="1325"/>
                  <a:pt x="2835" y="1325"/>
                  <a:pt x="2836" y="1324"/>
                </a:cubicBezTo>
                <a:cubicBezTo>
                  <a:pt x="2837" y="1323"/>
                  <a:pt x="2837" y="1323"/>
                  <a:pt x="2838" y="1323"/>
                </a:cubicBezTo>
                <a:cubicBezTo>
                  <a:pt x="2839" y="1323"/>
                  <a:pt x="2839" y="1323"/>
                  <a:pt x="2840" y="1322"/>
                </a:cubicBezTo>
                <a:cubicBezTo>
                  <a:pt x="2840" y="1321"/>
                  <a:pt x="2840" y="1320"/>
                  <a:pt x="2840" y="1320"/>
                </a:cubicBezTo>
                <a:cubicBezTo>
                  <a:pt x="2840" y="1319"/>
                  <a:pt x="2841" y="1319"/>
                  <a:pt x="2841" y="1318"/>
                </a:cubicBezTo>
                <a:cubicBezTo>
                  <a:pt x="2841" y="1317"/>
                  <a:pt x="2841" y="1316"/>
                  <a:pt x="2840" y="1316"/>
                </a:cubicBezTo>
                <a:cubicBezTo>
                  <a:pt x="2839" y="1316"/>
                  <a:pt x="2838" y="1317"/>
                  <a:pt x="2838" y="1317"/>
                </a:cubicBezTo>
                <a:cubicBezTo>
                  <a:pt x="2837" y="1318"/>
                  <a:pt x="2836" y="1318"/>
                  <a:pt x="2836" y="1318"/>
                </a:cubicBezTo>
                <a:cubicBezTo>
                  <a:pt x="2835" y="1318"/>
                  <a:pt x="2834" y="1320"/>
                  <a:pt x="2833" y="1320"/>
                </a:cubicBezTo>
                <a:cubicBezTo>
                  <a:pt x="2832" y="1320"/>
                  <a:pt x="2831" y="1320"/>
                  <a:pt x="2830" y="1321"/>
                </a:cubicBezTo>
                <a:cubicBezTo>
                  <a:pt x="2830" y="1321"/>
                  <a:pt x="2830" y="1322"/>
                  <a:pt x="2830" y="1322"/>
                </a:cubicBezTo>
                <a:cubicBezTo>
                  <a:pt x="2830" y="1323"/>
                  <a:pt x="2829" y="1325"/>
                  <a:pt x="2829" y="1326"/>
                </a:cubicBezTo>
                <a:cubicBezTo>
                  <a:pt x="2830" y="1327"/>
                  <a:pt x="2831" y="1328"/>
                  <a:pt x="2831" y="1329"/>
                </a:cubicBezTo>
                <a:cubicBezTo>
                  <a:pt x="2831" y="1330"/>
                  <a:pt x="2830" y="1332"/>
                  <a:pt x="2830" y="1333"/>
                </a:cubicBezTo>
                <a:cubicBezTo>
                  <a:pt x="2829" y="1334"/>
                  <a:pt x="2828" y="1335"/>
                  <a:pt x="2827" y="1336"/>
                </a:cubicBezTo>
                <a:cubicBezTo>
                  <a:pt x="2827" y="1336"/>
                  <a:pt x="2826" y="1337"/>
                  <a:pt x="2826" y="1337"/>
                </a:cubicBezTo>
                <a:cubicBezTo>
                  <a:pt x="2825" y="1338"/>
                  <a:pt x="2825" y="1338"/>
                  <a:pt x="2824" y="1339"/>
                </a:cubicBezTo>
                <a:cubicBezTo>
                  <a:pt x="2824" y="1341"/>
                  <a:pt x="2823" y="1341"/>
                  <a:pt x="2822" y="1342"/>
                </a:cubicBezTo>
                <a:cubicBezTo>
                  <a:pt x="2821" y="1343"/>
                  <a:pt x="2820" y="1344"/>
                  <a:pt x="2820" y="1344"/>
                </a:cubicBezTo>
                <a:cubicBezTo>
                  <a:pt x="2819" y="1345"/>
                  <a:pt x="2819" y="1346"/>
                  <a:pt x="2818" y="1347"/>
                </a:cubicBezTo>
                <a:cubicBezTo>
                  <a:pt x="2817" y="1348"/>
                  <a:pt x="2816" y="1349"/>
                  <a:pt x="2816" y="1350"/>
                </a:cubicBezTo>
                <a:cubicBezTo>
                  <a:pt x="2816" y="1351"/>
                  <a:pt x="2816" y="1352"/>
                  <a:pt x="2816" y="1353"/>
                </a:cubicBezTo>
                <a:cubicBezTo>
                  <a:pt x="2816" y="1354"/>
                  <a:pt x="2816" y="1355"/>
                  <a:pt x="2816" y="1355"/>
                </a:cubicBezTo>
                <a:cubicBezTo>
                  <a:pt x="2816" y="1356"/>
                  <a:pt x="2817" y="1356"/>
                  <a:pt x="2817" y="1357"/>
                </a:cubicBezTo>
                <a:cubicBezTo>
                  <a:pt x="2817" y="1359"/>
                  <a:pt x="2815" y="1358"/>
                  <a:pt x="2814" y="1359"/>
                </a:cubicBezTo>
                <a:cubicBezTo>
                  <a:pt x="2812" y="1360"/>
                  <a:pt x="2812" y="1362"/>
                  <a:pt x="2811" y="1362"/>
                </a:cubicBezTo>
                <a:cubicBezTo>
                  <a:pt x="2810" y="1363"/>
                  <a:pt x="2809" y="1363"/>
                  <a:pt x="2808" y="1363"/>
                </a:cubicBezTo>
                <a:cubicBezTo>
                  <a:pt x="2807" y="1363"/>
                  <a:pt x="2807" y="1363"/>
                  <a:pt x="2807" y="1362"/>
                </a:cubicBezTo>
                <a:cubicBezTo>
                  <a:pt x="2806" y="1362"/>
                  <a:pt x="2805" y="1362"/>
                  <a:pt x="2804" y="1362"/>
                </a:cubicBezTo>
                <a:cubicBezTo>
                  <a:pt x="2804" y="1362"/>
                  <a:pt x="2804" y="1363"/>
                  <a:pt x="2803" y="1363"/>
                </a:cubicBezTo>
                <a:cubicBezTo>
                  <a:pt x="2802" y="1363"/>
                  <a:pt x="2802" y="1363"/>
                  <a:pt x="2801" y="1362"/>
                </a:cubicBezTo>
                <a:cubicBezTo>
                  <a:pt x="2801" y="1361"/>
                  <a:pt x="2800" y="1361"/>
                  <a:pt x="2800" y="1360"/>
                </a:cubicBezTo>
                <a:cubicBezTo>
                  <a:pt x="2800" y="1359"/>
                  <a:pt x="2803" y="1358"/>
                  <a:pt x="2802" y="1357"/>
                </a:cubicBezTo>
                <a:cubicBezTo>
                  <a:pt x="2801" y="1356"/>
                  <a:pt x="2798" y="1356"/>
                  <a:pt x="2797" y="1357"/>
                </a:cubicBezTo>
                <a:cubicBezTo>
                  <a:pt x="2796" y="1358"/>
                  <a:pt x="2796" y="1359"/>
                  <a:pt x="2794" y="1360"/>
                </a:cubicBezTo>
                <a:cubicBezTo>
                  <a:pt x="2792" y="1360"/>
                  <a:pt x="2791" y="1359"/>
                  <a:pt x="2789" y="1359"/>
                </a:cubicBezTo>
                <a:cubicBezTo>
                  <a:pt x="2788" y="1360"/>
                  <a:pt x="2787" y="1361"/>
                  <a:pt x="2785" y="1361"/>
                </a:cubicBezTo>
                <a:cubicBezTo>
                  <a:pt x="2783" y="1360"/>
                  <a:pt x="2781" y="1360"/>
                  <a:pt x="2779" y="1360"/>
                </a:cubicBezTo>
                <a:cubicBezTo>
                  <a:pt x="2776" y="1360"/>
                  <a:pt x="2773" y="1361"/>
                  <a:pt x="2769" y="1361"/>
                </a:cubicBezTo>
                <a:cubicBezTo>
                  <a:pt x="2768" y="1361"/>
                  <a:pt x="2766" y="1360"/>
                  <a:pt x="2765" y="1361"/>
                </a:cubicBezTo>
                <a:cubicBezTo>
                  <a:pt x="2762" y="1362"/>
                  <a:pt x="2760" y="1362"/>
                  <a:pt x="2757" y="1362"/>
                </a:cubicBezTo>
                <a:cubicBezTo>
                  <a:pt x="2756" y="1362"/>
                  <a:pt x="2755" y="1364"/>
                  <a:pt x="2753" y="1364"/>
                </a:cubicBezTo>
                <a:cubicBezTo>
                  <a:pt x="2752" y="1364"/>
                  <a:pt x="2750" y="1363"/>
                  <a:pt x="2750" y="1364"/>
                </a:cubicBezTo>
                <a:cubicBezTo>
                  <a:pt x="2749" y="1366"/>
                  <a:pt x="2750" y="1367"/>
                  <a:pt x="2749" y="1368"/>
                </a:cubicBezTo>
                <a:cubicBezTo>
                  <a:pt x="2747" y="1369"/>
                  <a:pt x="2746" y="1369"/>
                  <a:pt x="2744" y="1370"/>
                </a:cubicBezTo>
                <a:cubicBezTo>
                  <a:pt x="2743" y="1371"/>
                  <a:pt x="2742" y="1373"/>
                  <a:pt x="2741" y="1374"/>
                </a:cubicBezTo>
                <a:cubicBezTo>
                  <a:pt x="2739" y="1374"/>
                  <a:pt x="2738" y="1375"/>
                  <a:pt x="2736" y="1376"/>
                </a:cubicBezTo>
                <a:cubicBezTo>
                  <a:pt x="2735" y="1377"/>
                  <a:pt x="2734" y="1378"/>
                  <a:pt x="2732" y="1379"/>
                </a:cubicBezTo>
                <a:cubicBezTo>
                  <a:pt x="2731" y="1380"/>
                  <a:pt x="2730" y="1381"/>
                  <a:pt x="2728" y="1382"/>
                </a:cubicBezTo>
                <a:cubicBezTo>
                  <a:pt x="2727" y="1382"/>
                  <a:pt x="2725" y="1384"/>
                  <a:pt x="2725" y="1385"/>
                </a:cubicBezTo>
                <a:cubicBezTo>
                  <a:pt x="2724" y="1387"/>
                  <a:pt x="2723" y="1387"/>
                  <a:pt x="2721" y="1387"/>
                </a:cubicBezTo>
                <a:cubicBezTo>
                  <a:pt x="2720" y="1387"/>
                  <a:pt x="2720" y="1388"/>
                  <a:pt x="2719" y="1387"/>
                </a:cubicBezTo>
                <a:cubicBezTo>
                  <a:pt x="2718" y="1387"/>
                  <a:pt x="2718" y="1386"/>
                  <a:pt x="2718" y="1386"/>
                </a:cubicBezTo>
                <a:cubicBezTo>
                  <a:pt x="2716" y="1385"/>
                  <a:pt x="2715" y="1387"/>
                  <a:pt x="2715" y="1388"/>
                </a:cubicBezTo>
                <a:cubicBezTo>
                  <a:pt x="2713" y="1390"/>
                  <a:pt x="2716" y="1390"/>
                  <a:pt x="2715" y="1391"/>
                </a:cubicBezTo>
                <a:cubicBezTo>
                  <a:pt x="2715" y="1392"/>
                  <a:pt x="2714" y="1392"/>
                  <a:pt x="2714" y="1393"/>
                </a:cubicBezTo>
                <a:cubicBezTo>
                  <a:pt x="2714" y="1394"/>
                  <a:pt x="2714" y="1394"/>
                  <a:pt x="2715" y="1395"/>
                </a:cubicBezTo>
                <a:cubicBezTo>
                  <a:pt x="2715" y="1396"/>
                  <a:pt x="2714" y="1398"/>
                  <a:pt x="2716" y="1398"/>
                </a:cubicBezTo>
                <a:cubicBezTo>
                  <a:pt x="2717" y="1397"/>
                  <a:pt x="2718" y="1397"/>
                  <a:pt x="2720" y="1397"/>
                </a:cubicBezTo>
                <a:cubicBezTo>
                  <a:pt x="2721" y="1397"/>
                  <a:pt x="2723" y="1396"/>
                  <a:pt x="2724" y="1396"/>
                </a:cubicBezTo>
                <a:cubicBezTo>
                  <a:pt x="2726" y="1397"/>
                  <a:pt x="2727" y="1398"/>
                  <a:pt x="2728" y="1397"/>
                </a:cubicBezTo>
                <a:cubicBezTo>
                  <a:pt x="2729" y="1396"/>
                  <a:pt x="2730" y="1396"/>
                  <a:pt x="2730" y="1396"/>
                </a:cubicBezTo>
                <a:cubicBezTo>
                  <a:pt x="2731" y="1396"/>
                  <a:pt x="2732" y="1396"/>
                  <a:pt x="2732" y="1396"/>
                </a:cubicBezTo>
                <a:cubicBezTo>
                  <a:pt x="2733" y="1397"/>
                  <a:pt x="2734" y="1397"/>
                  <a:pt x="2735" y="1397"/>
                </a:cubicBezTo>
                <a:cubicBezTo>
                  <a:pt x="2736" y="1397"/>
                  <a:pt x="2736" y="1398"/>
                  <a:pt x="2737" y="1398"/>
                </a:cubicBezTo>
                <a:cubicBezTo>
                  <a:pt x="2737" y="1398"/>
                  <a:pt x="2737" y="1399"/>
                  <a:pt x="2738" y="1399"/>
                </a:cubicBezTo>
                <a:cubicBezTo>
                  <a:pt x="2739" y="1399"/>
                  <a:pt x="2739" y="1397"/>
                  <a:pt x="2739" y="1396"/>
                </a:cubicBezTo>
                <a:cubicBezTo>
                  <a:pt x="2739" y="1396"/>
                  <a:pt x="2740" y="1395"/>
                  <a:pt x="2740" y="1395"/>
                </a:cubicBezTo>
                <a:cubicBezTo>
                  <a:pt x="2740" y="1394"/>
                  <a:pt x="2740" y="1393"/>
                  <a:pt x="2740" y="1393"/>
                </a:cubicBezTo>
                <a:cubicBezTo>
                  <a:pt x="2740" y="1392"/>
                  <a:pt x="2741" y="1392"/>
                  <a:pt x="2741" y="1391"/>
                </a:cubicBezTo>
                <a:cubicBezTo>
                  <a:pt x="2742" y="1390"/>
                  <a:pt x="2742" y="1390"/>
                  <a:pt x="2742" y="1389"/>
                </a:cubicBezTo>
                <a:cubicBezTo>
                  <a:pt x="2742" y="1388"/>
                  <a:pt x="2745" y="1388"/>
                  <a:pt x="2746" y="1389"/>
                </a:cubicBezTo>
                <a:cubicBezTo>
                  <a:pt x="2746" y="1389"/>
                  <a:pt x="2746" y="1390"/>
                  <a:pt x="2747" y="1390"/>
                </a:cubicBezTo>
                <a:cubicBezTo>
                  <a:pt x="2748" y="1391"/>
                  <a:pt x="2748" y="1391"/>
                  <a:pt x="2749" y="1391"/>
                </a:cubicBezTo>
                <a:cubicBezTo>
                  <a:pt x="2749" y="1392"/>
                  <a:pt x="2750" y="1392"/>
                  <a:pt x="2751" y="1392"/>
                </a:cubicBezTo>
                <a:cubicBezTo>
                  <a:pt x="2752" y="1392"/>
                  <a:pt x="2752" y="1391"/>
                  <a:pt x="2753" y="1391"/>
                </a:cubicBezTo>
                <a:cubicBezTo>
                  <a:pt x="2754" y="1391"/>
                  <a:pt x="2754" y="1391"/>
                  <a:pt x="2755" y="1391"/>
                </a:cubicBezTo>
                <a:cubicBezTo>
                  <a:pt x="2757" y="1391"/>
                  <a:pt x="2757" y="1390"/>
                  <a:pt x="2758" y="1389"/>
                </a:cubicBezTo>
                <a:cubicBezTo>
                  <a:pt x="2760" y="1389"/>
                  <a:pt x="2761" y="1388"/>
                  <a:pt x="2762" y="1387"/>
                </a:cubicBezTo>
                <a:cubicBezTo>
                  <a:pt x="2763" y="1387"/>
                  <a:pt x="2764" y="1385"/>
                  <a:pt x="2765" y="1385"/>
                </a:cubicBezTo>
                <a:cubicBezTo>
                  <a:pt x="2767" y="1385"/>
                  <a:pt x="2768" y="1386"/>
                  <a:pt x="2769" y="1386"/>
                </a:cubicBezTo>
                <a:cubicBezTo>
                  <a:pt x="2771" y="1386"/>
                  <a:pt x="2772" y="1387"/>
                  <a:pt x="2773" y="1386"/>
                </a:cubicBezTo>
                <a:cubicBezTo>
                  <a:pt x="2774" y="1386"/>
                  <a:pt x="2774" y="1385"/>
                  <a:pt x="2774" y="1384"/>
                </a:cubicBezTo>
                <a:cubicBezTo>
                  <a:pt x="2774" y="1384"/>
                  <a:pt x="2775" y="1383"/>
                  <a:pt x="2775" y="1383"/>
                </a:cubicBezTo>
                <a:cubicBezTo>
                  <a:pt x="2776" y="1383"/>
                  <a:pt x="2776" y="1382"/>
                  <a:pt x="2777" y="1382"/>
                </a:cubicBezTo>
                <a:cubicBezTo>
                  <a:pt x="2777" y="1381"/>
                  <a:pt x="2778" y="1381"/>
                  <a:pt x="2779" y="1380"/>
                </a:cubicBezTo>
                <a:cubicBezTo>
                  <a:pt x="2780" y="1380"/>
                  <a:pt x="2782" y="1380"/>
                  <a:pt x="2783" y="1380"/>
                </a:cubicBezTo>
                <a:cubicBezTo>
                  <a:pt x="2785" y="1381"/>
                  <a:pt x="2786" y="1381"/>
                  <a:pt x="2788" y="1380"/>
                </a:cubicBezTo>
                <a:cubicBezTo>
                  <a:pt x="2791" y="1380"/>
                  <a:pt x="2794" y="1380"/>
                  <a:pt x="2797" y="1380"/>
                </a:cubicBezTo>
                <a:cubicBezTo>
                  <a:pt x="2798" y="1380"/>
                  <a:pt x="2800" y="1381"/>
                  <a:pt x="2801" y="1381"/>
                </a:cubicBezTo>
                <a:cubicBezTo>
                  <a:pt x="2802" y="1381"/>
                  <a:pt x="2803" y="1381"/>
                  <a:pt x="2803" y="1381"/>
                </a:cubicBezTo>
                <a:cubicBezTo>
                  <a:pt x="2804" y="1380"/>
                  <a:pt x="2805" y="1380"/>
                  <a:pt x="2805" y="1381"/>
                </a:cubicBezTo>
                <a:cubicBezTo>
                  <a:pt x="2805" y="1382"/>
                  <a:pt x="2804" y="1382"/>
                  <a:pt x="2804" y="1383"/>
                </a:cubicBezTo>
                <a:cubicBezTo>
                  <a:pt x="2804" y="1384"/>
                  <a:pt x="2803" y="1384"/>
                  <a:pt x="2803" y="1385"/>
                </a:cubicBezTo>
                <a:cubicBezTo>
                  <a:pt x="2802" y="1385"/>
                  <a:pt x="2801" y="1386"/>
                  <a:pt x="2800" y="1387"/>
                </a:cubicBezTo>
                <a:cubicBezTo>
                  <a:pt x="2799" y="1388"/>
                  <a:pt x="2798" y="1388"/>
                  <a:pt x="2798" y="1389"/>
                </a:cubicBezTo>
                <a:cubicBezTo>
                  <a:pt x="2798" y="1390"/>
                  <a:pt x="2798" y="1391"/>
                  <a:pt x="2798" y="1392"/>
                </a:cubicBezTo>
                <a:cubicBezTo>
                  <a:pt x="2798" y="1392"/>
                  <a:pt x="2798" y="1392"/>
                  <a:pt x="2798" y="1393"/>
                </a:cubicBezTo>
                <a:cubicBezTo>
                  <a:pt x="2798" y="1393"/>
                  <a:pt x="2798" y="1394"/>
                  <a:pt x="2798" y="1394"/>
                </a:cubicBezTo>
                <a:cubicBezTo>
                  <a:pt x="2798" y="1395"/>
                  <a:pt x="2796" y="1397"/>
                  <a:pt x="2798" y="1398"/>
                </a:cubicBezTo>
                <a:cubicBezTo>
                  <a:pt x="2798" y="1399"/>
                  <a:pt x="2799" y="1399"/>
                  <a:pt x="2799" y="1399"/>
                </a:cubicBezTo>
                <a:cubicBezTo>
                  <a:pt x="2800" y="1400"/>
                  <a:pt x="2800" y="1400"/>
                  <a:pt x="2801" y="1401"/>
                </a:cubicBezTo>
                <a:cubicBezTo>
                  <a:pt x="2801" y="1401"/>
                  <a:pt x="2804" y="1402"/>
                  <a:pt x="2802" y="1403"/>
                </a:cubicBezTo>
                <a:cubicBezTo>
                  <a:pt x="2802" y="1405"/>
                  <a:pt x="2805" y="1406"/>
                  <a:pt x="2806" y="1406"/>
                </a:cubicBezTo>
                <a:cubicBezTo>
                  <a:pt x="2807" y="1406"/>
                  <a:pt x="2808" y="1406"/>
                  <a:pt x="2808" y="1407"/>
                </a:cubicBezTo>
                <a:cubicBezTo>
                  <a:pt x="2809" y="1408"/>
                  <a:pt x="2809" y="1409"/>
                  <a:pt x="2811" y="1408"/>
                </a:cubicBezTo>
                <a:cubicBezTo>
                  <a:pt x="2812" y="1408"/>
                  <a:pt x="2812" y="1406"/>
                  <a:pt x="2813" y="1405"/>
                </a:cubicBezTo>
                <a:cubicBezTo>
                  <a:pt x="2815" y="1404"/>
                  <a:pt x="2817" y="1403"/>
                  <a:pt x="2818" y="1400"/>
                </a:cubicBezTo>
                <a:cubicBezTo>
                  <a:pt x="2818" y="1399"/>
                  <a:pt x="2819" y="1398"/>
                  <a:pt x="2820" y="1397"/>
                </a:cubicBezTo>
                <a:cubicBezTo>
                  <a:pt x="2821" y="1396"/>
                  <a:pt x="2822" y="1395"/>
                  <a:pt x="2823" y="1393"/>
                </a:cubicBezTo>
                <a:cubicBezTo>
                  <a:pt x="2824" y="1391"/>
                  <a:pt x="2827" y="1389"/>
                  <a:pt x="2830" y="1389"/>
                </a:cubicBezTo>
                <a:cubicBezTo>
                  <a:pt x="2831" y="1389"/>
                  <a:pt x="2831" y="1390"/>
                  <a:pt x="2832" y="1390"/>
                </a:cubicBezTo>
                <a:cubicBezTo>
                  <a:pt x="2833" y="1390"/>
                  <a:pt x="2833" y="1390"/>
                  <a:pt x="2833" y="1389"/>
                </a:cubicBezTo>
                <a:cubicBezTo>
                  <a:pt x="2832" y="1388"/>
                  <a:pt x="2831" y="1387"/>
                  <a:pt x="2830" y="1386"/>
                </a:cubicBezTo>
                <a:cubicBezTo>
                  <a:pt x="2829" y="1384"/>
                  <a:pt x="2829" y="1383"/>
                  <a:pt x="2828" y="1382"/>
                </a:cubicBezTo>
                <a:cubicBezTo>
                  <a:pt x="2826" y="1381"/>
                  <a:pt x="2826" y="1380"/>
                  <a:pt x="2827" y="1379"/>
                </a:cubicBezTo>
                <a:cubicBezTo>
                  <a:pt x="2827" y="1378"/>
                  <a:pt x="2828" y="1378"/>
                  <a:pt x="2828" y="1377"/>
                </a:cubicBezTo>
                <a:cubicBezTo>
                  <a:pt x="2829" y="1376"/>
                  <a:pt x="2828" y="1375"/>
                  <a:pt x="2829" y="1374"/>
                </a:cubicBezTo>
                <a:cubicBezTo>
                  <a:pt x="2829" y="1374"/>
                  <a:pt x="2832" y="1372"/>
                  <a:pt x="2832" y="1372"/>
                </a:cubicBezTo>
                <a:cubicBezTo>
                  <a:pt x="2833" y="1373"/>
                  <a:pt x="2832" y="1374"/>
                  <a:pt x="2832" y="1374"/>
                </a:cubicBezTo>
                <a:cubicBezTo>
                  <a:pt x="2831" y="1375"/>
                  <a:pt x="2831" y="1375"/>
                  <a:pt x="2831" y="1376"/>
                </a:cubicBezTo>
                <a:cubicBezTo>
                  <a:pt x="2832" y="1377"/>
                  <a:pt x="2832" y="1377"/>
                  <a:pt x="2832" y="1378"/>
                </a:cubicBezTo>
                <a:cubicBezTo>
                  <a:pt x="2832" y="1379"/>
                  <a:pt x="2832" y="1380"/>
                  <a:pt x="2833" y="1380"/>
                </a:cubicBezTo>
                <a:cubicBezTo>
                  <a:pt x="2833" y="1379"/>
                  <a:pt x="2833" y="1379"/>
                  <a:pt x="2833" y="1379"/>
                </a:cubicBezTo>
                <a:cubicBezTo>
                  <a:pt x="2833" y="1379"/>
                  <a:pt x="2833" y="1377"/>
                  <a:pt x="2833" y="1377"/>
                </a:cubicBezTo>
                <a:cubicBezTo>
                  <a:pt x="2834" y="1376"/>
                  <a:pt x="2834" y="1377"/>
                  <a:pt x="2835" y="1377"/>
                </a:cubicBezTo>
                <a:cubicBezTo>
                  <a:pt x="2835" y="1378"/>
                  <a:pt x="2835" y="1379"/>
                  <a:pt x="2836" y="1379"/>
                </a:cubicBezTo>
                <a:cubicBezTo>
                  <a:pt x="2836" y="1379"/>
                  <a:pt x="2837" y="1379"/>
                  <a:pt x="2837" y="1380"/>
                </a:cubicBezTo>
                <a:cubicBezTo>
                  <a:pt x="2838" y="1380"/>
                  <a:pt x="2838" y="1381"/>
                  <a:pt x="2837" y="1382"/>
                </a:cubicBezTo>
                <a:cubicBezTo>
                  <a:pt x="2837" y="1382"/>
                  <a:pt x="2835" y="1381"/>
                  <a:pt x="2835" y="1382"/>
                </a:cubicBezTo>
                <a:cubicBezTo>
                  <a:pt x="2834" y="1383"/>
                  <a:pt x="2838" y="1383"/>
                  <a:pt x="2839" y="1383"/>
                </a:cubicBezTo>
                <a:cubicBezTo>
                  <a:pt x="2839" y="1383"/>
                  <a:pt x="2840" y="1382"/>
                  <a:pt x="2840" y="1382"/>
                </a:cubicBezTo>
                <a:cubicBezTo>
                  <a:pt x="2841" y="1382"/>
                  <a:pt x="2842" y="1382"/>
                  <a:pt x="2843" y="1382"/>
                </a:cubicBezTo>
                <a:cubicBezTo>
                  <a:pt x="2844" y="1381"/>
                  <a:pt x="2844" y="1382"/>
                  <a:pt x="2845" y="1382"/>
                </a:cubicBezTo>
                <a:cubicBezTo>
                  <a:pt x="2846" y="1381"/>
                  <a:pt x="2846" y="1381"/>
                  <a:pt x="2847" y="1381"/>
                </a:cubicBezTo>
                <a:cubicBezTo>
                  <a:pt x="2848" y="1381"/>
                  <a:pt x="2850" y="1381"/>
                  <a:pt x="2852" y="1380"/>
                </a:cubicBezTo>
                <a:cubicBezTo>
                  <a:pt x="2854" y="1380"/>
                  <a:pt x="2856" y="1381"/>
                  <a:pt x="2858" y="1380"/>
                </a:cubicBezTo>
                <a:cubicBezTo>
                  <a:pt x="2859" y="1379"/>
                  <a:pt x="2859" y="1379"/>
                  <a:pt x="2861" y="1379"/>
                </a:cubicBezTo>
                <a:cubicBezTo>
                  <a:pt x="2862" y="1379"/>
                  <a:pt x="2862" y="1377"/>
                  <a:pt x="2863" y="1376"/>
                </a:cubicBezTo>
                <a:cubicBezTo>
                  <a:pt x="2863" y="1375"/>
                  <a:pt x="2865" y="1375"/>
                  <a:pt x="2865" y="1373"/>
                </a:cubicBezTo>
                <a:cubicBezTo>
                  <a:pt x="2866" y="1371"/>
                  <a:pt x="2867" y="1371"/>
                  <a:pt x="2868" y="1371"/>
                </a:cubicBezTo>
                <a:cubicBezTo>
                  <a:pt x="2869" y="1371"/>
                  <a:pt x="2870" y="1371"/>
                  <a:pt x="2871" y="1371"/>
                </a:cubicBezTo>
                <a:cubicBezTo>
                  <a:pt x="2871" y="1371"/>
                  <a:pt x="2871" y="1372"/>
                  <a:pt x="2871" y="1372"/>
                </a:cubicBezTo>
                <a:cubicBezTo>
                  <a:pt x="2871" y="1372"/>
                  <a:pt x="2871" y="1372"/>
                  <a:pt x="2872" y="1373"/>
                </a:cubicBezTo>
                <a:cubicBezTo>
                  <a:pt x="2872" y="1373"/>
                  <a:pt x="2873" y="1373"/>
                  <a:pt x="2872" y="1374"/>
                </a:cubicBezTo>
                <a:cubicBezTo>
                  <a:pt x="2872" y="1374"/>
                  <a:pt x="2871" y="1374"/>
                  <a:pt x="2871" y="1375"/>
                </a:cubicBezTo>
                <a:cubicBezTo>
                  <a:pt x="2870" y="1376"/>
                  <a:pt x="2870" y="1376"/>
                  <a:pt x="2870" y="1377"/>
                </a:cubicBezTo>
                <a:cubicBezTo>
                  <a:pt x="2870" y="1378"/>
                  <a:pt x="2870" y="1379"/>
                  <a:pt x="2870" y="1379"/>
                </a:cubicBezTo>
                <a:cubicBezTo>
                  <a:pt x="2870" y="1380"/>
                  <a:pt x="2869" y="1380"/>
                  <a:pt x="2869" y="1381"/>
                </a:cubicBezTo>
                <a:cubicBezTo>
                  <a:pt x="2869" y="1382"/>
                  <a:pt x="2870" y="1382"/>
                  <a:pt x="2871" y="1382"/>
                </a:cubicBezTo>
                <a:cubicBezTo>
                  <a:pt x="2871" y="1383"/>
                  <a:pt x="2871" y="1384"/>
                  <a:pt x="2871" y="1384"/>
                </a:cubicBezTo>
                <a:cubicBezTo>
                  <a:pt x="2872" y="1385"/>
                  <a:pt x="2874" y="1383"/>
                  <a:pt x="2874" y="1382"/>
                </a:cubicBezTo>
                <a:cubicBezTo>
                  <a:pt x="2875" y="1381"/>
                  <a:pt x="2875" y="1380"/>
                  <a:pt x="2876" y="1379"/>
                </a:cubicBezTo>
                <a:cubicBezTo>
                  <a:pt x="2876" y="1379"/>
                  <a:pt x="2877" y="1378"/>
                  <a:pt x="2877" y="1377"/>
                </a:cubicBezTo>
                <a:cubicBezTo>
                  <a:pt x="2877" y="1377"/>
                  <a:pt x="2877" y="1376"/>
                  <a:pt x="2877" y="1375"/>
                </a:cubicBezTo>
                <a:cubicBezTo>
                  <a:pt x="2877" y="1375"/>
                  <a:pt x="2876" y="1374"/>
                  <a:pt x="2876" y="1373"/>
                </a:cubicBezTo>
                <a:cubicBezTo>
                  <a:pt x="2876" y="1372"/>
                  <a:pt x="2877" y="1372"/>
                  <a:pt x="2877" y="1372"/>
                </a:cubicBezTo>
                <a:cubicBezTo>
                  <a:pt x="2878" y="1371"/>
                  <a:pt x="2877" y="1369"/>
                  <a:pt x="2879" y="1368"/>
                </a:cubicBezTo>
                <a:cubicBezTo>
                  <a:pt x="2880" y="1367"/>
                  <a:pt x="2881" y="1367"/>
                  <a:pt x="2883" y="1367"/>
                </a:cubicBezTo>
                <a:cubicBezTo>
                  <a:pt x="2884" y="1367"/>
                  <a:pt x="2885" y="1367"/>
                  <a:pt x="2886" y="1368"/>
                </a:cubicBezTo>
                <a:cubicBezTo>
                  <a:pt x="2886" y="1369"/>
                  <a:pt x="2887" y="1371"/>
                  <a:pt x="2887" y="1370"/>
                </a:cubicBezTo>
                <a:cubicBezTo>
                  <a:pt x="2887" y="1370"/>
                  <a:pt x="2887" y="1369"/>
                  <a:pt x="2887" y="1369"/>
                </a:cubicBezTo>
                <a:cubicBezTo>
                  <a:pt x="2887" y="1369"/>
                  <a:pt x="2888" y="1368"/>
                  <a:pt x="2888" y="1368"/>
                </a:cubicBezTo>
                <a:cubicBezTo>
                  <a:pt x="2888" y="1367"/>
                  <a:pt x="2888" y="1367"/>
                  <a:pt x="2887" y="1366"/>
                </a:cubicBezTo>
                <a:cubicBezTo>
                  <a:pt x="2887" y="1366"/>
                  <a:pt x="2886" y="1365"/>
                  <a:pt x="2887" y="1364"/>
                </a:cubicBezTo>
                <a:cubicBezTo>
                  <a:pt x="2887" y="1364"/>
                  <a:pt x="2888" y="1363"/>
                  <a:pt x="2889" y="1363"/>
                </a:cubicBezTo>
                <a:cubicBezTo>
                  <a:pt x="2889" y="1363"/>
                  <a:pt x="2890" y="1363"/>
                  <a:pt x="2890" y="1362"/>
                </a:cubicBezTo>
                <a:cubicBezTo>
                  <a:pt x="2891" y="1361"/>
                  <a:pt x="2890" y="1361"/>
                  <a:pt x="2891" y="1360"/>
                </a:cubicBezTo>
                <a:cubicBezTo>
                  <a:pt x="2891" y="1360"/>
                  <a:pt x="2892" y="1360"/>
                  <a:pt x="2893" y="1360"/>
                </a:cubicBezTo>
                <a:cubicBezTo>
                  <a:pt x="2894" y="1361"/>
                  <a:pt x="2894" y="1361"/>
                  <a:pt x="2895" y="1361"/>
                </a:cubicBezTo>
                <a:cubicBezTo>
                  <a:pt x="2896" y="1361"/>
                  <a:pt x="2896" y="1362"/>
                  <a:pt x="2894" y="1363"/>
                </a:cubicBezTo>
                <a:cubicBezTo>
                  <a:pt x="2894" y="1363"/>
                  <a:pt x="2893" y="1363"/>
                  <a:pt x="2893" y="1363"/>
                </a:cubicBezTo>
                <a:cubicBezTo>
                  <a:pt x="2892" y="1364"/>
                  <a:pt x="2893" y="1365"/>
                  <a:pt x="2892" y="1365"/>
                </a:cubicBezTo>
                <a:cubicBezTo>
                  <a:pt x="2891" y="1366"/>
                  <a:pt x="2891" y="1365"/>
                  <a:pt x="2890" y="1366"/>
                </a:cubicBezTo>
                <a:cubicBezTo>
                  <a:pt x="2890" y="1366"/>
                  <a:pt x="2891" y="1367"/>
                  <a:pt x="2891" y="1367"/>
                </a:cubicBezTo>
                <a:cubicBezTo>
                  <a:pt x="2892" y="1368"/>
                  <a:pt x="2891" y="1368"/>
                  <a:pt x="2891" y="1369"/>
                </a:cubicBezTo>
                <a:cubicBezTo>
                  <a:pt x="2891" y="1370"/>
                  <a:pt x="2891" y="1370"/>
                  <a:pt x="2891" y="1371"/>
                </a:cubicBezTo>
                <a:cubicBezTo>
                  <a:pt x="2891" y="1371"/>
                  <a:pt x="2891" y="1372"/>
                  <a:pt x="2891" y="1373"/>
                </a:cubicBezTo>
                <a:cubicBezTo>
                  <a:pt x="2891" y="1374"/>
                  <a:pt x="2891" y="1374"/>
                  <a:pt x="2892" y="1374"/>
                </a:cubicBezTo>
                <a:cubicBezTo>
                  <a:pt x="2892" y="1375"/>
                  <a:pt x="2892" y="1376"/>
                  <a:pt x="2893" y="1376"/>
                </a:cubicBezTo>
                <a:cubicBezTo>
                  <a:pt x="2893" y="1376"/>
                  <a:pt x="2894" y="1375"/>
                  <a:pt x="2895" y="1375"/>
                </a:cubicBezTo>
                <a:cubicBezTo>
                  <a:pt x="2896" y="1374"/>
                  <a:pt x="2896" y="1373"/>
                  <a:pt x="2898" y="1372"/>
                </a:cubicBezTo>
                <a:cubicBezTo>
                  <a:pt x="2899" y="1372"/>
                  <a:pt x="2900" y="1371"/>
                  <a:pt x="2900" y="1370"/>
                </a:cubicBezTo>
                <a:cubicBezTo>
                  <a:pt x="2901" y="1369"/>
                  <a:pt x="2901" y="1369"/>
                  <a:pt x="2901" y="1368"/>
                </a:cubicBezTo>
                <a:cubicBezTo>
                  <a:pt x="2902" y="1367"/>
                  <a:pt x="2902" y="1365"/>
                  <a:pt x="2903" y="1363"/>
                </a:cubicBezTo>
                <a:cubicBezTo>
                  <a:pt x="2903" y="1363"/>
                  <a:pt x="2904" y="1362"/>
                  <a:pt x="2904" y="1362"/>
                </a:cubicBezTo>
                <a:cubicBezTo>
                  <a:pt x="2904" y="1360"/>
                  <a:pt x="2905" y="1360"/>
                  <a:pt x="2907" y="1360"/>
                </a:cubicBezTo>
                <a:cubicBezTo>
                  <a:pt x="2908" y="1360"/>
                  <a:pt x="2908" y="1359"/>
                  <a:pt x="2910" y="1358"/>
                </a:cubicBezTo>
                <a:cubicBezTo>
                  <a:pt x="2910" y="1358"/>
                  <a:pt x="2911" y="1358"/>
                  <a:pt x="2912" y="1358"/>
                </a:cubicBezTo>
                <a:cubicBezTo>
                  <a:pt x="2912" y="1357"/>
                  <a:pt x="2911" y="1356"/>
                  <a:pt x="2911" y="1356"/>
                </a:cubicBezTo>
                <a:cubicBezTo>
                  <a:pt x="2910" y="1356"/>
                  <a:pt x="2909" y="1355"/>
                  <a:pt x="2908" y="1354"/>
                </a:cubicBezTo>
                <a:cubicBezTo>
                  <a:pt x="2908" y="1353"/>
                  <a:pt x="2908" y="1352"/>
                  <a:pt x="2907" y="1352"/>
                </a:cubicBezTo>
                <a:cubicBezTo>
                  <a:pt x="2907" y="1351"/>
                  <a:pt x="2906" y="1351"/>
                  <a:pt x="2906" y="1351"/>
                </a:cubicBezTo>
                <a:cubicBezTo>
                  <a:pt x="2905" y="1350"/>
                  <a:pt x="2905" y="1348"/>
                  <a:pt x="2905" y="1347"/>
                </a:cubicBezTo>
                <a:cubicBezTo>
                  <a:pt x="2906" y="1345"/>
                  <a:pt x="2906" y="1344"/>
                  <a:pt x="2907" y="1343"/>
                </a:cubicBezTo>
                <a:cubicBezTo>
                  <a:pt x="2908" y="1342"/>
                  <a:pt x="2907" y="1340"/>
                  <a:pt x="2908" y="1339"/>
                </a:cubicBezTo>
                <a:cubicBezTo>
                  <a:pt x="2908" y="1338"/>
                  <a:pt x="2909" y="1337"/>
                  <a:pt x="2909" y="1335"/>
                </a:cubicBezTo>
                <a:cubicBezTo>
                  <a:pt x="2909" y="1334"/>
                  <a:pt x="2909" y="1332"/>
                  <a:pt x="2910" y="1331"/>
                </a:cubicBezTo>
                <a:cubicBezTo>
                  <a:pt x="2911" y="1331"/>
                  <a:pt x="2911" y="1331"/>
                  <a:pt x="2912" y="1330"/>
                </a:cubicBezTo>
                <a:cubicBezTo>
                  <a:pt x="2913" y="1330"/>
                  <a:pt x="2913" y="1329"/>
                  <a:pt x="2914" y="1328"/>
                </a:cubicBezTo>
                <a:cubicBezTo>
                  <a:pt x="2914" y="1326"/>
                  <a:pt x="2914" y="1324"/>
                  <a:pt x="2914" y="1323"/>
                </a:cubicBezTo>
                <a:cubicBezTo>
                  <a:pt x="2914" y="1322"/>
                  <a:pt x="2913" y="1321"/>
                  <a:pt x="2913" y="1319"/>
                </a:cubicBezTo>
                <a:cubicBezTo>
                  <a:pt x="2912" y="1316"/>
                  <a:pt x="2913" y="1314"/>
                  <a:pt x="2912" y="1311"/>
                </a:cubicBezTo>
                <a:cubicBezTo>
                  <a:pt x="2912" y="1309"/>
                  <a:pt x="2912" y="1308"/>
                  <a:pt x="2912" y="1307"/>
                </a:cubicBezTo>
                <a:cubicBezTo>
                  <a:pt x="2912" y="1305"/>
                  <a:pt x="2912" y="1304"/>
                  <a:pt x="2913" y="1302"/>
                </a:cubicBezTo>
                <a:cubicBezTo>
                  <a:pt x="2913" y="1302"/>
                  <a:pt x="2913" y="1301"/>
                  <a:pt x="2914" y="1301"/>
                </a:cubicBezTo>
                <a:cubicBezTo>
                  <a:pt x="2914" y="1300"/>
                  <a:pt x="2914" y="1300"/>
                  <a:pt x="2915" y="1299"/>
                </a:cubicBezTo>
                <a:cubicBezTo>
                  <a:pt x="2915" y="1298"/>
                  <a:pt x="2916" y="1299"/>
                  <a:pt x="2918" y="1298"/>
                </a:cubicBezTo>
                <a:cubicBezTo>
                  <a:pt x="2919" y="1298"/>
                  <a:pt x="2919" y="1296"/>
                  <a:pt x="2920" y="1297"/>
                </a:cubicBezTo>
                <a:cubicBezTo>
                  <a:pt x="2921" y="1297"/>
                  <a:pt x="2922" y="1297"/>
                  <a:pt x="2922" y="1298"/>
                </a:cubicBezTo>
                <a:cubicBezTo>
                  <a:pt x="2923" y="1299"/>
                  <a:pt x="2924" y="1300"/>
                  <a:pt x="2924" y="1299"/>
                </a:cubicBezTo>
                <a:cubicBezTo>
                  <a:pt x="2924" y="1298"/>
                  <a:pt x="2923" y="1297"/>
                  <a:pt x="2923" y="1296"/>
                </a:cubicBezTo>
                <a:cubicBezTo>
                  <a:pt x="2923" y="1294"/>
                  <a:pt x="2924" y="1293"/>
                  <a:pt x="2924" y="1291"/>
                </a:cubicBezTo>
                <a:cubicBezTo>
                  <a:pt x="2923" y="1289"/>
                  <a:pt x="2924" y="1288"/>
                  <a:pt x="2924" y="1286"/>
                </a:cubicBezTo>
                <a:cubicBezTo>
                  <a:pt x="2925" y="1285"/>
                  <a:pt x="2927" y="1284"/>
                  <a:pt x="2928" y="1283"/>
                </a:cubicBezTo>
                <a:cubicBezTo>
                  <a:pt x="2929" y="1282"/>
                  <a:pt x="2930" y="1281"/>
                  <a:pt x="2931" y="1280"/>
                </a:cubicBezTo>
                <a:cubicBezTo>
                  <a:pt x="2933" y="1279"/>
                  <a:pt x="2933" y="1277"/>
                  <a:pt x="2933" y="1276"/>
                </a:cubicBezTo>
                <a:cubicBezTo>
                  <a:pt x="2934" y="1274"/>
                  <a:pt x="2934" y="1273"/>
                  <a:pt x="2934" y="1272"/>
                </a:cubicBezTo>
                <a:cubicBezTo>
                  <a:pt x="2935" y="1270"/>
                  <a:pt x="2934" y="1269"/>
                  <a:pt x="2934" y="1267"/>
                </a:cubicBezTo>
                <a:cubicBezTo>
                  <a:pt x="2933" y="1265"/>
                  <a:pt x="2933" y="1263"/>
                  <a:pt x="2932" y="1261"/>
                </a:cubicBezTo>
                <a:close/>
                <a:moveTo>
                  <a:pt x="2665" y="2043"/>
                </a:moveTo>
                <a:cubicBezTo>
                  <a:pt x="2664" y="2044"/>
                  <a:pt x="2664" y="2045"/>
                  <a:pt x="2663" y="2046"/>
                </a:cubicBezTo>
                <a:cubicBezTo>
                  <a:pt x="2662" y="2047"/>
                  <a:pt x="2661" y="2048"/>
                  <a:pt x="2662" y="2049"/>
                </a:cubicBezTo>
                <a:cubicBezTo>
                  <a:pt x="2663" y="2050"/>
                  <a:pt x="2663" y="2050"/>
                  <a:pt x="2663" y="2051"/>
                </a:cubicBezTo>
                <a:cubicBezTo>
                  <a:pt x="2664" y="2051"/>
                  <a:pt x="2663" y="2052"/>
                  <a:pt x="2663" y="2053"/>
                </a:cubicBezTo>
                <a:cubicBezTo>
                  <a:pt x="2664" y="2055"/>
                  <a:pt x="2666" y="2052"/>
                  <a:pt x="2666" y="2052"/>
                </a:cubicBezTo>
                <a:cubicBezTo>
                  <a:pt x="2667" y="2051"/>
                  <a:pt x="2669" y="2051"/>
                  <a:pt x="2669" y="2050"/>
                </a:cubicBezTo>
                <a:cubicBezTo>
                  <a:pt x="2670" y="2048"/>
                  <a:pt x="2670" y="2047"/>
                  <a:pt x="2670" y="2045"/>
                </a:cubicBezTo>
                <a:cubicBezTo>
                  <a:pt x="2670" y="2044"/>
                  <a:pt x="2670" y="2042"/>
                  <a:pt x="2669" y="2041"/>
                </a:cubicBezTo>
                <a:cubicBezTo>
                  <a:pt x="2669" y="2039"/>
                  <a:pt x="2667" y="2041"/>
                  <a:pt x="2666" y="2042"/>
                </a:cubicBezTo>
                <a:cubicBezTo>
                  <a:pt x="2666" y="2042"/>
                  <a:pt x="2665" y="2043"/>
                  <a:pt x="2665" y="2043"/>
                </a:cubicBezTo>
                <a:close/>
                <a:moveTo>
                  <a:pt x="2660" y="2124"/>
                </a:moveTo>
                <a:cubicBezTo>
                  <a:pt x="2660" y="2124"/>
                  <a:pt x="2659" y="2124"/>
                  <a:pt x="2658" y="2124"/>
                </a:cubicBezTo>
                <a:cubicBezTo>
                  <a:pt x="2658" y="2123"/>
                  <a:pt x="2657" y="2123"/>
                  <a:pt x="2656" y="2122"/>
                </a:cubicBezTo>
                <a:cubicBezTo>
                  <a:pt x="2655" y="2121"/>
                  <a:pt x="2655" y="2120"/>
                  <a:pt x="2653" y="2120"/>
                </a:cubicBezTo>
                <a:cubicBezTo>
                  <a:pt x="2652" y="2119"/>
                  <a:pt x="2650" y="2120"/>
                  <a:pt x="2649" y="2120"/>
                </a:cubicBezTo>
                <a:cubicBezTo>
                  <a:pt x="2648" y="2120"/>
                  <a:pt x="2647" y="2120"/>
                  <a:pt x="2647" y="2121"/>
                </a:cubicBezTo>
                <a:cubicBezTo>
                  <a:pt x="2646" y="2122"/>
                  <a:pt x="2646" y="2123"/>
                  <a:pt x="2646" y="2124"/>
                </a:cubicBezTo>
                <a:cubicBezTo>
                  <a:pt x="2646" y="2125"/>
                  <a:pt x="2645" y="2126"/>
                  <a:pt x="2646" y="2126"/>
                </a:cubicBezTo>
                <a:cubicBezTo>
                  <a:pt x="2647" y="2127"/>
                  <a:pt x="2648" y="2127"/>
                  <a:pt x="2648" y="2126"/>
                </a:cubicBezTo>
                <a:cubicBezTo>
                  <a:pt x="2650" y="2126"/>
                  <a:pt x="2651" y="2126"/>
                  <a:pt x="2653" y="2126"/>
                </a:cubicBezTo>
                <a:cubicBezTo>
                  <a:pt x="2653" y="2126"/>
                  <a:pt x="2654" y="2126"/>
                  <a:pt x="2655" y="2126"/>
                </a:cubicBezTo>
                <a:cubicBezTo>
                  <a:pt x="2655" y="2126"/>
                  <a:pt x="2656" y="2125"/>
                  <a:pt x="2657" y="2125"/>
                </a:cubicBezTo>
                <a:cubicBezTo>
                  <a:pt x="2658" y="2125"/>
                  <a:pt x="2661" y="2126"/>
                  <a:pt x="2660" y="2124"/>
                </a:cubicBezTo>
                <a:close/>
                <a:moveTo>
                  <a:pt x="2684" y="1387"/>
                </a:moveTo>
                <a:cubicBezTo>
                  <a:pt x="2685" y="1387"/>
                  <a:pt x="2684" y="1386"/>
                  <a:pt x="2685" y="1386"/>
                </a:cubicBezTo>
                <a:cubicBezTo>
                  <a:pt x="2685" y="1385"/>
                  <a:pt x="2685" y="1384"/>
                  <a:pt x="2686" y="1383"/>
                </a:cubicBezTo>
                <a:cubicBezTo>
                  <a:pt x="2686" y="1382"/>
                  <a:pt x="2687" y="1381"/>
                  <a:pt x="2686" y="1381"/>
                </a:cubicBezTo>
                <a:cubicBezTo>
                  <a:pt x="2685" y="1379"/>
                  <a:pt x="2684" y="1383"/>
                  <a:pt x="2683" y="1384"/>
                </a:cubicBezTo>
                <a:cubicBezTo>
                  <a:pt x="2683" y="1385"/>
                  <a:pt x="2683" y="1385"/>
                  <a:pt x="2682" y="1386"/>
                </a:cubicBezTo>
                <a:cubicBezTo>
                  <a:pt x="2682" y="1386"/>
                  <a:pt x="2681" y="1387"/>
                  <a:pt x="2682" y="1388"/>
                </a:cubicBezTo>
                <a:cubicBezTo>
                  <a:pt x="2682" y="1388"/>
                  <a:pt x="2683" y="1387"/>
                  <a:pt x="2684" y="1387"/>
                </a:cubicBezTo>
                <a:close/>
                <a:moveTo>
                  <a:pt x="2681" y="1393"/>
                </a:moveTo>
                <a:cubicBezTo>
                  <a:pt x="2682" y="1393"/>
                  <a:pt x="2682" y="1392"/>
                  <a:pt x="2683" y="1391"/>
                </a:cubicBezTo>
                <a:cubicBezTo>
                  <a:pt x="2683" y="1391"/>
                  <a:pt x="2683" y="1392"/>
                  <a:pt x="2684" y="1391"/>
                </a:cubicBezTo>
                <a:cubicBezTo>
                  <a:pt x="2684" y="1391"/>
                  <a:pt x="2683" y="1390"/>
                  <a:pt x="2683" y="1390"/>
                </a:cubicBezTo>
                <a:cubicBezTo>
                  <a:pt x="2682" y="1389"/>
                  <a:pt x="2682" y="1389"/>
                  <a:pt x="2682" y="1388"/>
                </a:cubicBezTo>
                <a:cubicBezTo>
                  <a:pt x="2682" y="1388"/>
                  <a:pt x="2681" y="1389"/>
                  <a:pt x="2681" y="1389"/>
                </a:cubicBezTo>
                <a:cubicBezTo>
                  <a:pt x="2681" y="1389"/>
                  <a:pt x="2681" y="1390"/>
                  <a:pt x="2681" y="1390"/>
                </a:cubicBezTo>
                <a:cubicBezTo>
                  <a:pt x="2681" y="1391"/>
                  <a:pt x="2680" y="1393"/>
                  <a:pt x="2681" y="1393"/>
                </a:cubicBezTo>
                <a:close/>
                <a:moveTo>
                  <a:pt x="2680" y="1417"/>
                </a:moveTo>
                <a:cubicBezTo>
                  <a:pt x="2680" y="1416"/>
                  <a:pt x="2679" y="1416"/>
                  <a:pt x="2679" y="1416"/>
                </a:cubicBezTo>
                <a:cubicBezTo>
                  <a:pt x="2678" y="1417"/>
                  <a:pt x="2677" y="1419"/>
                  <a:pt x="2678" y="1420"/>
                </a:cubicBezTo>
                <a:cubicBezTo>
                  <a:pt x="2678" y="1420"/>
                  <a:pt x="2678" y="1420"/>
                  <a:pt x="2678" y="1420"/>
                </a:cubicBezTo>
                <a:cubicBezTo>
                  <a:pt x="2678" y="1420"/>
                  <a:pt x="2678" y="1421"/>
                  <a:pt x="2678" y="1421"/>
                </a:cubicBezTo>
                <a:cubicBezTo>
                  <a:pt x="2678" y="1422"/>
                  <a:pt x="2679" y="1423"/>
                  <a:pt x="2679" y="1422"/>
                </a:cubicBezTo>
                <a:cubicBezTo>
                  <a:pt x="2680" y="1422"/>
                  <a:pt x="2680" y="1421"/>
                  <a:pt x="2679" y="1420"/>
                </a:cubicBezTo>
                <a:cubicBezTo>
                  <a:pt x="2679" y="1420"/>
                  <a:pt x="2679" y="1419"/>
                  <a:pt x="2679" y="1419"/>
                </a:cubicBezTo>
                <a:cubicBezTo>
                  <a:pt x="2679" y="1418"/>
                  <a:pt x="2680" y="1418"/>
                  <a:pt x="2680" y="1417"/>
                </a:cubicBezTo>
                <a:close/>
                <a:moveTo>
                  <a:pt x="2704" y="2151"/>
                </a:moveTo>
                <a:cubicBezTo>
                  <a:pt x="2703" y="2151"/>
                  <a:pt x="2702" y="2151"/>
                  <a:pt x="2701" y="2151"/>
                </a:cubicBezTo>
                <a:cubicBezTo>
                  <a:pt x="2700" y="2151"/>
                  <a:pt x="2699" y="2151"/>
                  <a:pt x="2697" y="2151"/>
                </a:cubicBezTo>
                <a:cubicBezTo>
                  <a:pt x="2696" y="2151"/>
                  <a:pt x="2695" y="2150"/>
                  <a:pt x="2693" y="2150"/>
                </a:cubicBezTo>
                <a:cubicBezTo>
                  <a:pt x="2692" y="2149"/>
                  <a:pt x="2691" y="2148"/>
                  <a:pt x="2690" y="2148"/>
                </a:cubicBezTo>
                <a:cubicBezTo>
                  <a:pt x="2689" y="2147"/>
                  <a:pt x="2687" y="2147"/>
                  <a:pt x="2685" y="2147"/>
                </a:cubicBezTo>
                <a:cubicBezTo>
                  <a:pt x="2685" y="2148"/>
                  <a:pt x="2684" y="2149"/>
                  <a:pt x="2684" y="2149"/>
                </a:cubicBezTo>
                <a:cubicBezTo>
                  <a:pt x="2683" y="2150"/>
                  <a:pt x="2682" y="2150"/>
                  <a:pt x="2681" y="2150"/>
                </a:cubicBezTo>
                <a:cubicBezTo>
                  <a:pt x="2681" y="2150"/>
                  <a:pt x="2679" y="2150"/>
                  <a:pt x="2679" y="2150"/>
                </a:cubicBezTo>
                <a:cubicBezTo>
                  <a:pt x="2678" y="2149"/>
                  <a:pt x="2679" y="2148"/>
                  <a:pt x="2679" y="2148"/>
                </a:cubicBezTo>
                <a:cubicBezTo>
                  <a:pt x="2678" y="2146"/>
                  <a:pt x="2676" y="2148"/>
                  <a:pt x="2675" y="2148"/>
                </a:cubicBezTo>
                <a:cubicBezTo>
                  <a:pt x="2672" y="2150"/>
                  <a:pt x="2669" y="2148"/>
                  <a:pt x="2667" y="2148"/>
                </a:cubicBezTo>
                <a:cubicBezTo>
                  <a:pt x="2666" y="2149"/>
                  <a:pt x="2665" y="2149"/>
                  <a:pt x="2664" y="2149"/>
                </a:cubicBezTo>
                <a:cubicBezTo>
                  <a:pt x="2664" y="2149"/>
                  <a:pt x="2663" y="2148"/>
                  <a:pt x="2662" y="2148"/>
                </a:cubicBezTo>
                <a:cubicBezTo>
                  <a:pt x="2661" y="2148"/>
                  <a:pt x="2660" y="2148"/>
                  <a:pt x="2660" y="2149"/>
                </a:cubicBezTo>
                <a:cubicBezTo>
                  <a:pt x="2659" y="2150"/>
                  <a:pt x="2659" y="2151"/>
                  <a:pt x="2659" y="2151"/>
                </a:cubicBezTo>
                <a:cubicBezTo>
                  <a:pt x="2658" y="2152"/>
                  <a:pt x="2658" y="2152"/>
                  <a:pt x="2657" y="2153"/>
                </a:cubicBezTo>
                <a:cubicBezTo>
                  <a:pt x="2707" y="2153"/>
                  <a:pt x="2707" y="2153"/>
                  <a:pt x="2707" y="2153"/>
                </a:cubicBezTo>
                <a:cubicBezTo>
                  <a:pt x="2706" y="2152"/>
                  <a:pt x="2706" y="2152"/>
                  <a:pt x="2706" y="2152"/>
                </a:cubicBezTo>
                <a:cubicBezTo>
                  <a:pt x="2705" y="2151"/>
                  <a:pt x="2704" y="2151"/>
                  <a:pt x="2704" y="2151"/>
                </a:cubicBezTo>
                <a:close/>
                <a:moveTo>
                  <a:pt x="2650" y="2057"/>
                </a:moveTo>
                <a:cubicBezTo>
                  <a:pt x="2649" y="2059"/>
                  <a:pt x="2648" y="2061"/>
                  <a:pt x="2647" y="2062"/>
                </a:cubicBezTo>
                <a:cubicBezTo>
                  <a:pt x="2647" y="2063"/>
                  <a:pt x="2647" y="2064"/>
                  <a:pt x="2647" y="2064"/>
                </a:cubicBezTo>
                <a:cubicBezTo>
                  <a:pt x="2647" y="2065"/>
                  <a:pt x="2647" y="2067"/>
                  <a:pt x="2647" y="2067"/>
                </a:cubicBezTo>
                <a:cubicBezTo>
                  <a:pt x="2646" y="2069"/>
                  <a:pt x="2645" y="2070"/>
                  <a:pt x="2646" y="2071"/>
                </a:cubicBezTo>
                <a:cubicBezTo>
                  <a:pt x="2646" y="2072"/>
                  <a:pt x="2647" y="2073"/>
                  <a:pt x="2648" y="2074"/>
                </a:cubicBezTo>
                <a:cubicBezTo>
                  <a:pt x="2650" y="2075"/>
                  <a:pt x="2649" y="2076"/>
                  <a:pt x="2649" y="2078"/>
                </a:cubicBezTo>
                <a:cubicBezTo>
                  <a:pt x="2648" y="2079"/>
                  <a:pt x="2649" y="2081"/>
                  <a:pt x="2649" y="2082"/>
                </a:cubicBezTo>
                <a:cubicBezTo>
                  <a:pt x="2649" y="2084"/>
                  <a:pt x="2651" y="2084"/>
                  <a:pt x="2651" y="2086"/>
                </a:cubicBezTo>
                <a:cubicBezTo>
                  <a:pt x="2652" y="2087"/>
                  <a:pt x="2651" y="2088"/>
                  <a:pt x="2651" y="2090"/>
                </a:cubicBezTo>
                <a:cubicBezTo>
                  <a:pt x="2651" y="2090"/>
                  <a:pt x="2651" y="2091"/>
                  <a:pt x="2651" y="2092"/>
                </a:cubicBezTo>
                <a:cubicBezTo>
                  <a:pt x="2651" y="2093"/>
                  <a:pt x="2651" y="2093"/>
                  <a:pt x="2651" y="2094"/>
                </a:cubicBezTo>
                <a:cubicBezTo>
                  <a:pt x="2651" y="2095"/>
                  <a:pt x="2650" y="2097"/>
                  <a:pt x="2651" y="2098"/>
                </a:cubicBezTo>
                <a:cubicBezTo>
                  <a:pt x="2651" y="2100"/>
                  <a:pt x="2653" y="2100"/>
                  <a:pt x="2654" y="2101"/>
                </a:cubicBezTo>
                <a:cubicBezTo>
                  <a:pt x="2656" y="2102"/>
                  <a:pt x="2656" y="2103"/>
                  <a:pt x="2657" y="2104"/>
                </a:cubicBezTo>
                <a:cubicBezTo>
                  <a:pt x="2657" y="2106"/>
                  <a:pt x="2659" y="2106"/>
                  <a:pt x="2660" y="2107"/>
                </a:cubicBezTo>
                <a:cubicBezTo>
                  <a:pt x="2661" y="2107"/>
                  <a:pt x="2661" y="2108"/>
                  <a:pt x="2661" y="2108"/>
                </a:cubicBezTo>
                <a:cubicBezTo>
                  <a:pt x="2662" y="2108"/>
                  <a:pt x="2663" y="2108"/>
                  <a:pt x="2663" y="2108"/>
                </a:cubicBezTo>
                <a:cubicBezTo>
                  <a:pt x="2664" y="2109"/>
                  <a:pt x="2664" y="2109"/>
                  <a:pt x="2664" y="2110"/>
                </a:cubicBezTo>
                <a:cubicBezTo>
                  <a:pt x="2665" y="2110"/>
                  <a:pt x="2666" y="2111"/>
                  <a:pt x="2666" y="2110"/>
                </a:cubicBezTo>
                <a:cubicBezTo>
                  <a:pt x="2666" y="2108"/>
                  <a:pt x="2664" y="2107"/>
                  <a:pt x="2664" y="2106"/>
                </a:cubicBezTo>
                <a:cubicBezTo>
                  <a:pt x="2663" y="2106"/>
                  <a:pt x="2663" y="2105"/>
                  <a:pt x="2663" y="2104"/>
                </a:cubicBezTo>
                <a:cubicBezTo>
                  <a:pt x="2662" y="2103"/>
                  <a:pt x="2662" y="2103"/>
                  <a:pt x="2661" y="2102"/>
                </a:cubicBezTo>
                <a:cubicBezTo>
                  <a:pt x="2660" y="2101"/>
                  <a:pt x="2660" y="2099"/>
                  <a:pt x="2659" y="2098"/>
                </a:cubicBezTo>
                <a:cubicBezTo>
                  <a:pt x="2658" y="2096"/>
                  <a:pt x="2657" y="2095"/>
                  <a:pt x="2656" y="2094"/>
                </a:cubicBezTo>
                <a:cubicBezTo>
                  <a:pt x="2656" y="2093"/>
                  <a:pt x="2656" y="2093"/>
                  <a:pt x="2656" y="2092"/>
                </a:cubicBezTo>
                <a:cubicBezTo>
                  <a:pt x="2656" y="2091"/>
                  <a:pt x="2656" y="2091"/>
                  <a:pt x="2656" y="2090"/>
                </a:cubicBezTo>
                <a:cubicBezTo>
                  <a:pt x="2657" y="2088"/>
                  <a:pt x="2655" y="2087"/>
                  <a:pt x="2656" y="2085"/>
                </a:cubicBezTo>
                <a:cubicBezTo>
                  <a:pt x="2656" y="2084"/>
                  <a:pt x="2657" y="2083"/>
                  <a:pt x="2658" y="2084"/>
                </a:cubicBezTo>
                <a:cubicBezTo>
                  <a:pt x="2660" y="2084"/>
                  <a:pt x="2661" y="2084"/>
                  <a:pt x="2662" y="2084"/>
                </a:cubicBezTo>
                <a:cubicBezTo>
                  <a:pt x="2664" y="2085"/>
                  <a:pt x="2666" y="2084"/>
                  <a:pt x="2668" y="2086"/>
                </a:cubicBezTo>
                <a:cubicBezTo>
                  <a:pt x="2668" y="2086"/>
                  <a:pt x="2668" y="2086"/>
                  <a:pt x="2669" y="2087"/>
                </a:cubicBezTo>
                <a:cubicBezTo>
                  <a:pt x="2670" y="2087"/>
                  <a:pt x="2671" y="2087"/>
                  <a:pt x="2671" y="2087"/>
                </a:cubicBezTo>
                <a:cubicBezTo>
                  <a:pt x="2672" y="2087"/>
                  <a:pt x="2675" y="2089"/>
                  <a:pt x="2675" y="2088"/>
                </a:cubicBezTo>
                <a:cubicBezTo>
                  <a:pt x="2676" y="2087"/>
                  <a:pt x="2674" y="2085"/>
                  <a:pt x="2673" y="2085"/>
                </a:cubicBezTo>
                <a:cubicBezTo>
                  <a:pt x="2672" y="2084"/>
                  <a:pt x="2671" y="2083"/>
                  <a:pt x="2670" y="2082"/>
                </a:cubicBezTo>
                <a:cubicBezTo>
                  <a:pt x="2669" y="2081"/>
                  <a:pt x="2667" y="2080"/>
                  <a:pt x="2666" y="2080"/>
                </a:cubicBezTo>
                <a:cubicBezTo>
                  <a:pt x="2665" y="2079"/>
                  <a:pt x="2663" y="2079"/>
                  <a:pt x="2663" y="2078"/>
                </a:cubicBezTo>
                <a:cubicBezTo>
                  <a:pt x="2663" y="2077"/>
                  <a:pt x="2664" y="2075"/>
                  <a:pt x="2665" y="2074"/>
                </a:cubicBezTo>
                <a:cubicBezTo>
                  <a:pt x="2666" y="2073"/>
                  <a:pt x="2668" y="2073"/>
                  <a:pt x="2669" y="2073"/>
                </a:cubicBezTo>
                <a:cubicBezTo>
                  <a:pt x="2671" y="2072"/>
                  <a:pt x="2671" y="2070"/>
                  <a:pt x="2672" y="2069"/>
                </a:cubicBezTo>
                <a:cubicBezTo>
                  <a:pt x="2672" y="2067"/>
                  <a:pt x="2673" y="2066"/>
                  <a:pt x="2672" y="2064"/>
                </a:cubicBezTo>
                <a:cubicBezTo>
                  <a:pt x="2672" y="2064"/>
                  <a:pt x="2672" y="2064"/>
                  <a:pt x="2672" y="2064"/>
                </a:cubicBezTo>
                <a:cubicBezTo>
                  <a:pt x="2672" y="2063"/>
                  <a:pt x="2672" y="2063"/>
                  <a:pt x="2672" y="2062"/>
                </a:cubicBezTo>
                <a:cubicBezTo>
                  <a:pt x="2672" y="2062"/>
                  <a:pt x="2670" y="2062"/>
                  <a:pt x="2670" y="2062"/>
                </a:cubicBezTo>
                <a:cubicBezTo>
                  <a:pt x="2669" y="2062"/>
                  <a:pt x="2668" y="2062"/>
                  <a:pt x="2668" y="2062"/>
                </a:cubicBezTo>
                <a:cubicBezTo>
                  <a:pt x="2667" y="2063"/>
                  <a:pt x="2666" y="2063"/>
                  <a:pt x="2666" y="2063"/>
                </a:cubicBezTo>
                <a:cubicBezTo>
                  <a:pt x="2664" y="2063"/>
                  <a:pt x="2663" y="2065"/>
                  <a:pt x="2662" y="2065"/>
                </a:cubicBezTo>
                <a:cubicBezTo>
                  <a:pt x="2661" y="2066"/>
                  <a:pt x="2661" y="2066"/>
                  <a:pt x="2660" y="2066"/>
                </a:cubicBezTo>
                <a:cubicBezTo>
                  <a:pt x="2659" y="2066"/>
                  <a:pt x="2658" y="2067"/>
                  <a:pt x="2659" y="2068"/>
                </a:cubicBezTo>
                <a:cubicBezTo>
                  <a:pt x="2659" y="2068"/>
                  <a:pt x="2660" y="2068"/>
                  <a:pt x="2661" y="2069"/>
                </a:cubicBezTo>
                <a:cubicBezTo>
                  <a:pt x="2661" y="2070"/>
                  <a:pt x="2661" y="2070"/>
                  <a:pt x="2660" y="2070"/>
                </a:cubicBezTo>
                <a:cubicBezTo>
                  <a:pt x="2659" y="2071"/>
                  <a:pt x="2657" y="2070"/>
                  <a:pt x="2656" y="2072"/>
                </a:cubicBezTo>
                <a:cubicBezTo>
                  <a:pt x="2656" y="2073"/>
                  <a:pt x="2656" y="2073"/>
                  <a:pt x="2656" y="2074"/>
                </a:cubicBezTo>
                <a:cubicBezTo>
                  <a:pt x="2656" y="2075"/>
                  <a:pt x="2655" y="2076"/>
                  <a:pt x="2655" y="2076"/>
                </a:cubicBezTo>
                <a:cubicBezTo>
                  <a:pt x="2653" y="2077"/>
                  <a:pt x="2652" y="2076"/>
                  <a:pt x="2652" y="2075"/>
                </a:cubicBezTo>
                <a:cubicBezTo>
                  <a:pt x="2652" y="2073"/>
                  <a:pt x="2652" y="2072"/>
                  <a:pt x="2653" y="2071"/>
                </a:cubicBezTo>
                <a:cubicBezTo>
                  <a:pt x="2655" y="2070"/>
                  <a:pt x="2657" y="2069"/>
                  <a:pt x="2657" y="2067"/>
                </a:cubicBezTo>
                <a:cubicBezTo>
                  <a:pt x="2658" y="2066"/>
                  <a:pt x="2658" y="2064"/>
                  <a:pt x="2658" y="2063"/>
                </a:cubicBezTo>
                <a:cubicBezTo>
                  <a:pt x="2658" y="2062"/>
                  <a:pt x="2658" y="2061"/>
                  <a:pt x="2657" y="2060"/>
                </a:cubicBezTo>
                <a:cubicBezTo>
                  <a:pt x="2657" y="2059"/>
                  <a:pt x="2657" y="2059"/>
                  <a:pt x="2657" y="2058"/>
                </a:cubicBezTo>
                <a:cubicBezTo>
                  <a:pt x="2657" y="2057"/>
                  <a:pt x="2655" y="2056"/>
                  <a:pt x="2655" y="2055"/>
                </a:cubicBezTo>
                <a:cubicBezTo>
                  <a:pt x="2656" y="2054"/>
                  <a:pt x="2656" y="2053"/>
                  <a:pt x="2656" y="2053"/>
                </a:cubicBezTo>
                <a:cubicBezTo>
                  <a:pt x="2657" y="2052"/>
                  <a:pt x="2658" y="2052"/>
                  <a:pt x="2658" y="2051"/>
                </a:cubicBezTo>
                <a:cubicBezTo>
                  <a:pt x="2659" y="2051"/>
                  <a:pt x="2659" y="2049"/>
                  <a:pt x="2658" y="2049"/>
                </a:cubicBezTo>
                <a:cubicBezTo>
                  <a:pt x="2657" y="2049"/>
                  <a:pt x="2657" y="2050"/>
                  <a:pt x="2656" y="2051"/>
                </a:cubicBezTo>
                <a:cubicBezTo>
                  <a:pt x="2654" y="2053"/>
                  <a:pt x="2651" y="2055"/>
                  <a:pt x="2650" y="2057"/>
                </a:cubicBezTo>
                <a:close/>
                <a:moveTo>
                  <a:pt x="2670" y="1425"/>
                </a:moveTo>
                <a:cubicBezTo>
                  <a:pt x="2670" y="1427"/>
                  <a:pt x="2672" y="1427"/>
                  <a:pt x="2672" y="1426"/>
                </a:cubicBezTo>
                <a:cubicBezTo>
                  <a:pt x="2673" y="1426"/>
                  <a:pt x="2673" y="1426"/>
                  <a:pt x="2674" y="1426"/>
                </a:cubicBezTo>
                <a:cubicBezTo>
                  <a:pt x="2675" y="1426"/>
                  <a:pt x="2675" y="1426"/>
                  <a:pt x="2675" y="1425"/>
                </a:cubicBezTo>
                <a:cubicBezTo>
                  <a:pt x="2674" y="1425"/>
                  <a:pt x="2674" y="1425"/>
                  <a:pt x="2674" y="1424"/>
                </a:cubicBezTo>
                <a:cubicBezTo>
                  <a:pt x="2673" y="1424"/>
                  <a:pt x="2674" y="1422"/>
                  <a:pt x="2673" y="1422"/>
                </a:cubicBezTo>
                <a:cubicBezTo>
                  <a:pt x="2672" y="1423"/>
                  <a:pt x="2670" y="1425"/>
                  <a:pt x="2670" y="1425"/>
                </a:cubicBezTo>
                <a:close/>
                <a:moveTo>
                  <a:pt x="2655" y="1379"/>
                </a:moveTo>
                <a:cubicBezTo>
                  <a:pt x="2655" y="1380"/>
                  <a:pt x="2656" y="1380"/>
                  <a:pt x="2656" y="1380"/>
                </a:cubicBezTo>
                <a:cubicBezTo>
                  <a:pt x="2657" y="1380"/>
                  <a:pt x="2657" y="1382"/>
                  <a:pt x="2658" y="1381"/>
                </a:cubicBezTo>
                <a:cubicBezTo>
                  <a:pt x="2659" y="1381"/>
                  <a:pt x="2658" y="1379"/>
                  <a:pt x="2658" y="1378"/>
                </a:cubicBezTo>
                <a:cubicBezTo>
                  <a:pt x="2658" y="1378"/>
                  <a:pt x="2658" y="1377"/>
                  <a:pt x="2657" y="1377"/>
                </a:cubicBezTo>
                <a:cubicBezTo>
                  <a:pt x="2657" y="1377"/>
                  <a:pt x="2657" y="1377"/>
                  <a:pt x="2656" y="1376"/>
                </a:cubicBezTo>
                <a:cubicBezTo>
                  <a:pt x="2656" y="1376"/>
                  <a:pt x="2656" y="1375"/>
                  <a:pt x="2655" y="1375"/>
                </a:cubicBezTo>
                <a:cubicBezTo>
                  <a:pt x="2654" y="1376"/>
                  <a:pt x="2655" y="1376"/>
                  <a:pt x="2655" y="1377"/>
                </a:cubicBezTo>
                <a:cubicBezTo>
                  <a:pt x="2655" y="1377"/>
                  <a:pt x="2654" y="1379"/>
                  <a:pt x="2655" y="1379"/>
                </a:cubicBezTo>
                <a:close/>
                <a:moveTo>
                  <a:pt x="2671" y="1375"/>
                </a:moveTo>
                <a:cubicBezTo>
                  <a:pt x="2671" y="1375"/>
                  <a:pt x="2671" y="1375"/>
                  <a:pt x="2670" y="1375"/>
                </a:cubicBezTo>
                <a:cubicBezTo>
                  <a:pt x="2670" y="1375"/>
                  <a:pt x="2669" y="1375"/>
                  <a:pt x="2669" y="1375"/>
                </a:cubicBezTo>
                <a:cubicBezTo>
                  <a:pt x="2668" y="1375"/>
                  <a:pt x="2669" y="1376"/>
                  <a:pt x="2668" y="1376"/>
                </a:cubicBezTo>
                <a:cubicBezTo>
                  <a:pt x="2668" y="1377"/>
                  <a:pt x="2667" y="1376"/>
                  <a:pt x="2667" y="1377"/>
                </a:cubicBezTo>
                <a:cubicBezTo>
                  <a:pt x="2667" y="1378"/>
                  <a:pt x="2667" y="1378"/>
                  <a:pt x="2668" y="1379"/>
                </a:cubicBezTo>
                <a:cubicBezTo>
                  <a:pt x="2668" y="1379"/>
                  <a:pt x="2668" y="1379"/>
                  <a:pt x="2668" y="1379"/>
                </a:cubicBezTo>
                <a:cubicBezTo>
                  <a:pt x="2669" y="1379"/>
                  <a:pt x="2669" y="1380"/>
                  <a:pt x="2669" y="1380"/>
                </a:cubicBezTo>
                <a:cubicBezTo>
                  <a:pt x="2670" y="1380"/>
                  <a:pt x="2670" y="1380"/>
                  <a:pt x="2670" y="1380"/>
                </a:cubicBezTo>
                <a:cubicBezTo>
                  <a:pt x="2670" y="1379"/>
                  <a:pt x="2670" y="1378"/>
                  <a:pt x="2670" y="1378"/>
                </a:cubicBezTo>
                <a:cubicBezTo>
                  <a:pt x="2671" y="1377"/>
                  <a:pt x="2672" y="1377"/>
                  <a:pt x="2672" y="1376"/>
                </a:cubicBezTo>
                <a:cubicBezTo>
                  <a:pt x="2672" y="1375"/>
                  <a:pt x="2672" y="1374"/>
                  <a:pt x="2671" y="1375"/>
                </a:cubicBezTo>
                <a:close/>
                <a:moveTo>
                  <a:pt x="2693" y="1400"/>
                </a:moveTo>
                <a:cubicBezTo>
                  <a:pt x="2692" y="1399"/>
                  <a:pt x="2691" y="1400"/>
                  <a:pt x="2691" y="1401"/>
                </a:cubicBezTo>
                <a:cubicBezTo>
                  <a:pt x="2691" y="1401"/>
                  <a:pt x="2693" y="1401"/>
                  <a:pt x="2693" y="1400"/>
                </a:cubicBezTo>
                <a:close/>
                <a:moveTo>
                  <a:pt x="2698" y="1435"/>
                </a:moveTo>
                <a:cubicBezTo>
                  <a:pt x="2699" y="1435"/>
                  <a:pt x="2699" y="1434"/>
                  <a:pt x="2699" y="1433"/>
                </a:cubicBezTo>
                <a:cubicBezTo>
                  <a:pt x="2700" y="1433"/>
                  <a:pt x="2700" y="1433"/>
                  <a:pt x="2701" y="1432"/>
                </a:cubicBezTo>
                <a:cubicBezTo>
                  <a:pt x="2701" y="1432"/>
                  <a:pt x="2701" y="1431"/>
                  <a:pt x="2701" y="1430"/>
                </a:cubicBezTo>
                <a:cubicBezTo>
                  <a:pt x="2700" y="1429"/>
                  <a:pt x="2701" y="1429"/>
                  <a:pt x="2700" y="1428"/>
                </a:cubicBezTo>
                <a:cubicBezTo>
                  <a:pt x="2699" y="1428"/>
                  <a:pt x="2697" y="1428"/>
                  <a:pt x="2697" y="1430"/>
                </a:cubicBezTo>
                <a:cubicBezTo>
                  <a:pt x="2697" y="1430"/>
                  <a:pt x="2698" y="1431"/>
                  <a:pt x="2698" y="1432"/>
                </a:cubicBezTo>
                <a:cubicBezTo>
                  <a:pt x="2698" y="1432"/>
                  <a:pt x="2697" y="1436"/>
                  <a:pt x="2698" y="1435"/>
                </a:cubicBezTo>
                <a:close/>
                <a:moveTo>
                  <a:pt x="2788" y="1397"/>
                </a:moveTo>
                <a:cubicBezTo>
                  <a:pt x="2788" y="1396"/>
                  <a:pt x="2787" y="1394"/>
                  <a:pt x="2788" y="1393"/>
                </a:cubicBezTo>
                <a:cubicBezTo>
                  <a:pt x="2788" y="1392"/>
                  <a:pt x="2789" y="1392"/>
                  <a:pt x="2789" y="1391"/>
                </a:cubicBezTo>
                <a:cubicBezTo>
                  <a:pt x="2789" y="1390"/>
                  <a:pt x="2788" y="1390"/>
                  <a:pt x="2787" y="1391"/>
                </a:cubicBezTo>
                <a:cubicBezTo>
                  <a:pt x="2787" y="1391"/>
                  <a:pt x="2787" y="1391"/>
                  <a:pt x="2786" y="1392"/>
                </a:cubicBezTo>
                <a:cubicBezTo>
                  <a:pt x="2785" y="1392"/>
                  <a:pt x="2784" y="1391"/>
                  <a:pt x="2784" y="1391"/>
                </a:cubicBezTo>
                <a:cubicBezTo>
                  <a:pt x="2782" y="1390"/>
                  <a:pt x="2781" y="1390"/>
                  <a:pt x="2779" y="1390"/>
                </a:cubicBezTo>
                <a:cubicBezTo>
                  <a:pt x="2778" y="1389"/>
                  <a:pt x="2776" y="1387"/>
                  <a:pt x="2774" y="1388"/>
                </a:cubicBezTo>
                <a:cubicBezTo>
                  <a:pt x="2773" y="1388"/>
                  <a:pt x="2772" y="1390"/>
                  <a:pt x="2770" y="1390"/>
                </a:cubicBezTo>
                <a:cubicBezTo>
                  <a:pt x="2769" y="1390"/>
                  <a:pt x="2769" y="1389"/>
                  <a:pt x="2768" y="1390"/>
                </a:cubicBezTo>
                <a:cubicBezTo>
                  <a:pt x="2767" y="1390"/>
                  <a:pt x="2768" y="1391"/>
                  <a:pt x="2768" y="1391"/>
                </a:cubicBezTo>
                <a:cubicBezTo>
                  <a:pt x="2769" y="1392"/>
                  <a:pt x="2770" y="1392"/>
                  <a:pt x="2770" y="1393"/>
                </a:cubicBezTo>
                <a:cubicBezTo>
                  <a:pt x="2769" y="1394"/>
                  <a:pt x="2768" y="1393"/>
                  <a:pt x="2768" y="1394"/>
                </a:cubicBezTo>
                <a:cubicBezTo>
                  <a:pt x="2767" y="1395"/>
                  <a:pt x="2766" y="1396"/>
                  <a:pt x="2765" y="1396"/>
                </a:cubicBezTo>
                <a:cubicBezTo>
                  <a:pt x="2764" y="1396"/>
                  <a:pt x="2763" y="1396"/>
                  <a:pt x="2763" y="1397"/>
                </a:cubicBezTo>
                <a:cubicBezTo>
                  <a:pt x="2762" y="1397"/>
                  <a:pt x="2761" y="1398"/>
                  <a:pt x="2760" y="1398"/>
                </a:cubicBezTo>
                <a:cubicBezTo>
                  <a:pt x="2759" y="1398"/>
                  <a:pt x="2759" y="1397"/>
                  <a:pt x="2758" y="1397"/>
                </a:cubicBezTo>
                <a:cubicBezTo>
                  <a:pt x="2757" y="1396"/>
                  <a:pt x="2757" y="1397"/>
                  <a:pt x="2756" y="1396"/>
                </a:cubicBezTo>
                <a:cubicBezTo>
                  <a:pt x="2756" y="1395"/>
                  <a:pt x="2756" y="1395"/>
                  <a:pt x="2756" y="1394"/>
                </a:cubicBezTo>
                <a:cubicBezTo>
                  <a:pt x="2754" y="1392"/>
                  <a:pt x="2754" y="1394"/>
                  <a:pt x="2753" y="1395"/>
                </a:cubicBezTo>
                <a:cubicBezTo>
                  <a:pt x="2753" y="1396"/>
                  <a:pt x="2752" y="1396"/>
                  <a:pt x="2751" y="1397"/>
                </a:cubicBezTo>
                <a:cubicBezTo>
                  <a:pt x="2751" y="1397"/>
                  <a:pt x="2751" y="1398"/>
                  <a:pt x="2751" y="1399"/>
                </a:cubicBezTo>
                <a:cubicBezTo>
                  <a:pt x="2751" y="1401"/>
                  <a:pt x="2749" y="1401"/>
                  <a:pt x="2748" y="1402"/>
                </a:cubicBezTo>
                <a:cubicBezTo>
                  <a:pt x="2747" y="1403"/>
                  <a:pt x="2745" y="1404"/>
                  <a:pt x="2744" y="1405"/>
                </a:cubicBezTo>
                <a:cubicBezTo>
                  <a:pt x="2743" y="1406"/>
                  <a:pt x="2742" y="1407"/>
                  <a:pt x="2741" y="1408"/>
                </a:cubicBezTo>
                <a:cubicBezTo>
                  <a:pt x="2740" y="1409"/>
                  <a:pt x="2738" y="1409"/>
                  <a:pt x="2738" y="1411"/>
                </a:cubicBezTo>
                <a:cubicBezTo>
                  <a:pt x="2740" y="1411"/>
                  <a:pt x="2742" y="1406"/>
                  <a:pt x="2744" y="1408"/>
                </a:cubicBezTo>
                <a:cubicBezTo>
                  <a:pt x="2744" y="1409"/>
                  <a:pt x="2744" y="1410"/>
                  <a:pt x="2744" y="1410"/>
                </a:cubicBezTo>
                <a:cubicBezTo>
                  <a:pt x="2744" y="1411"/>
                  <a:pt x="2745" y="1411"/>
                  <a:pt x="2745" y="1412"/>
                </a:cubicBezTo>
                <a:cubicBezTo>
                  <a:pt x="2745" y="1412"/>
                  <a:pt x="2745" y="1413"/>
                  <a:pt x="2745" y="1413"/>
                </a:cubicBezTo>
                <a:cubicBezTo>
                  <a:pt x="2745" y="1413"/>
                  <a:pt x="2745" y="1414"/>
                  <a:pt x="2745" y="1414"/>
                </a:cubicBezTo>
                <a:cubicBezTo>
                  <a:pt x="2746" y="1415"/>
                  <a:pt x="2745" y="1416"/>
                  <a:pt x="2745" y="1416"/>
                </a:cubicBezTo>
                <a:cubicBezTo>
                  <a:pt x="2745" y="1417"/>
                  <a:pt x="2746" y="1417"/>
                  <a:pt x="2746" y="1418"/>
                </a:cubicBezTo>
                <a:cubicBezTo>
                  <a:pt x="2746" y="1419"/>
                  <a:pt x="2746" y="1420"/>
                  <a:pt x="2746" y="1420"/>
                </a:cubicBezTo>
                <a:cubicBezTo>
                  <a:pt x="2747" y="1421"/>
                  <a:pt x="2747" y="1420"/>
                  <a:pt x="2748" y="1420"/>
                </a:cubicBezTo>
                <a:cubicBezTo>
                  <a:pt x="2749" y="1420"/>
                  <a:pt x="2749" y="1421"/>
                  <a:pt x="2750" y="1422"/>
                </a:cubicBezTo>
                <a:cubicBezTo>
                  <a:pt x="2750" y="1424"/>
                  <a:pt x="2752" y="1422"/>
                  <a:pt x="2753" y="1423"/>
                </a:cubicBezTo>
                <a:cubicBezTo>
                  <a:pt x="2754" y="1424"/>
                  <a:pt x="2754" y="1424"/>
                  <a:pt x="2755" y="1425"/>
                </a:cubicBezTo>
                <a:cubicBezTo>
                  <a:pt x="2756" y="1425"/>
                  <a:pt x="2756" y="1424"/>
                  <a:pt x="2756" y="1424"/>
                </a:cubicBezTo>
                <a:cubicBezTo>
                  <a:pt x="2756" y="1423"/>
                  <a:pt x="2756" y="1422"/>
                  <a:pt x="2756" y="1421"/>
                </a:cubicBezTo>
                <a:cubicBezTo>
                  <a:pt x="2756" y="1420"/>
                  <a:pt x="2756" y="1420"/>
                  <a:pt x="2756" y="1419"/>
                </a:cubicBezTo>
                <a:cubicBezTo>
                  <a:pt x="2757" y="1418"/>
                  <a:pt x="2758" y="1416"/>
                  <a:pt x="2759" y="1415"/>
                </a:cubicBezTo>
                <a:cubicBezTo>
                  <a:pt x="2760" y="1414"/>
                  <a:pt x="2762" y="1413"/>
                  <a:pt x="2763" y="1412"/>
                </a:cubicBezTo>
                <a:cubicBezTo>
                  <a:pt x="2764" y="1412"/>
                  <a:pt x="2765" y="1411"/>
                  <a:pt x="2765" y="1411"/>
                </a:cubicBezTo>
                <a:cubicBezTo>
                  <a:pt x="2766" y="1410"/>
                  <a:pt x="2766" y="1409"/>
                  <a:pt x="2766" y="1409"/>
                </a:cubicBezTo>
                <a:cubicBezTo>
                  <a:pt x="2768" y="1407"/>
                  <a:pt x="2770" y="1406"/>
                  <a:pt x="2772" y="1407"/>
                </a:cubicBezTo>
                <a:cubicBezTo>
                  <a:pt x="2774" y="1407"/>
                  <a:pt x="2774" y="1408"/>
                  <a:pt x="2775" y="1409"/>
                </a:cubicBezTo>
                <a:cubicBezTo>
                  <a:pt x="2776" y="1409"/>
                  <a:pt x="2777" y="1409"/>
                  <a:pt x="2777" y="1410"/>
                </a:cubicBezTo>
                <a:cubicBezTo>
                  <a:pt x="2778" y="1410"/>
                  <a:pt x="2778" y="1411"/>
                  <a:pt x="2778" y="1412"/>
                </a:cubicBezTo>
                <a:cubicBezTo>
                  <a:pt x="2778" y="1413"/>
                  <a:pt x="2779" y="1413"/>
                  <a:pt x="2780" y="1412"/>
                </a:cubicBezTo>
                <a:cubicBezTo>
                  <a:pt x="2780" y="1412"/>
                  <a:pt x="2780" y="1411"/>
                  <a:pt x="2780" y="1410"/>
                </a:cubicBezTo>
                <a:cubicBezTo>
                  <a:pt x="2780" y="1408"/>
                  <a:pt x="2781" y="1408"/>
                  <a:pt x="2782" y="1406"/>
                </a:cubicBezTo>
                <a:cubicBezTo>
                  <a:pt x="2783" y="1405"/>
                  <a:pt x="2785" y="1404"/>
                  <a:pt x="2786" y="1403"/>
                </a:cubicBezTo>
                <a:cubicBezTo>
                  <a:pt x="2786" y="1402"/>
                  <a:pt x="2788" y="1401"/>
                  <a:pt x="2789" y="1400"/>
                </a:cubicBezTo>
                <a:cubicBezTo>
                  <a:pt x="2790" y="1400"/>
                  <a:pt x="2790" y="1399"/>
                  <a:pt x="2790" y="1399"/>
                </a:cubicBezTo>
                <a:cubicBezTo>
                  <a:pt x="2790" y="1397"/>
                  <a:pt x="2789" y="1398"/>
                  <a:pt x="2788" y="1397"/>
                </a:cubicBezTo>
                <a:close/>
                <a:moveTo>
                  <a:pt x="2736" y="1418"/>
                </a:moveTo>
                <a:cubicBezTo>
                  <a:pt x="2736" y="1418"/>
                  <a:pt x="2736" y="1417"/>
                  <a:pt x="2736" y="1416"/>
                </a:cubicBezTo>
                <a:cubicBezTo>
                  <a:pt x="2736" y="1414"/>
                  <a:pt x="2735" y="1413"/>
                  <a:pt x="2734" y="1413"/>
                </a:cubicBezTo>
                <a:cubicBezTo>
                  <a:pt x="2733" y="1413"/>
                  <a:pt x="2732" y="1413"/>
                  <a:pt x="2731" y="1413"/>
                </a:cubicBezTo>
                <a:cubicBezTo>
                  <a:pt x="2730" y="1413"/>
                  <a:pt x="2730" y="1412"/>
                  <a:pt x="2729" y="1412"/>
                </a:cubicBezTo>
                <a:cubicBezTo>
                  <a:pt x="2729" y="1411"/>
                  <a:pt x="2728" y="1412"/>
                  <a:pt x="2728" y="1411"/>
                </a:cubicBezTo>
                <a:cubicBezTo>
                  <a:pt x="2728" y="1409"/>
                  <a:pt x="2729" y="1410"/>
                  <a:pt x="2729" y="1409"/>
                </a:cubicBezTo>
                <a:cubicBezTo>
                  <a:pt x="2730" y="1409"/>
                  <a:pt x="2730" y="1408"/>
                  <a:pt x="2730" y="1408"/>
                </a:cubicBezTo>
                <a:cubicBezTo>
                  <a:pt x="2730" y="1407"/>
                  <a:pt x="2730" y="1406"/>
                  <a:pt x="2730" y="1405"/>
                </a:cubicBezTo>
                <a:cubicBezTo>
                  <a:pt x="2730" y="1404"/>
                  <a:pt x="2730" y="1402"/>
                  <a:pt x="2728" y="1403"/>
                </a:cubicBezTo>
                <a:cubicBezTo>
                  <a:pt x="2726" y="1403"/>
                  <a:pt x="2726" y="1405"/>
                  <a:pt x="2725" y="1405"/>
                </a:cubicBezTo>
                <a:cubicBezTo>
                  <a:pt x="2724" y="1406"/>
                  <a:pt x="2722" y="1406"/>
                  <a:pt x="2721" y="1405"/>
                </a:cubicBezTo>
                <a:cubicBezTo>
                  <a:pt x="2720" y="1404"/>
                  <a:pt x="2720" y="1403"/>
                  <a:pt x="2720" y="1403"/>
                </a:cubicBezTo>
                <a:cubicBezTo>
                  <a:pt x="2719" y="1402"/>
                  <a:pt x="2718" y="1403"/>
                  <a:pt x="2718" y="1402"/>
                </a:cubicBezTo>
                <a:cubicBezTo>
                  <a:pt x="2716" y="1401"/>
                  <a:pt x="2717" y="1399"/>
                  <a:pt x="2716" y="1398"/>
                </a:cubicBezTo>
                <a:cubicBezTo>
                  <a:pt x="2716" y="1398"/>
                  <a:pt x="2715" y="1398"/>
                  <a:pt x="2714" y="1398"/>
                </a:cubicBezTo>
                <a:cubicBezTo>
                  <a:pt x="2713" y="1398"/>
                  <a:pt x="2713" y="1398"/>
                  <a:pt x="2712" y="1398"/>
                </a:cubicBezTo>
                <a:cubicBezTo>
                  <a:pt x="2711" y="1398"/>
                  <a:pt x="2711" y="1398"/>
                  <a:pt x="2710" y="1398"/>
                </a:cubicBezTo>
                <a:cubicBezTo>
                  <a:pt x="2709" y="1398"/>
                  <a:pt x="2708" y="1399"/>
                  <a:pt x="2707" y="1399"/>
                </a:cubicBezTo>
                <a:cubicBezTo>
                  <a:pt x="2706" y="1400"/>
                  <a:pt x="2707" y="1400"/>
                  <a:pt x="2706" y="1401"/>
                </a:cubicBezTo>
                <a:cubicBezTo>
                  <a:pt x="2706" y="1402"/>
                  <a:pt x="2705" y="1402"/>
                  <a:pt x="2705" y="1402"/>
                </a:cubicBezTo>
                <a:cubicBezTo>
                  <a:pt x="2704" y="1402"/>
                  <a:pt x="2703" y="1403"/>
                  <a:pt x="2703" y="1403"/>
                </a:cubicBezTo>
                <a:cubicBezTo>
                  <a:pt x="2702" y="1403"/>
                  <a:pt x="2701" y="1403"/>
                  <a:pt x="2700" y="1404"/>
                </a:cubicBezTo>
                <a:cubicBezTo>
                  <a:pt x="2699" y="1404"/>
                  <a:pt x="2699" y="1406"/>
                  <a:pt x="2698" y="1407"/>
                </a:cubicBezTo>
                <a:cubicBezTo>
                  <a:pt x="2697" y="1407"/>
                  <a:pt x="2696" y="1407"/>
                  <a:pt x="2696" y="1407"/>
                </a:cubicBezTo>
                <a:cubicBezTo>
                  <a:pt x="2695" y="1406"/>
                  <a:pt x="2695" y="1405"/>
                  <a:pt x="2694" y="1406"/>
                </a:cubicBezTo>
                <a:cubicBezTo>
                  <a:pt x="2693" y="1406"/>
                  <a:pt x="2694" y="1409"/>
                  <a:pt x="2693" y="1410"/>
                </a:cubicBezTo>
                <a:cubicBezTo>
                  <a:pt x="2693" y="1411"/>
                  <a:pt x="2692" y="1411"/>
                  <a:pt x="2692" y="1411"/>
                </a:cubicBezTo>
                <a:cubicBezTo>
                  <a:pt x="2691" y="1411"/>
                  <a:pt x="2691" y="1410"/>
                  <a:pt x="2690" y="1410"/>
                </a:cubicBezTo>
                <a:cubicBezTo>
                  <a:pt x="2688" y="1408"/>
                  <a:pt x="2689" y="1411"/>
                  <a:pt x="2689" y="1412"/>
                </a:cubicBezTo>
                <a:cubicBezTo>
                  <a:pt x="2689" y="1413"/>
                  <a:pt x="2689" y="1414"/>
                  <a:pt x="2690" y="1414"/>
                </a:cubicBezTo>
                <a:cubicBezTo>
                  <a:pt x="2690" y="1415"/>
                  <a:pt x="2691" y="1415"/>
                  <a:pt x="2691" y="1416"/>
                </a:cubicBezTo>
                <a:cubicBezTo>
                  <a:pt x="2691" y="1417"/>
                  <a:pt x="2690" y="1417"/>
                  <a:pt x="2690" y="1418"/>
                </a:cubicBezTo>
                <a:cubicBezTo>
                  <a:pt x="2690" y="1418"/>
                  <a:pt x="2690" y="1419"/>
                  <a:pt x="2690" y="1420"/>
                </a:cubicBezTo>
                <a:cubicBezTo>
                  <a:pt x="2691" y="1420"/>
                  <a:pt x="2691" y="1420"/>
                  <a:pt x="2691" y="1421"/>
                </a:cubicBezTo>
                <a:cubicBezTo>
                  <a:pt x="2692" y="1422"/>
                  <a:pt x="2692" y="1423"/>
                  <a:pt x="2693" y="1423"/>
                </a:cubicBezTo>
                <a:cubicBezTo>
                  <a:pt x="2693" y="1424"/>
                  <a:pt x="2694" y="1424"/>
                  <a:pt x="2694" y="1424"/>
                </a:cubicBezTo>
                <a:cubicBezTo>
                  <a:pt x="2694" y="1425"/>
                  <a:pt x="2693" y="1426"/>
                  <a:pt x="2693" y="1427"/>
                </a:cubicBezTo>
                <a:cubicBezTo>
                  <a:pt x="2694" y="1427"/>
                  <a:pt x="2694" y="1425"/>
                  <a:pt x="2695" y="1425"/>
                </a:cubicBezTo>
                <a:cubicBezTo>
                  <a:pt x="2696" y="1425"/>
                  <a:pt x="2696" y="1425"/>
                  <a:pt x="2697" y="1425"/>
                </a:cubicBezTo>
                <a:cubicBezTo>
                  <a:pt x="2698" y="1425"/>
                  <a:pt x="2698" y="1424"/>
                  <a:pt x="2699" y="1424"/>
                </a:cubicBezTo>
                <a:cubicBezTo>
                  <a:pt x="2699" y="1424"/>
                  <a:pt x="2702" y="1423"/>
                  <a:pt x="2701" y="1425"/>
                </a:cubicBezTo>
                <a:cubicBezTo>
                  <a:pt x="2701" y="1425"/>
                  <a:pt x="2700" y="1425"/>
                  <a:pt x="2700" y="1426"/>
                </a:cubicBezTo>
                <a:cubicBezTo>
                  <a:pt x="2699" y="1426"/>
                  <a:pt x="2700" y="1427"/>
                  <a:pt x="2700" y="1427"/>
                </a:cubicBezTo>
                <a:cubicBezTo>
                  <a:pt x="2701" y="1425"/>
                  <a:pt x="2703" y="1427"/>
                  <a:pt x="2703" y="1425"/>
                </a:cubicBezTo>
                <a:cubicBezTo>
                  <a:pt x="2703" y="1424"/>
                  <a:pt x="2703" y="1423"/>
                  <a:pt x="2702" y="1423"/>
                </a:cubicBezTo>
                <a:cubicBezTo>
                  <a:pt x="2702" y="1422"/>
                  <a:pt x="2701" y="1423"/>
                  <a:pt x="2700" y="1422"/>
                </a:cubicBezTo>
                <a:cubicBezTo>
                  <a:pt x="2699" y="1421"/>
                  <a:pt x="2702" y="1420"/>
                  <a:pt x="2701" y="1419"/>
                </a:cubicBezTo>
                <a:cubicBezTo>
                  <a:pt x="2701" y="1418"/>
                  <a:pt x="2700" y="1418"/>
                  <a:pt x="2700" y="1417"/>
                </a:cubicBezTo>
                <a:cubicBezTo>
                  <a:pt x="2700" y="1417"/>
                  <a:pt x="2701" y="1417"/>
                  <a:pt x="2701" y="1416"/>
                </a:cubicBezTo>
                <a:cubicBezTo>
                  <a:pt x="2701" y="1416"/>
                  <a:pt x="2701" y="1416"/>
                  <a:pt x="2701" y="1415"/>
                </a:cubicBezTo>
                <a:cubicBezTo>
                  <a:pt x="2701" y="1415"/>
                  <a:pt x="2701" y="1414"/>
                  <a:pt x="2702" y="1414"/>
                </a:cubicBezTo>
                <a:cubicBezTo>
                  <a:pt x="2703" y="1414"/>
                  <a:pt x="2703" y="1415"/>
                  <a:pt x="2704" y="1415"/>
                </a:cubicBezTo>
                <a:cubicBezTo>
                  <a:pt x="2704" y="1416"/>
                  <a:pt x="2704" y="1416"/>
                  <a:pt x="2704" y="1416"/>
                </a:cubicBezTo>
                <a:cubicBezTo>
                  <a:pt x="2704" y="1416"/>
                  <a:pt x="2705" y="1416"/>
                  <a:pt x="2705" y="1417"/>
                </a:cubicBezTo>
                <a:cubicBezTo>
                  <a:pt x="2705" y="1417"/>
                  <a:pt x="2706" y="1418"/>
                  <a:pt x="2706" y="1418"/>
                </a:cubicBezTo>
                <a:cubicBezTo>
                  <a:pt x="2706" y="1419"/>
                  <a:pt x="2706" y="1419"/>
                  <a:pt x="2707" y="1420"/>
                </a:cubicBezTo>
                <a:cubicBezTo>
                  <a:pt x="2707" y="1421"/>
                  <a:pt x="2707" y="1421"/>
                  <a:pt x="2707" y="1422"/>
                </a:cubicBezTo>
                <a:cubicBezTo>
                  <a:pt x="2708" y="1422"/>
                  <a:pt x="2709" y="1423"/>
                  <a:pt x="2708" y="1424"/>
                </a:cubicBezTo>
                <a:cubicBezTo>
                  <a:pt x="2707" y="1425"/>
                  <a:pt x="2706" y="1426"/>
                  <a:pt x="2708" y="1426"/>
                </a:cubicBezTo>
                <a:cubicBezTo>
                  <a:pt x="2710" y="1426"/>
                  <a:pt x="2710" y="1426"/>
                  <a:pt x="2709" y="1428"/>
                </a:cubicBezTo>
                <a:cubicBezTo>
                  <a:pt x="2708" y="1428"/>
                  <a:pt x="2708" y="1429"/>
                  <a:pt x="2708" y="1429"/>
                </a:cubicBezTo>
                <a:cubicBezTo>
                  <a:pt x="2708" y="1430"/>
                  <a:pt x="2708" y="1431"/>
                  <a:pt x="2707" y="1431"/>
                </a:cubicBezTo>
                <a:cubicBezTo>
                  <a:pt x="2707" y="1432"/>
                  <a:pt x="2706" y="1432"/>
                  <a:pt x="2706" y="1433"/>
                </a:cubicBezTo>
                <a:cubicBezTo>
                  <a:pt x="2705" y="1433"/>
                  <a:pt x="2705" y="1434"/>
                  <a:pt x="2705" y="1434"/>
                </a:cubicBezTo>
                <a:cubicBezTo>
                  <a:pt x="2704" y="1436"/>
                  <a:pt x="2704" y="1437"/>
                  <a:pt x="2702" y="1437"/>
                </a:cubicBezTo>
                <a:cubicBezTo>
                  <a:pt x="2700" y="1439"/>
                  <a:pt x="2700" y="1441"/>
                  <a:pt x="2700" y="1444"/>
                </a:cubicBezTo>
                <a:cubicBezTo>
                  <a:pt x="2700" y="1445"/>
                  <a:pt x="2701" y="1445"/>
                  <a:pt x="2701" y="1446"/>
                </a:cubicBezTo>
                <a:cubicBezTo>
                  <a:pt x="2702" y="1447"/>
                  <a:pt x="2702" y="1448"/>
                  <a:pt x="2702" y="1449"/>
                </a:cubicBezTo>
                <a:cubicBezTo>
                  <a:pt x="2702" y="1450"/>
                  <a:pt x="2703" y="1451"/>
                  <a:pt x="2703" y="1452"/>
                </a:cubicBezTo>
                <a:cubicBezTo>
                  <a:pt x="2702" y="1455"/>
                  <a:pt x="2701" y="1451"/>
                  <a:pt x="2700" y="1452"/>
                </a:cubicBezTo>
                <a:cubicBezTo>
                  <a:pt x="2699" y="1454"/>
                  <a:pt x="2701" y="1455"/>
                  <a:pt x="2702" y="1455"/>
                </a:cubicBezTo>
                <a:cubicBezTo>
                  <a:pt x="2703" y="1456"/>
                  <a:pt x="2704" y="1456"/>
                  <a:pt x="2704" y="1456"/>
                </a:cubicBezTo>
                <a:cubicBezTo>
                  <a:pt x="2705" y="1457"/>
                  <a:pt x="2706" y="1456"/>
                  <a:pt x="2706" y="1457"/>
                </a:cubicBezTo>
                <a:cubicBezTo>
                  <a:pt x="2707" y="1457"/>
                  <a:pt x="2707" y="1458"/>
                  <a:pt x="2708" y="1458"/>
                </a:cubicBezTo>
                <a:cubicBezTo>
                  <a:pt x="2709" y="1460"/>
                  <a:pt x="2710" y="1456"/>
                  <a:pt x="2710" y="1455"/>
                </a:cubicBezTo>
                <a:cubicBezTo>
                  <a:pt x="2709" y="1454"/>
                  <a:pt x="2709" y="1454"/>
                  <a:pt x="2708" y="1454"/>
                </a:cubicBezTo>
                <a:cubicBezTo>
                  <a:pt x="2708" y="1453"/>
                  <a:pt x="2708" y="1453"/>
                  <a:pt x="2708" y="1452"/>
                </a:cubicBezTo>
                <a:cubicBezTo>
                  <a:pt x="2707" y="1451"/>
                  <a:pt x="2708" y="1449"/>
                  <a:pt x="2709" y="1448"/>
                </a:cubicBezTo>
                <a:cubicBezTo>
                  <a:pt x="2709" y="1448"/>
                  <a:pt x="2710" y="1448"/>
                  <a:pt x="2710" y="1447"/>
                </a:cubicBezTo>
                <a:cubicBezTo>
                  <a:pt x="2711" y="1447"/>
                  <a:pt x="2710" y="1446"/>
                  <a:pt x="2711" y="1446"/>
                </a:cubicBezTo>
                <a:cubicBezTo>
                  <a:pt x="2712" y="1445"/>
                  <a:pt x="2713" y="1448"/>
                  <a:pt x="2712" y="1449"/>
                </a:cubicBezTo>
                <a:cubicBezTo>
                  <a:pt x="2712" y="1449"/>
                  <a:pt x="2711" y="1449"/>
                  <a:pt x="2711" y="1450"/>
                </a:cubicBezTo>
                <a:cubicBezTo>
                  <a:pt x="2711" y="1451"/>
                  <a:pt x="2712" y="1452"/>
                  <a:pt x="2712" y="1452"/>
                </a:cubicBezTo>
                <a:cubicBezTo>
                  <a:pt x="2712" y="1454"/>
                  <a:pt x="2712" y="1456"/>
                  <a:pt x="2712" y="1457"/>
                </a:cubicBezTo>
                <a:cubicBezTo>
                  <a:pt x="2712" y="1458"/>
                  <a:pt x="2712" y="1459"/>
                  <a:pt x="2711" y="1459"/>
                </a:cubicBezTo>
                <a:cubicBezTo>
                  <a:pt x="2711" y="1460"/>
                  <a:pt x="2710" y="1460"/>
                  <a:pt x="2711" y="1461"/>
                </a:cubicBezTo>
                <a:cubicBezTo>
                  <a:pt x="2712" y="1461"/>
                  <a:pt x="2712" y="1460"/>
                  <a:pt x="2713" y="1459"/>
                </a:cubicBezTo>
                <a:cubicBezTo>
                  <a:pt x="2713" y="1459"/>
                  <a:pt x="2714" y="1459"/>
                  <a:pt x="2715" y="1458"/>
                </a:cubicBezTo>
                <a:cubicBezTo>
                  <a:pt x="2716" y="1458"/>
                  <a:pt x="2717" y="1457"/>
                  <a:pt x="2718" y="1457"/>
                </a:cubicBezTo>
                <a:cubicBezTo>
                  <a:pt x="2720" y="1456"/>
                  <a:pt x="2719" y="1455"/>
                  <a:pt x="2719" y="1454"/>
                </a:cubicBezTo>
                <a:cubicBezTo>
                  <a:pt x="2719" y="1451"/>
                  <a:pt x="2720" y="1452"/>
                  <a:pt x="2722" y="1452"/>
                </a:cubicBezTo>
                <a:cubicBezTo>
                  <a:pt x="2723" y="1452"/>
                  <a:pt x="2724" y="1453"/>
                  <a:pt x="2724" y="1452"/>
                </a:cubicBezTo>
                <a:cubicBezTo>
                  <a:pt x="2725" y="1450"/>
                  <a:pt x="2726" y="1448"/>
                  <a:pt x="2726" y="1447"/>
                </a:cubicBezTo>
                <a:cubicBezTo>
                  <a:pt x="2726" y="1445"/>
                  <a:pt x="2727" y="1444"/>
                  <a:pt x="2727" y="1442"/>
                </a:cubicBezTo>
                <a:cubicBezTo>
                  <a:pt x="2728" y="1441"/>
                  <a:pt x="2729" y="1439"/>
                  <a:pt x="2729" y="1438"/>
                </a:cubicBezTo>
                <a:cubicBezTo>
                  <a:pt x="2729" y="1436"/>
                  <a:pt x="2729" y="1434"/>
                  <a:pt x="2730" y="1433"/>
                </a:cubicBezTo>
                <a:cubicBezTo>
                  <a:pt x="2730" y="1432"/>
                  <a:pt x="2731" y="1432"/>
                  <a:pt x="2731" y="1431"/>
                </a:cubicBezTo>
                <a:cubicBezTo>
                  <a:pt x="2731" y="1431"/>
                  <a:pt x="2731" y="1430"/>
                  <a:pt x="2731" y="1430"/>
                </a:cubicBezTo>
                <a:cubicBezTo>
                  <a:pt x="2732" y="1428"/>
                  <a:pt x="2733" y="1426"/>
                  <a:pt x="2734" y="1425"/>
                </a:cubicBezTo>
                <a:cubicBezTo>
                  <a:pt x="2734" y="1424"/>
                  <a:pt x="2734" y="1423"/>
                  <a:pt x="2735" y="1423"/>
                </a:cubicBezTo>
                <a:cubicBezTo>
                  <a:pt x="2735" y="1422"/>
                  <a:pt x="2737" y="1421"/>
                  <a:pt x="2737" y="1419"/>
                </a:cubicBezTo>
                <a:cubicBezTo>
                  <a:pt x="2737" y="1419"/>
                  <a:pt x="2737" y="1419"/>
                  <a:pt x="2736" y="1418"/>
                </a:cubicBezTo>
                <a:close/>
                <a:moveTo>
                  <a:pt x="2694" y="1420"/>
                </a:moveTo>
                <a:cubicBezTo>
                  <a:pt x="2694" y="1419"/>
                  <a:pt x="2694" y="1419"/>
                  <a:pt x="2694" y="1419"/>
                </a:cubicBezTo>
                <a:cubicBezTo>
                  <a:pt x="2695" y="1419"/>
                  <a:pt x="2695" y="1419"/>
                  <a:pt x="2695" y="1419"/>
                </a:cubicBezTo>
                <a:cubicBezTo>
                  <a:pt x="2695" y="1419"/>
                  <a:pt x="2695" y="1420"/>
                  <a:pt x="2695" y="1420"/>
                </a:cubicBezTo>
                <a:cubicBezTo>
                  <a:pt x="2695" y="1420"/>
                  <a:pt x="2696" y="1420"/>
                  <a:pt x="2696" y="1421"/>
                </a:cubicBezTo>
                <a:cubicBezTo>
                  <a:pt x="2695" y="1421"/>
                  <a:pt x="2694" y="1420"/>
                  <a:pt x="2694" y="1420"/>
                </a:cubicBezTo>
                <a:close/>
                <a:moveTo>
                  <a:pt x="2792" y="1387"/>
                </a:moveTo>
                <a:cubicBezTo>
                  <a:pt x="2791" y="1388"/>
                  <a:pt x="2789" y="1389"/>
                  <a:pt x="2790" y="1390"/>
                </a:cubicBezTo>
                <a:cubicBezTo>
                  <a:pt x="2790" y="1391"/>
                  <a:pt x="2791" y="1391"/>
                  <a:pt x="2791" y="1392"/>
                </a:cubicBezTo>
                <a:cubicBezTo>
                  <a:pt x="2791" y="1392"/>
                  <a:pt x="2791" y="1393"/>
                  <a:pt x="2791" y="1392"/>
                </a:cubicBezTo>
                <a:cubicBezTo>
                  <a:pt x="2792" y="1392"/>
                  <a:pt x="2792" y="1392"/>
                  <a:pt x="2792" y="1391"/>
                </a:cubicBezTo>
                <a:cubicBezTo>
                  <a:pt x="2793" y="1391"/>
                  <a:pt x="2793" y="1391"/>
                  <a:pt x="2793" y="1390"/>
                </a:cubicBezTo>
                <a:cubicBezTo>
                  <a:pt x="2795" y="1389"/>
                  <a:pt x="2793" y="1389"/>
                  <a:pt x="2793" y="1388"/>
                </a:cubicBezTo>
                <a:cubicBezTo>
                  <a:pt x="2793" y="1387"/>
                  <a:pt x="2795" y="1386"/>
                  <a:pt x="2795" y="1385"/>
                </a:cubicBezTo>
                <a:cubicBezTo>
                  <a:pt x="2794" y="1385"/>
                  <a:pt x="2793" y="1387"/>
                  <a:pt x="2792" y="1387"/>
                </a:cubicBezTo>
                <a:close/>
                <a:moveTo>
                  <a:pt x="2808" y="2109"/>
                </a:moveTo>
                <a:cubicBezTo>
                  <a:pt x="2809" y="2109"/>
                  <a:pt x="2809" y="2110"/>
                  <a:pt x="2810" y="2109"/>
                </a:cubicBezTo>
                <a:cubicBezTo>
                  <a:pt x="2810" y="2109"/>
                  <a:pt x="2811" y="2107"/>
                  <a:pt x="2811" y="2108"/>
                </a:cubicBezTo>
                <a:cubicBezTo>
                  <a:pt x="2812" y="2108"/>
                  <a:pt x="2812" y="2110"/>
                  <a:pt x="2812" y="2110"/>
                </a:cubicBezTo>
                <a:cubicBezTo>
                  <a:pt x="2812" y="2111"/>
                  <a:pt x="2811" y="2113"/>
                  <a:pt x="2812" y="2114"/>
                </a:cubicBezTo>
                <a:cubicBezTo>
                  <a:pt x="2812" y="2115"/>
                  <a:pt x="2813" y="2115"/>
                  <a:pt x="2813" y="2115"/>
                </a:cubicBezTo>
                <a:cubicBezTo>
                  <a:pt x="2813" y="2116"/>
                  <a:pt x="2813" y="2116"/>
                  <a:pt x="2814" y="2117"/>
                </a:cubicBezTo>
                <a:cubicBezTo>
                  <a:pt x="2815" y="2117"/>
                  <a:pt x="2816" y="2117"/>
                  <a:pt x="2817" y="2116"/>
                </a:cubicBezTo>
                <a:cubicBezTo>
                  <a:pt x="2818" y="2116"/>
                  <a:pt x="2819" y="2116"/>
                  <a:pt x="2821" y="2116"/>
                </a:cubicBezTo>
                <a:cubicBezTo>
                  <a:pt x="2822" y="2116"/>
                  <a:pt x="2823" y="2115"/>
                  <a:pt x="2823" y="2114"/>
                </a:cubicBezTo>
                <a:cubicBezTo>
                  <a:pt x="2822" y="2114"/>
                  <a:pt x="2821" y="2114"/>
                  <a:pt x="2821" y="2114"/>
                </a:cubicBezTo>
                <a:cubicBezTo>
                  <a:pt x="2820" y="2114"/>
                  <a:pt x="2820" y="2113"/>
                  <a:pt x="2819" y="2113"/>
                </a:cubicBezTo>
                <a:cubicBezTo>
                  <a:pt x="2818" y="2113"/>
                  <a:pt x="2818" y="2113"/>
                  <a:pt x="2817" y="2112"/>
                </a:cubicBezTo>
                <a:cubicBezTo>
                  <a:pt x="2817" y="2111"/>
                  <a:pt x="2817" y="2110"/>
                  <a:pt x="2816" y="2110"/>
                </a:cubicBezTo>
                <a:cubicBezTo>
                  <a:pt x="2816" y="2109"/>
                  <a:pt x="2814" y="2107"/>
                  <a:pt x="2813" y="2107"/>
                </a:cubicBezTo>
                <a:cubicBezTo>
                  <a:pt x="2812" y="2106"/>
                  <a:pt x="2810" y="2107"/>
                  <a:pt x="2809" y="2106"/>
                </a:cubicBezTo>
                <a:cubicBezTo>
                  <a:pt x="2808" y="2106"/>
                  <a:pt x="2808" y="2105"/>
                  <a:pt x="2807" y="2105"/>
                </a:cubicBezTo>
                <a:cubicBezTo>
                  <a:pt x="2806" y="2105"/>
                  <a:pt x="2806" y="2105"/>
                  <a:pt x="2805" y="2105"/>
                </a:cubicBezTo>
                <a:cubicBezTo>
                  <a:pt x="2804" y="2105"/>
                  <a:pt x="2803" y="2105"/>
                  <a:pt x="2804" y="2106"/>
                </a:cubicBezTo>
                <a:cubicBezTo>
                  <a:pt x="2804" y="2107"/>
                  <a:pt x="2805" y="2108"/>
                  <a:pt x="2806" y="2108"/>
                </a:cubicBezTo>
                <a:cubicBezTo>
                  <a:pt x="2807" y="2108"/>
                  <a:pt x="2808" y="2108"/>
                  <a:pt x="2808" y="2109"/>
                </a:cubicBezTo>
                <a:close/>
                <a:moveTo>
                  <a:pt x="2721" y="2095"/>
                </a:moveTo>
                <a:cubicBezTo>
                  <a:pt x="2721" y="2094"/>
                  <a:pt x="2720" y="2094"/>
                  <a:pt x="2719" y="2094"/>
                </a:cubicBezTo>
                <a:cubicBezTo>
                  <a:pt x="2718" y="2094"/>
                  <a:pt x="2717" y="2093"/>
                  <a:pt x="2715" y="2093"/>
                </a:cubicBezTo>
                <a:cubicBezTo>
                  <a:pt x="2715" y="2092"/>
                  <a:pt x="2714" y="2092"/>
                  <a:pt x="2713" y="2092"/>
                </a:cubicBezTo>
                <a:cubicBezTo>
                  <a:pt x="2712" y="2093"/>
                  <a:pt x="2712" y="2093"/>
                  <a:pt x="2711" y="2093"/>
                </a:cubicBezTo>
                <a:cubicBezTo>
                  <a:pt x="2711" y="2093"/>
                  <a:pt x="2710" y="2092"/>
                  <a:pt x="2710" y="2093"/>
                </a:cubicBezTo>
                <a:cubicBezTo>
                  <a:pt x="2710" y="2094"/>
                  <a:pt x="2711" y="2094"/>
                  <a:pt x="2711" y="2095"/>
                </a:cubicBezTo>
                <a:cubicBezTo>
                  <a:pt x="2711" y="2095"/>
                  <a:pt x="2711" y="2095"/>
                  <a:pt x="2711" y="2096"/>
                </a:cubicBezTo>
                <a:cubicBezTo>
                  <a:pt x="2712" y="2096"/>
                  <a:pt x="2712" y="2096"/>
                  <a:pt x="2712" y="2096"/>
                </a:cubicBezTo>
                <a:cubicBezTo>
                  <a:pt x="2713" y="2096"/>
                  <a:pt x="2713" y="2097"/>
                  <a:pt x="2713" y="2098"/>
                </a:cubicBezTo>
                <a:cubicBezTo>
                  <a:pt x="2712" y="2098"/>
                  <a:pt x="2712" y="2098"/>
                  <a:pt x="2711" y="2097"/>
                </a:cubicBezTo>
                <a:cubicBezTo>
                  <a:pt x="2711" y="2097"/>
                  <a:pt x="2711" y="2097"/>
                  <a:pt x="2711" y="2096"/>
                </a:cubicBezTo>
                <a:cubicBezTo>
                  <a:pt x="2710" y="2096"/>
                  <a:pt x="2710" y="2096"/>
                  <a:pt x="2710" y="2096"/>
                </a:cubicBezTo>
                <a:cubicBezTo>
                  <a:pt x="2709" y="2096"/>
                  <a:pt x="2710" y="2095"/>
                  <a:pt x="2709" y="2094"/>
                </a:cubicBezTo>
                <a:cubicBezTo>
                  <a:pt x="2708" y="2094"/>
                  <a:pt x="2708" y="2094"/>
                  <a:pt x="2707" y="2094"/>
                </a:cubicBezTo>
                <a:cubicBezTo>
                  <a:pt x="2706" y="2095"/>
                  <a:pt x="2705" y="2096"/>
                  <a:pt x="2704" y="2096"/>
                </a:cubicBezTo>
                <a:cubicBezTo>
                  <a:pt x="2703" y="2096"/>
                  <a:pt x="2702" y="2095"/>
                  <a:pt x="2702" y="2096"/>
                </a:cubicBezTo>
                <a:cubicBezTo>
                  <a:pt x="2701" y="2096"/>
                  <a:pt x="2701" y="2096"/>
                  <a:pt x="2702" y="2097"/>
                </a:cubicBezTo>
                <a:cubicBezTo>
                  <a:pt x="2703" y="2097"/>
                  <a:pt x="2703" y="2098"/>
                  <a:pt x="2704" y="2098"/>
                </a:cubicBezTo>
                <a:cubicBezTo>
                  <a:pt x="2706" y="2098"/>
                  <a:pt x="2707" y="2097"/>
                  <a:pt x="2708" y="2099"/>
                </a:cubicBezTo>
                <a:cubicBezTo>
                  <a:pt x="2708" y="2100"/>
                  <a:pt x="2708" y="2101"/>
                  <a:pt x="2708" y="2101"/>
                </a:cubicBezTo>
                <a:cubicBezTo>
                  <a:pt x="2707" y="2102"/>
                  <a:pt x="2706" y="2102"/>
                  <a:pt x="2706" y="2103"/>
                </a:cubicBezTo>
                <a:cubicBezTo>
                  <a:pt x="2706" y="2103"/>
                  <a:pt x="2707" y="2103"/>
                  <a:pt x="2707" y="2102"/>
                </a:cubicBezTo>
                <a:cubicBezTo>
                  <a:pt x="2708" y="2102"/>
                  <a:pt x="2709" y="2102"/>
                  <a:pt x="2709" y="2102"/>
                </a:cubicBezTo>
                <a:cubicBezTo>
                  <a:pt x="2710" y="2101"/>
                  <a:pt x="2709" y="2100"/>
                  <a:pt x="2709" y="2100"/>
                </a:cubicBezTo>
                <a:cubicBezTo>
                  <a:pt x="2708" y="2099"/>
                  <a:pt x="2709" y="2099"/>
                  <a:pt x="2709" y="2098"/>
                </a:cubicBezTo>
                <a:cubicBezTo>
                  <a:pt x="2710" y="2098"/>
                  <a:pt x="2710" y="2099"/>
                  <a:pt x="2711" y="2100"/>
                </a:cubicBezTo>
                <a:cubicBezTo>
                  <a:pt x="2711" y="2100"/>
                  <a:pt x="2711" y="2100"/>
                  <a:pt x="2712" y="2101"/>
                </a:cubicBezTo>
                <a:cubicBezTo>
                  <a:pt x="2712" y="2101"/>
                  <a:pt x="2712" y="2102"/>
                  <a:pt x="2713" y="2102"/>
                </a:cubicBezTo>
                <a:cubicBezTo>
                  <a:pt x="2713" y="2102"/>
                  <a:pt x="2714" y="2102"/>
                  <a:pt x="2714" y="2102"/>
                </a:cubicBezTo>
                <a:cubicBezTo>
                  <a:pt x="2715" y="2101"/>
                  <a:pt x="2714" y="2100"/>
                  <a:pt x="2715" y="2100"/>
                </a:cubicBezTo>
                <a:cubicBezTo>
                  <a:pt x="2715" y="2099"/>
                  <a:pt x="2716" y="2099"/>
                  <a:pt x="2717" y="2100"/>
                </a:cubicBezTo>
                <a:cubicBezTo>
                  <a:pt x="2718" y="2100"/>
                  <a:pt x="2718" y="2100"/>
                  <a:pt x="2719" y="2099"/>
                </a:cubicBezTo>
                <a:cubicBezTo>
                  <a:pt x="2719" y="2099"/>
                  <a:pt x="2720" y="2099"/>
                  <a:pt x="2721" y="2099"/>
                </a:cubicBezTo>
                <a:cubicBezTo>
                  <a:pt x="2722" y="2100"/>
                  <a:pt x="2722" y="2100"/>
                  <a:pt x="2723" y="2100"/>
                </a:cubicBezTo>
                <a:cubicBezTo>
                  <a:pt x="2724" y="2100"/>
                  <a:pt x="2723" y="2097"/>
                  <a:pt x="2723" y="2096"/>
                </a:cubicBezTo>
                <a:cubicBezTo>
                  <a:pt x="2722" y="2096"/>
                  <a:pt x="2722" y="2095"/>
                  <a:pt x="2721" y="2095"/>
                </a:cubicBezTo>
                <a:close/>
                <a:moveTo>
                  <a:pt x="2691" y="2130"/>
                </a:moveTo>
                <a:cubicBezTo>
                  <a:pt x="2691" y="2130"/>
                  <a:pt x="2693" y="2130"/>
                  <a:pt x="2693" y="2130"/>
                </a:cubicBezTo>
                <a:cubicBezTo>
                  <a:pt x="2694" y="2130"/>
                  <a:pt x="2694" y="2131"/>
                  <a:pt x="2695" y="2131"/>
                </a:cubicBezTo>
                <a:cubicBezTo>
                  <a:pt x="2696" y="2132"/>
                  <a:pt x="2696" y="2132"/>
                  <a:pt x="2697" y="2132"/>
                </a:cubicBezTo>
                <a:cubicBezTo>
                  <a:pt x="2698" y="2132"/>
                  <a:pt x="2698" y="2133"/>
                  <a:pt x="2699" y="2133"/>
                </a:cubicBezTo>
                <a:cubicBezTo>
                  <a:pt x="2699" y="2134"/>
                  <a:pt x="2700" y="2134"/>
                  <a:pt x="2700" y="2134"/>
                </a:cubicBezTo>
                <a:cubicBezTo>
                  <a:pt x="2701" y="2134"/>
                  <a:pt x="2701" y="2133"/>
                  <a:pt x="2702" y="2132"/>
                </a:cubicBezTo>
                <a:cubicBezTo>
                  <a:pt x="2702" y="2132"/>
                  <a:pt x="2703" y="2132"/>
                  <a:pt x="2704" y="2132"/>
                </a:cubicBezTo>
                <a:cubicBezTo>
                  <a:pt x="2705" y="2132"/>
                  <a:pt x="2705" y="2131"/>
                  <a:pt x="2705" y="2130"/>
                </a:cubicBezTo>
                <a:cubicBezTo>
                  <a:pt x="2705" y="2130"/>
                  <a:pt x="2705" y="2130"/>
                  <a:pt x="2705" y="2129"/>
                </a:cubicBezTo>
                <a:cubicBezTo>
                  <a:pt x="2705" y="2129"/>
                  <a:pt x="2705" y="2129"/>
                  <a:pt x="2705" y="2129"/>
                </a:cubicBezTo>
                <a:cubicBezTo>
                  <a:pt x="2706" y="2128"/>
                  <a:pt x="2706" y="2128"/>
                  <a:pt x="2705" y="2127"/>
                </a:cubicBezTo>
                <a:cubicBezTo>
                  <a:pt x="2703" y="2126"/>
                  <a:pt x="2703" y="2123"/>
                  <a:pt x="2700" y="2125"/>
                </a:cubicBezTo>
                <a:cubicBezTo>
                  <a:pt x="2699" y="2126"/>
                  <a:pt x="2699" y="2127"/>
                  <a:pt x="2698" y="2127"/>
                </a:cubicBezTo>
                <a:cubicBezTo>
                  <a:pt x="2696" y="2128"/>
                  <a:pt x="2695" y="2128"/>
                  <a:pt x="2693" y="2129"/>
                </a:cubicBezTo>
                <a:cubicBezTo>
                  <a:pt x="2693" y="2129"/>
                  <a:pt x="2691" y="2129"/>
                  <a:pt x="2691" y="2130"/>
                </a:cubicBezTo>
                <a:close/>
                <a:moveTo>
                  <a:pt x="2717" y="1469"/>
                </a:moveTo>
                <a:cubicBezTo>
                  <a:pt x="2717" y="1469"/>
                  <a:pt x="2717" y="1468"/>
                  <a:pt x="2717" y="1468"/>
                </a:cubicBezTo>
                <a:cubicBezTo>
                  <a:pt x="2718" y="1467"/>
                  <a:pt x="2720" y="1465"/>
                  <a:pt x="2717" y="1466"/>
                </a:cubicBezTo>
                <a:cubicBezTo>
                  <a:pt x="2716" y="1466"/>
                  <a:pt x="2717" y="1468"/>
                  <a:pt x="2716" y="1469"/>
                </a:cubicBezTo>
                <a:cubicBezTo>
                  <a:pt x="2716" y="1470"/>
                  <a:pt x="2715" y="1470"/>
                  <a:pt x="2715" y="1471"/>
                </a:cubicBezTo>
                <a:cubicBezTo>
                  <a:pt x="2715" y="1472"/>
                  <a:pt x="2715" y="1473"/>
                  <a:pt x="2715" y="1473"/>
                </a:cubicBezTo>
                <a:cubicBezTo>
                  <a:pt x="2715" y="1474"/>
                  <a:pt x="2714" y="1475"/>
                  <a:pt x="2715" y="1475"/>
                </a:cubicBezTo>
                <a:cubicBezTo>
                  <a:pt x="2716" y="1475"/>
                  <a:pt x="2716" y="1474"/>
                  <a:pt x="2716" y="1473"/>
                </a:cubicBezTo>
                <a:cubicBezTo>
                  <a:pt x="2716" y="1472"/>
                  <a:pt x="2716" y="1472"/>
                  <a:pt x="2716" y="1471"/>
                </a:cubicBezTo>
                <a:cubicBezTo>
                  <a:pt x="2716" y="1470"/>
                  <a:pt x="2717" y="1470"/>
                  <a:pt x="2717" y="1469"/>
                </a:cubicBezTo>
                <a:close/>
                <a:moveTo>
                  <a:pt x="2709" y="1476"/>
                </a:moveTo>
                <a:cubicBezTo>
                  <a:pt x="2710" y="1475"/>
                  <a:pt x="2708" y="1474"/>
                  <a:pt x="2707" y="1474"/>
                </a:cubicBezTo>
                <a:cubicBezTo>
                  <a:pt x="2706" y="1474"/>
                  <a:pt x="2704" y="1475"/>
                  <a:pt x="2705" y="1476"/>
                </a:cubicBezTo>
                <a:cubicBezTo>
                  <a:pt x="2705" y="1477"/>
                  <a:pt x="2706" y="1476"/>
                  <a:pt x="2706" y="1477"/>
                </a:cubicBezTo>
                <a:cubicBezTo>
                  <a:pt x="2707" y="1477"/>
                  <a:pt x="2707" y="1478"/>
                  <a:pt x="2707" y="1478"/>
                </a:cubicBezTo>
                <a:cubicBezTo>
                  <a:pt x="2708" y="1479"/>
                  <a:pt x="2708" y="1479"/>
                  <a:pt x="2708" y="1478"/>
                </a:cubicBezTo>
                <a:cubicBezTo>
                  <a:pt x="2709" y="1477"/>
                  <a:pt x="2708" y="1477"/>
                  <a:pt x="2708" y="1477"/>
                </a:cubicBezTo>
                <a:cubicBezTo>
                  <a:pt x="2708" y="1476"/>
                  <a:pt x="2709" y="1476"/>
                  <a:pt x="2709" y="1476"/>
                </a:cubicBezTo>
                <a:close/>
                <a:moveTo>
                  <a:pt x="2919" y="1139"/>
                </a:moveTo>
                <a:cubicBezTo>
                  <a:pt x="2919" y="1139"/>
                  <a:pt x="2920" y="1138"/>
                  <a:pt x="2920" y="1138"/>
                </a:cubicBezTo>
                <a:cubicBezTo>
                  <a:pt x="2920" y="1137"/>
                  <a:pt x="2919" y="1136"/>
                  <a:pt x="2919" y="1136"/>
                </a:cubicBezTo>
                <a:cubicBezTo>
                  <a:pt x="2918" y="1135"/>
                  <a:pt x="2918" y="1135"/>
                  <a:pt x="2917" y="1136"/>
                </a:cubicBezTo>
                <a:cubicBezTo>
                  <a:pt x="2917" y="1137"/>
                  <a:pt x="2919" y="1140"/>
                  <a:pt x="2919" y="1139"/>
                </a:cubicBezTo>
                <a:close/>
                <a:moveTo>
                  <a:pt x="3756" y="973"/>
                </a:moveTo>
                <a:cubicBezTo>
                  <a:pt x="3754" y="974"/>
                  <a:pt x="3756" y="974"/>
                  <a:pt x="3757" y="973"/>
                </a:cubicBezTo>
                <a:cubicBezTo>
                  <a:pt x="3758" y="972"/>
                  <a:pt x="3756" y="973"/>
                  <a:pt x="3756" y="973"/>
                </a:cubicBezTo>
                <a:close/>
                <a:moveTo>
                  <a:pt x="3753" y="975"/>
                </a:moveTo>
                <a:cubicBezTo>
                  <a:pt x="3753" y="975"/>
                  <a:pt x="3753" y="974"/>
                  <a:pt x="3752" y="975"/>
                </a:cubicBezTo>
                <a:cubicBezTo>
                  <a:pt x="3751" y="976"/>
                  <a:pt x="3753" y="977"/>
                  <a:pt x="3753" y="976"/>
                </a:cubicBezTo>
                <a:cubicBezTo>
                  <a:pt x="3753" y="976"/>
                  <a:pt x="3755" y="976"/>
                  <a:pt x="3755" y="975"/>
                </a:cubicBezTo>
                <a:cubicBezTo>
                  <a:pt x="3756" y="974"/>
                  <a:pt x="3753" y="975"/>
                  <a:pt x="3753" y="975"/>
                </a:cubicBezTo>
                <a:close/>
                <a:moveTo>
                  <a:pt x="3752" y="974"/>
                </a:moveTo>
                <a:cubicBezTo>
                  <a:pt x="3753" y="974"/>
                  <a:pt x="3754" y="973"/>
                  <a:pt x="3755" y="972"/>
                </a:cubicBezTo>
                <a:cubicBezTo>
                  <a:pt x="3756" y="971"/>
                  <a:pt x="3754" y="971"/>
                  <a:pt x="3754" y="970"/>
                </a:cubicBezTo>
                <a:cubicBezTo>
                  <a:pt x="3753" y="969"/>
                  <a:pt x="3751" y="970"/>
                  <a:pt x="3750" y="971"/>
                </a:cubicBezTo>
                <a:cubicBezTo>
                  <a:pt x="3749" y="971"/>
                  <a:pt x="3750" y="971"/>
                  <a:pt x="3750" y="973"/>
                </a:cubicBezTo>
                <a:cubicBezTo>
                  <a:pt x="3751" y="974"/>
                  <a:pt x="3751" y="974"/>
                  <a:pt x="3752" y="974"/>
                </a:cubicBezTo>
                <a:close/>
                <a:moveTo>
                  <a:pt x="3733" y="975"/>
                </a:moveTo>
                <a:cubicBezTo>
                  <a:pt x="3732" y="975"/>
                  <a:pt x="3731" y="975"/>
                  <a:pt x="3731" y="975"/>
                </a:cubicBezTo>
                <a:cubicBezTo>
                  <a:pt x="3730" y="974"/>
                  <a:pt x="3729" y="976"/>
                  <a:pt x="3729" y="977"/>
                </a:cubicBezTo>
                <a:cubicBezTo>
                  <a:pt x="3730" y="977"/>
                  <a:pt x="3729" y="978"/>
                  <a:pt x="3729" y="979"/>
                </a:cubicBezTo>
                <a:cubicBezTo>
                  <a:pt x="3728" y="979"/>
                  <a:pt x="3725" y="980"/>
                  <a:pt x="3724" y="980"/>
                </a:cubicBezTo>
                <a:cubicBezTo>
                  <a:pt x="3723" y="980"/>
                  <a:pt x="3721" y="980"/>
                  <a:pt x="3721" y="981"/>
                </a:cubicBezTo>
                <a:cubicBezTo>
                  <a:pt x="3720" y="981"/>
                  <a:pt x="3719" y="982"/>
                  <a:pt x="3719" y="983"/>
                </a:cubicBezTo>
                <a:cubicBezTo>
                  <a:pt x="3719" y="984"/>
                  <a:pt x="3721" y="983"/>
                  <a:pt x="3722" y="982"/>
                </a:cubicBezTo>
                <a:cubicBezTo>
                  <a:pt x="3723" y="981"/>
                  <a:pt x="3724" y="981"/>
                  <a:pt x="3725" y="982"/>
                </a:cubicBezTo>
                <a:cubicBezTo>
                  <a:pt x="3726" y="982"/>
                  <a:pt x="3727" y="982"/>
                  <a:pt x="3727" y="982"/>
                </a:cubicBezTo>
                <a:cubicBezTo>
                  <a:pt x="3728" y="982"/>
                  <a:pt x="3729" y="982"/>
                  <a:pt x="3730" y="982"/>
                </a:cubicBezTo>
                <a:cubicBezTo>
                  <a:pt x="3731" y="981"/>
                  <a:pt x="3731" y="980"/>
                  <a:pt x="3731" y="978"/>
                </a:cubicBezTo>
                <a:cubicBezTo>
                  <a:pt x="3731" y="977"/>
                  <a:pt x="3733" y="977"/>
                  <a:pt x="3733" y="976"/>
                </a:cubicBezTo>
                <a:cubicBezTo>
                  <a:pt x="3734" y="976"/>
                  <a:pt x="3733" y="975"/>
                  <a:pt x="3733" y="975"/>
                </a:cubicBezTo>
                <a:close/>
                <a:moveTo>
                  <a:pt x="3760" y="973"/>
                </a:moveTo>
                <a:cubicBezTo>
                  <a:pt x="3759" y="974"/>
                  <a:pt x="3761" y="974"/>
                  <a:pt x="3762" y="974"/>
                </a:cubicBezTo>
                <a:cubicBezTo>
                  <a:pt x="3763" y="974"/>
                  <a:pt x="3763" y="974"/>
                  <a:pt x="3763" y="973"/>
                </a:cubicBezTo>
                <a:cubicBezTo>
                  <a:pt x="3762" y="972"/>
                  <a:pt x="3760" y="973"/>
                  <a:pt x="3760" y="973"/>
                </a:cubicBezTo>
                <a:close/>
                <a:moveTo>
                  <a:pt x="3727" y="975"/>
                </a:moveTo>
                <a:cubicBezTo>
                  <a:pt x="3727" y="975"/>
                  <a:pt x="3725" y="975"/>
                  <a:pt x="3725" y="976"/>
                </a:cubicBezTo>
                <a:cubicBezTo>
                  <a:pt x="3725" y="976"/>
                  <a:pt x="3724" y="978"/>
                  <a:pt x="3725" y="977"/>
                </a:cubicBezTo>
                <a:cubicBezTo>
                  <a:pt x="3726" y="977"/>
                  <a:pt x="3727" y="976"/>
                  <a:pt x="3727" y="975"/>
                </a:cubicBezTo>
                <a:close/>
                <a:moveTo>
                  <a:pt x="3742" y="977"/>
                </a:moveTo>
                <a:cubicBezTo>
                  <a:pt x="3741" y="977"/>
                  <a:pt x="3742" y="976"/>
                  <a:pt x="3742" y="976"/>
                </a:cubicBezTo>
                <a:cubicBezTo>
                  <a:pt x="3744" y="976"/>
                  <a:pt x="3743" y="974"/>
                  <a:pt x="3742" y="973"/>
                </a:cubicBezTo>
                <a:cubicBezTo>
                  <a:pt x="3741" y="973"/>
                  <a:pt x="3740" y="974"/>
                  <a:pt x="3739" y="975"/>
                </a:cubicBezTo>
                <a:cubicBezTo>
                  <a:pt x="3738" y="975"/>
                  <a:pt x="3739" y="976"/>
                  <a:pt x="3738" y="977"/>
                </a:cubicBezTo>
                <a:cubicBezTo>
                  <a:pt x="3738" y="978"/>
                  <a:pt x="3739" y="978"/>
                  <a:pt x="3738" y="979"/>
                </a:cubicBezTo>
                <a:cubicBezTo>
                  <a:pt x="3738" y="979"/>
                  <a:pt x="3737" y="978"/>
                  <a:pt x="3736" y="978"/>
                </a:cubicBezTo>
                <a:cubicBezTo>
                  <a:pt x="3735" y="978"/>
                  <a:pt x="3735" y="979"/>
                  <a:pt x="3736" y="980"/>
                </a:cubicBezTo>
                <a:cubicBezTo>
                  <a:pt x="3736" y="980"/>
                  <a:pt x="3736" y="981"/>
                  <a:pt x="3734" y="983"/>
                </a:cubicBezTo>
                <a:cubicBezTo>
                  <a:pt x="3733" y="984"/>
                  <a:pt x="3733" y="984"/>
                  <a:pt x="3734" y="985"/>
                </a:cubicBezTo>
                <a:cubicBezTo>
                  <a:pt x="3735" y="985"/>
                  <a:pt x="3736" y="984"/>
                  <a:pt x="3736" y="983"/>
                </a:cubicBezTo>
                <a:cubicBezTo>
                  <a:pt x="3737" y="982"/>
                  <a:pt x="3738" y="983"/>
                  <a:pt x="3738" y="984"/>
                </a:cubicBezTo>
                <a:cubicBezTo>
                  <a:pt x="3738" y="985"/>
                  <a:pt x="3739" y="984"/>
                  <a:pt x="3739" y="983"/>
                </a:cubicBezTo>
                <a:cubicBezTo>
                  <a:pt x="3740" y="982"/>
                  <a:pt x="3741" y="982"/>
                  <a:pt x="3742" y="982"/>
                </a:cubicBezTo>
                <a:cubicBezTo>
                  <a:pt x="3743" y="982"/>
                  <a:pt x="3743" y="981"/>
                  <a:pt x="3743" y="980"/>
                </a:cubicBezTo>
                <a:cubicBezTo>
                  <a:pt x="3743" y="980"/>
                  <a:pt x="3744" y="980"/>
                  <a:pt x="3745" y="980"/>
                </a:cubicBezTo>
                <a:cubicBezTo>
                  <a:pt x="3746" y="980"/>
                  <a:pt x="3745" y="978"/>
                  <a:pt x="3745" y="978"/>
                </a:cubicBezTo>
                <a:cubicBezTo>
                  <a:pt x="3744" y="977"/>
                  <a:pt x="3743" y="977"/>
                  <a:pt x="3742" y="977"/>
                </a:cubicBezTo>
                <a:close/>
                <a:moveTo>
                  <a:pt x="3752" y="978"/>
                </a:moveTo>
                <a:cubicBezTo>
                  <a:pt x="3751" y="978"/>
                  <a:pt x="3751" y="977"/>
                  <a:pt x="3750" y="976"/>
                </a:cubicBezTo>
                <a:cubicBezTo>
                  <a:pt x="3750" y="976"/>
                  <a:pt x="3749" y="978"/>
                  <a:pt x="3750" y="978"/>
                </a:cubicBezTo>
                <a:cubicBezTo>
                  <a:pt x="3750" y="978"/>
                  <a:pt x="3750" y="979"/>
                  <a:pt x="3751" y="980"/>
                </a:cubicBezTo>
                <a:cubicBezTo>
                  <a:pt x="3751" y="981"/>
                  <a:pt x="3752" y="979"/>
                  <a:pt x="3753" y="978"/>
                </a:cubicBezTo>
                <a:cubicBezTo>
                  <a:pt x="3754" y="978"/>
                  <a:pt x="3753" y="978"/>
                  <a:pt x="3752" y="978"/>
                </a:cubicBezTo>
                <a:close/>
                <a:moveTo>
                  <a:pt x="3766" y="968"/>
                </a:moveTo>
                <a:cubicBezTo>
                  <a:pt x="3766" y="967"/>
                  <a:pt x="3765" y="967"/>
                  <a:pt x="3765" y="967"/>
                </a:cubicBezTo>
                <a:cubicBezTo>
                  <a:pt x="3765" y="967"/>
                  <a:pt x="3764" y="968"/>
                  <a:pt x="3765" y="968"/>
                </a:cubicBezTo>
                <a:cubicBezTo>
                  <a:pt x="3765" y="968"/>
                  <a:pt x="3766" y="968"/>
                  <a:pt x="3766" y="968"/>
                </a:cubicBezTo>
                <a:close/>
                <a:moveTo>
                  <a:pt x="3748" y="977"/>
                </a:moveTo>
                <a:cubicBezTo>
                  <a:pt x="3748" y="976"/>
                  <a:pt x="3746" y="976"/>
                  <a:pt x="3746" y="977"/>
                </a:cubicBezTo>
                <a:cubicBezTo>
                  <a:pt x="3745" y="978"/>
                  <a:pt x="3746" y="979"/>
                  <a:pt x="3746" y="980"/>
                </a:cubicBezTo>
                <a:cubicBezTo>
                  <a:pt x="3746" y="981"/>
                  <a:pt x="3747" y="981"/>
                  <a:pt x="3748" y="981"/>
                </a:cubicBezTo>
                <a:cubicBezTo>
                  <a:pt x="3749" y="980"/>
                  <a:pt x="3748" y="980"/>
                  <a:pt x="3748" y="979"/>
                </a:cubicBezTo>
                <a:cubicBezTo>
                  <a:pt x="3748" y="979"/>
                  <a:pt x="3747" y="978"/>
                  <a:pt x="3748" y="978"/>
                </a:cubicBezTo>
                <a:cubicBezTo>
                  <a:pt x="3749" y="977"/>
                  <a:pt x="3748" y="977"/>
                  <a:pt x="3748" y="977"/>
                </a:cubicBezTo>
                <a:close/>
                <a:moveTo>
                  <a:pt x="3758" y="974"/>
                </a:moveTo>
                <a:cubicBezTo>
                  <a:pt x="3757" y="974"/>
                  <a:pt x="3757" y="974"/>
                  <a:pt x="3758" y="975"/>
                </a:cubicBezTo>
                <a:cubicBezTo>
                  <a:pt x="3758" y="976"/>
                  <a:pt x="3759" y="975"/>
                  <a:pt x="3759" y="975"/>
                </a:cubicBezTo>
                <a:cubicBezTo>
                  <a:pt x="3759" y="974"/>
                  <a:pt x="3758" y="974"/>
                  <a:pt x="3758" y="974"/>
                </a:cubicBezTo>
                <a:close/>
                <a:moveTo>
                  <a:pt x="3828" y="566"/>
                </a:moveTo>
                <a:cubicBezTo>
                  <a:pt x="3829" y="566"/>
                  <a:pt x="3829" y="565"/>
                  <a:pt x="3829" y="565"/>
                </a:cubicBezTo>
                <a:cubicBezTo>
                  <a:pt x="3830" y="566"/>
                  <a:pt x="3830" y="566"/>
                  <a:pt x="3831" y="567"/>
                </a:cubicBezTo>
                <a:cubicBezTo>
                  <a:pt x="3831" y="567"/>
                  <a:pt x="3832" y="567"/>
                  <a:pt x="3833" y="567"/>
                </a:cubicBezTo>
                <a:cubicBezTo>
                  <a:pt x="3834" y="568"/>
                  <a:pt x="3834" y="570"/>
                  <a:pt x="3835" y="570"/>
                </a:cubicBezTo>
                <a:cubicBezTo>
                  <a:pt x="3837" y="570"/>
                  <a:pt x="3838" y="570"/>
                  <a:pt x="3840" y="570"/>
                </a:cubicBezTo>
                <a:cubicBezTo>
                  <a:pt x="3842" y="524"/>
                  <a:pt x="3842" y="524"/>
                  <a:pt x="3842" y="524"/>
                </a:cubicBezTo>
                <a:cubicBezTo>
                  <a:pt x="3841" y="523"/>
                  <a:pt x="3839" y="523"/>
                  <a:pt x="3838" y="523"/>
                </a:cubicBezTo>
                <a:cubicBezTo>
                  <a:pt x="3837" y="523"/>
                  <a:pt x="3835" y="524"/>
                  <a:pt x="3834" y="523"/>
                </a:cubicBezTo>
                <a:cubicBezTo>
                  <a:pt x="3832" y="523"/>
                  <a:pt x="3831" y="523"/>
                  <a:pt x="3829" y="522"/>
                </a:cubicBezTo>
                <a:cubicBezTo>
                  <a:pt x="3828" y="522"/>
                  <a:pt x="3828" y="522"/>
                  <a:pt x="3827" y="522"/>
                </a:cubicBezTo>
                <a:cubicBezTo>
                  <a:pt x="3826" y="521"/>
                  <a:pt x="3826" y="522"/>
                  <a:pt x="3825" y="522"/>
                </a:cubicBezTo>
                <a:cubicBezTo>
                  <a:pt x="3824" y="521"/>
                  <a:pt x="3823" y="520"/>
                  <a:pt x="3821" y="520"/>
                </a:cubicBezTo>
                <a:cubicBezTo>
                  <a:pt x="3820" y="521"/>
                  <a:pt x="3821" y="521"/>
                  <a:pt x="3822" y="521"/>
                </a:cubicBezTo>
                <a:cubicBezTo>
                  <a:pt x="3822" y="522"/>
                  <a:pt x="3823" y="521"/>
                  <a:pt x="3824" y="522"/>
                </a:cubicBezTo>
                <a:cubicBezTo>
                  <a:pt x="3825" y="522"/>
                  <a:pt x="3826" y="523"/>
                  <a:pt x="3827" y="523"/>
                </a:cubicBezTo>
                <a:cubicBezTo>
                  <a:pt x="3828" y="523"/>
                  <a:pt x="3831" y="525"/>
                  <a:pt x="3829" y="525"/>
                </a:cubicBezTo>
                <a:cubicBezTo>
                  <a:pt x="3828" y="525"/>
                  <a:pt x="3827" y="525"/>
                  <a:pt x="3827" y="525"/>
                </a:cubicBezTo>
                <a:cubicBezTo>
                  <a:pt x="3826" y="525"/>
                  <a:pt x="3826" y="525"/>
                  <a:pt x="3825" y="524"/>
                </a:cubicBezTo>
                <a:cubicBezTo>
                  <a:pt x="3824" y="524"/>
                  <a:pt x="3824" y="524"/>
                  <a:pt x="3823" y="524"/>
                </a:cubicBezTo>
                <a:cubicBezTo>
                  <a:pt x="3822" y="523"/>
                  <a:pt x="3822" y="523"/>
                  <a:pt x="3821" y="523"/>
                </a:cubicBezTo>
                <a:cubicBezTo>
                  <a:pt x="3820" y="522"/>
                  <a:pt x="3817" y="522"/>
                  <a:pt x="3816" y="523"/>
                </a:cubicBezTo>
                <a:cubicBezTo>
                  <a:pt x="3815" y="524"/>
                  <a:pt x="3815" y="526"/>
                  <a:pt x="3814" y="527"/>
                </a:cubicBezTo>
                <a:cubicBezTo>
                  <a:pt x="3814" y="526"/>
                  <a:pt x="3814" y="526"/>
                  <a:pt x="3814" y="525"/>
                </a:cubicBezTo>
                <a:cubicBezTo>
                  <a:pt x="3814" y="525"/>
                  <a:pt x="3814" y="524"/>
                  <a:pt x="3814" y="524"/>
                </a:cubicBezTo>
                <a:cubicBezTo>
                  <a:pt x="3814" y="522"/>
                  <a:pt x="3814" y="522"/>
                  <a:pt x="3816" y="521"/>
                </a:cubicBezTo>
                <a:cubicBezTo>
                  <a:pt x="3816" y="521"/>
                  <a:pt x="3817" y="521"/>
                  <a:pt x="3817" y="521"/>
                </a:cubicBezTo>
                <a:cubicBezTo>
                  <a:pt x="3817" y="520"/>
                  <a:pt x="3816" y="520"/>
                  <a:pt x="3816" y="519"/>
                </a:cubicBezTo>
                <a:cubicBezTo>
                  <a:pt x="3815" y="519"/>
                  <a:pt x="3814" y="519"/>
                  <a:pt x="3813" y="519"/>
                </a:cubicBezTo>
                <a:cubicBezTo>
                  <a:pt x="3811" y="519"/>
                  <a:pt x="3810" y="519"/>
                  <a:pt x="3809" y="518"/>
                </a:cubicBezTo>
                <a:cubicBezTo>
                  <a:pt x="3808" y="518"/>
                  <a:pt x="3806" y="519"/>
                  <a:pt x="3805" y="519"/>
                </a:cubicBezTo>
                <a:cubicBezTo>
                  <a:pt x="3804" y="519"/>
                  <a:pt x="3802" y="519"/>
                  <a:pt x="3801" y="519"/>
                </a:cubicBezTo>
                <a:cubicBezTo>
                  <a:pt x="3799" y="519"/>
                  <a:pt x="3798" y="519"/>
                  <a:pt x="3797" y="519"/>
                </a:cubicBezTo>
                <a:cubicBezTo>
                  <a:pt x="3795" y="518"/>
                  <a:pt x="3787" y="518"/>
                  <a:pt x="3788" y="520"/>
                </a:cubicBezTo>
                <a:cubicBezTo>
                  <a:pt x="3788" y="521"/>
                  <a:pt x="3789" y="520"/>
                  <a:pt x="3789" y="521"/>
                </a:cubicBezTo>
                <a:cubicBezTo>
                  <a:pt x="3790" y="521"/>
                  <a:pt x="3790" y="521"/>
                  <a:pt x="3791" y="521"/>
                </a:cubicBezTo>
                <a:cubicBezTo>
                  <a:pt x="3792" y="520"/>
                  <a:pt x="3794" y="520"/>
                  <a:pt x="3795" y="521"/>
                </a:cubicBezTo>
                <a:cubicBezTo>
                  <a:pt x="3796" y="522"/>
                  <a:pt x="3793" y="523"/>
                  <a:pt x="3794" y="524"/>
                </a:cubicBezTo>
                <a:cubicBezTo>
                  <a:pt x="3795" y="524"/>
                  <a:pt x="3796" y="523"/>
                  <a:pt x="3796" y="523"/>
                </a:cubicBezTo>
                <a:cubicBezTo>
                  <a:pt x="3797" y="523"/>
                  <a:pt x="3797" y="523"/>
                  <a:pt x="3798" y="523"/>
                </a:cubicBezTo>
                <a:cubicBezTo>
                  <a:pt x="3798" y="524"/>
                  <a:pt x="3798" y="525"/>
                  <a:pt x="3799" y="526"/>
                </a:cubicBezTo>
                <a:cubicBezTo>
                  <a:pt x="3799" y="527"/>
                  <a:pt x="3800" y="527"/>
                  <a:pt x="3800" y="528"/>
                </a:cubicBezTo>
                <a:cubicBezTo>
                  <a:pt x="3800" y="529"/>
                  <a:pt x="3800" y="530"/>
                  <a:pt x="3800" y="531"/>
                </a:cubicBezTo>
                <a:cubicBezTo>
                  <a:pt x="3800" y="532"/>
                  <a:pt x="3800" y="532"/>
                  <a:pt x="3800" y="533"/>
                </a:cubicBezTo>
                <a:cubicBezTo>
                  <a:pt x="3800" y="534"/>
                  <a:pt x="3797" y="535"/>
                  <a:pt x="3796" y="535"/>
                </a:cubicBezTo>
                <a:cubicBezTo>
                  <a:pt x="3796" y="535"/>
                  <a:pt x="3795" y="535"/>
                  <a:pt x="3795" y="536"/>
                </a:cubicBezTo>
                <a:cubicBezTo>
                  <a:pt x="3794" y="537"/>
                  <a:pt x="3795" y="537"/>
                  <a:pt x="3796" y="537"/>
                </a:cubicBezTo>
                <a:cubicBezTo>
                  <a:pt x="3797" y="537"/>
                  <a:pt x="3797" y="537"/>
                  <a:pt x="3798" y="538"/>
                </a:cubicBezTo>
                <a:cubicBezTo>
                  <a:pt x="3799" y="538"/>
                  <a:pt x="3799" y="538"/>
                  <a:pt x="3800" y="539"/>
                </a:cubicBezTo>
                <a:cubicBezTo>
                  <a:pt x="3801" y="539"/>
                  <a:pt x="3801" y="539"/>
                  <a:pt x="3802" y="539"/>
                </a:cubicBezTo>
                <a:cubicBezTo>
                  <a:pt x="3802" y="540"/>
                  <a:pt x="3803" y="540"/>
                  <a:pt x="3803" y="540"/>
                </a:cubicBezTo>
                <a:cubicBezTo>
                  <a:pt x="3804" y="541"/>
                  <a:pt x="3804" y="541"/>
                  <a:pt x="3805" y="542"/>
                </a:cubicBezTo>
                <a:cubicBezTo>
                  <a:pt x="3805" y="543"/>
                  <a:pt x="3803" y="543"/>
                  <a:pt x="3802" y="544"/>
                </a:cubicBezTo>
                <a:cubicBezTo>
                  <a:pt x="3800" y="546"/>
                  <a:pt x="3801" y="544"/>
                  <a:pt x="3801" y="542"/>
                </a:cubicBezTo>
                <a:cubicBezTo>
                  <a:pt x="3801" y="541"/>
                  <a:pt x="3800" y="540"/>
                  <a:pt x="3799" y="540"/>
                </a:cubicBezTo>
                <a:cubicBezTo>
                  <a:pt x="3799" y="539"/>
                  <a:pt x="3796" y="539"/>
                  <a:pt x="3796" y="540"/>
                </a:cubicBezTo>
                <a:cubicBezTo>
                  <a:pt x="3795" y="540"/>
                  <a:pt x="3795" y="541"/>
                  <a:pt x="3795" y="542"/>
                </a:cubicBezTo>
                <a:cubicBezTo>
                  <a:pt x="3795" y="542"/>
                  <a:pt x="3794" y="542"/>
                  <a:pt x="3794" y="543"/>
                </a:cubicBezTo>
                <a:cubicBezTo>
                  <a:pt x="3793" y="543"/>
                  <a:pt x="3792" y="547"/>
                  <a:pt x="3791" y="544"/>
                </a:cubicBezTo>
                <a:cubicBezTo>
                  <a:pt x="3791" y="544"/>
                  <a:pt x="3792" y="543"/>
                  <a:pt x="3791" y="542"/>
                </a:cubicBezTo>
                <a:cubicBezTo>
                  <a:pt x="3791" y="541"/>
                  <a:pt x="3791" y="541"/>
                  <a:pt x="3791" y="540"/>
                </a:cubicBezTo>
                <a:cubicBezTo>
                  <a:pt x="3790" y="540"/>
                  <a:pt x="3790" y="539"/>
                  <a:pt x="3790" y="538"/>
                </a:cubicBezTo>
                <a:cubicBezTo>
                  <a:pt x="3790" y="537"/>
                  <a:pt x="3789" y="536"/>
                  <a:pt x="3788" y="536"/>
                </a:cubicBezTo>
                <a:cubicBezTo>
                  <a:pt x="3787" y="536"/>
                  <a:pt x="3787" y="536"/>
                  <a:pt x="3786" y="536"/>
                </a:cubicBezTo>
                <a:cubicBezTo>
                  <a:pt x="3786" y="535"/>
                  <a:pt x="3785" y="535"/>
                  <a:pt x="3785" y="535"/>
                </a:cubicBezTo>
                <a:cubicBezTo>
                  <a:pt x="3784" y="534"/>
                  <a:pt x="3783" y="535"/>
                  <a:pt x="3782" y="534"/>
                </a:cubicBezTo>
                <a:cubicBezTo>
                  <a:pt x="3781" y="533"/>
                  <a:pt x="3783" y="532"/>
                  <a:pt x="3784" y="532"/>
                </a:cubicBezTo>
                <a:cubicBezTo>
                  <a:pt x="3785" y="531"/>
                  <a:pt x="3786" y="530"/>
                  <a:pt x="3786" y="528"/>
                </a:cubicBezTo>
                <a:cubicBezTo>
                  <a:pt x="3786" y="527"/>
                  <a:pt x="3784" y="526"/>
                  <a:pt x="3784" y="524"/>
                </a:cubicBezTo>
                <a:cubicBezTo>
                  <a:pt x="3784" y="523"/>
                  <a:pt x="3783" y="522"/>
                  <a:pt x="3782" y="521"/>
                </a:cubicBezTo>
                <a:cubicBezTo>
                  <a:pt x="3782" y="519"/>
                  <a:pt x="3782" y="518"/>
                  <a:pt x="3782" y="516"/>
                </a:cubicBezTo>
                <a:cubicBezTo>
                  <a:pt x="3783" y="515"/>
                  <a:pt x="3784" y="514"/>
                  <a:pt x="3784" y="513"/>
                </a:cubicBezTo>
                <a:cubicBezTo>
                  <a:pt x="3784" y="511"/>
                  <a:pt x="3783" y="509"/>
                  <a:pt x="3782" y="508"/>
                </a:cubicBezTo>
                <a:cubicBezTo>
                  <a:pt x="3781" y="508"/>
                  <a:pt x="3779" y="505"/>
                  <a:pt x="3779" y="507"/>
                </a:cubicBezTo>
                <a:cubicBezTo>
                  <a:pt x="3779" y="507"/>
                  <a:pt x="3780" y="507"/>
                  <a:pt x="3780" y="508"/>
                </a:cubicBezTo>
                <a:cubicBezTo>
                  <a:pt x="3780" y="509"/>
                  <a:pt x="3779" y="509"/>
                  <a:pt x="3779" y="510"/>
                </a:cubicBezTo>
                <a:cubicBezTo>
                  <a:pt x="3777" y="510"/>
                  <a:pt x="3776" y="511"/>
                  <a:pt x="3775" y="511"/>
                </a:cubicBezTo>
                <a:cubicBezTo>
                  <a:pt x="3773" y="511"/>
                  <a:pt x="3774" y="510"/>
                  <a:pt x="3774" y="509"/>
                </a:cubicBezTo>
                <a:cubicBezTo>
                  <a:pt x="3775" y="508"/>
                  <a:pt x="3775" y="508"/>
                  <a:pt x="3775" y="507"/>
                </a:cubicBezTo>
                <a:cubicBezTo>
                  <a:pt x="3775" y="507"/>
                  <a:pt x="3775" y="506"/>
                  <a:pt x="3775" y="506"/>
                </a:cubicBezTo>
                <a:cubicBezTo>
                  <a:pt x="3775" y="505"/>
                  <a:pt x="3776" y="504"/>
                  <a:pt x="3776" y="503"/>
                </a:cubicBezTo>
                <a:cubicBezTo>
                  <a:pt x="3775" y="500"/>
                  <a:pt x="3773" y="500"/>
                  <a:pt x="3771" y="498"/>
                </a:cubicBezTo>
                <a:cubicBezTo>
                  <a:pt x="3770" y="497"/>
                  <a:pt x="3768" y="497"/>
                  <a:pt x="3767" y="496"/>
                </a:cubicBezTo>
                <a:cubicBezTo>
                  <a:pt x="3765" y="496"/>
                  <a:pt x="3763" y="495"/>
                  <a:pt x="3762" y="494"/>
                </a:cubicBezTo>
                <a:cubicBezTo>
                  <a:pt x="3761" y="493"/>
                  <a:pt x="3759" y="492"/>
                  <a:pt x="3758" y="491"/>
                </a:cubicBezTo>
                <a:cubicBezTo>
                  <a:pt x="3755" y="490"/>
                  <a:pt x="3752" y="490"/>
                  <a:pt x="3749" y="488"/>
                </a:cubicBezTo>
                <a:cubicBezTo>
                  <a:pt x="3746" y="486"/>
                  <a:pt x="3744" y="485"/>
                  <a:pt x="3741" y="483"/>
                </a:cubicBezTo>
                <a:cubicBezTo>
                  <a:pt x="3740" y="483"/>
                  <a:pt x="3739" y="482"/>
                  <a:pt x="3737" y="481"/>
                </a:cubicBezTo>
                <a:cubicBezTo>
                  <a:pt x="3736" y="481"/>
                  <a:pt x="3735" y="481"/>
                  <a:pt x="3733" y="481"/>
                </a:cubicBezTo>
                <a:cubicBezTo>
                  <a:pt x="3731" y="481"/>
                  <a:pt x="3731" y="480"/>
                  <a:pt x="3730" y="479"/>
                </a:cubicBezTo>
                <a:cubicBezTo>
                  <a:pt x="3729" y="478"/>
                  <a:pt x="3727" y="477"/>
                  <a:pt x="3726" y="476"/>
                </a:cubicBezTo>
                <a:cubicBezTo>
                  <a:pt x="3725" y="475"/>
                  <a:pt x="3723" y="474"/>
                  <a:pt x="3722" y="473"/>
                </a:cubicBezTo>
                <a:cubicBezTo>
                  <a:pt x="3721" y="473"/>
                  <a:pt x="3720" y="473"/>
                  <a:pt x="3718" y="472"/>
                </a:cubicBezTo>
                <a:cubicBezTo>
                  <a:pt x="3717" y="472"/>
                  <a:pt x="3716" y="471"/>
                  <a:pt x="3715" y="471"/>
                </a:cubicBezTo>
                <a:cubicBezTo>
                  <a:pt x="3715" y="471"/>
                  <a:pt x="3718" y="472"/>
                  <a:pt x="3718" y="473"/>
                </a:cubicBezTo>
                <a:cubicBezTo>
                  <a:pt x="3719" y="473"/>
                  <a:pt x="3721" y="474"/>
                  <a:pt x="3721" y="475"/>
                </a:cubicBezTo>
                <a:cubicBezTo>
                  <a:pt x="3720" y="475"/>
                  <a:pt x="3719" y="474"/>
                  <a:pt x="3718" y="474"/>
                </a:cubicBezTo>
                <a:cubicBezTo>
                  <a:pt x="3716" y="473"/>
                  <a:pt x="3715" y="473"/>
                  <a:pt x="3714" y="472"/>
                </a:cubicBezTo>
                <a:cubicBezTo>
                  <a:pt x="3712" y="470"/>
                  <a:pt x="3709" y="471"/>
                  <a:pt x="3707" y="469"/>
                </a:cubicBezTo>
                <a:cubicBezTo>
                  <a:pt x="3706" y="469"/>
                  <a:pt x="3705" y="467"/>
                  <a:pt x="3705" y="466"/>
                </a:cubicBezTo>
                <a:cubicBezTo>
                  <a:pt x="3704" y="465"/>
                  <a:pt x="3703" y="464"/>
                  <a:pt x="3702" y="463"/>
                </a:cubicBezTo>
                <a:cubicBezTo>
                  <a:pt x="3702" y="463"/>
                  <a:pt x="3701" y="463"/>
                  <a:pt x="3700" y="462"/>
                </a:cubicBezTo>
                <a:cubicBezTo>
                  <a:pt x="3699" y="461"/>
                  <a:pt x="3698" y="460"/>
                  <a:pt x="3696" y="459"/>
                </a:cubicBezTo>
                <a:cubicBezTo>
                  <a:pt x="3694" y="457"/>
                  <a:pt x="3691" y="456"/>
                  <a:pt x="3688" y="455"/>
                </a:cubicBezTo>
                <a:cubicBezTo>
                  <a:pt x="3687" y="455"/>
                  <a:pt x="3685" y="455"/>
                  <a:pt x="3684" y="455"/>
                </a:cubicBezTo>
                <a:cubicBezTo>
                  <a:pt x="3682" y="455"/>
                  <a:pt x="3681" y="454"/>
                  <a:pt x="3679" y="454"/>
                </a:cubicBezTo>
                <a:cubicBezTo>
                  <a:pt x="3676" y="452"/>
                  <a:pt x="3673" y="451"/>
                  <a:pt x="3669" y="449"/>
                </a:cubicBezTo>
                <a:cubicBezTo>
                  <a:pt x="3668" y="448"/>
                  <a:pt x="3668" y="448"/>
                  <a:pt x="3667" y="447"/>
                </a:cubicBezTo>
                <a:cubicBezTo>
                  <a:pt x="3665" y="447"/>
                  <a:pt x="3664" y="446"/>
                  <a:pt x="3663" y="446"/>
                </a:cubicBezTo>
                <a:cubicBezTo>
                  <a:pt x="3662" y="445"/>
                  <a:pt x="3662" y="445"/>
                  <a:pt x="3661" y="445"/>
                </a:cubicBezTo>
                <a:cubicBezTo>
                  <a:pt x="3659" y="444"/>
                  <a:pt x="3657" y="443"/>
                  <a:pt x="3655" y="441"/>
                </a:cubicBezTo>
                <a:cubicBezTo>
                  <a:pt x="3652" y="440"/>
                  <a:pt x="3648" y="438"/>
                  <a:pt x="3645" y="437"/>
                </a:cubicBezTo>
                <a:cubicBezTo>
                  <a:pt x="3642" y="436"/>
                  <a:pt x="3639" y="436"/>
                  <a:pt x="3635" y="435"/>
                </a:cubicBezTo>
                <a:cubicBezTo>
                  <a:pt x="3632" y="434"/>
                  <a:pt x="3628" y="434"/>
                  <a:pt x="3624" y="433"/>
                </a:cubicBezTo>
                <a:cubicBezTo>
                  <a:pt x="3623" y="433"/>
                  <a:pt x="3621" y="433"/>
                  <a:pt x="3620" y="432"/>
                </a:cubicBezTo>
                <a:cubicBezTo>
                  <a:pt x="3618" y="432"/>
                  <a:pt x="3617" y="431"/>
                  <a:pt x="3616" y="430"/>
                </a:cubicBezTo>
                <a:cubicBezTo>
                  <a:pt x="3614" y="430"/>
                  <a:pt x="3614" y="429"/>
                  <a:pt x="3613" y="428"/>
                </a:cubicBezTo>
                <a:cubicBezTo>
                  <a:pt x="3611" y="427"/>
                  <a:pt x="3610" y="426"/>
                  <a:pt x="3609" y="425"/>
                </a:cubicBezTo>
                <a:cubicBezTo>
                  <a:pt x="3608" y="425"/>
                  <a:pt x="3606" y="424"/>
                  <a:pt x="3605" y="424"/>
                </a:cubicBezTo>
                <a:cubicBezTo>
                  <a:pt x="3604" y="423"/>
                  <a:pt x="3603" y="423"/>
                  <a:pt x="3602" y="423"/>
                </a:cubicBezTo>
                <a:cubicBezTo>
                  <a:pt x="3601" y="423"/>
                  <a:pt x="3600" y="423"/>
                  <a:pt x="3599" y="423"/>
                </a:cubicBezTo>
                <a:cubicBezTo>
                  <a:pt x="3598" y="423"/>
                  <a:pt x="3596" y="423"/>
                  <a:pt x="3594" y="423"/>
                </a:cubicBezTo>
                <a:cubicBezTo>
                  <a:pt x="3592" y="423"/>
                  <a:pt x="3591" y="424"/>
                  <a:pt x="3589" y="424"/>
                </a:cubicBezTo>
                <a:cubicBezTo>
                  <a:pt x="3587" y="424"/>
                  <a:pt x="3585" y="424"/>
                  <a:pt x="3583" y="424"/>
                </a:cubicBezTo>
                <a:cubicBezTo>
                  <a:pt x="3581" y="424"/>
                  <a:pt x="3578" y="424"/>
                  <a:pt x="3576" y="424"/>
                </a:cubicBezTo>
                <a:cubicBezTo>
                  <a:pt x="3574" y="424"/>
                  <a:pt x="3572" y="423"/>
                  <a:pt x="3569" y="423"/>
                </a:cubicBezTo>
                <a:cubicBezTo>
                  <a:pt x="3566" y="423"/>
                  <a:pt x="3563" y="422"/>
                  <a:pt x="3559" y="422"/>
                </a:cubicBezTo>
                <a:cubicBezTo>
                  <a:pt x="3557" y="421"/>
                  <a:pt x="3555" y="422"/>
                  <a:pt x="3553" y="422"/>
                </a:cubicBezTo>
                <a:cubicBezTo>
                  <a:pt x="3552" y="422"/>
                  <a:pt x="3549" y="421"/>
                  <a:pt x="3548" y="422"/>
                </a:cubicBezTo>
                <a:cubicBezTo>
                  <a:pt x="3549" y="423"/>
                  <a:pt x="3549" y="423"/>
                  <a:pt x="3550" y="423"/>
                </a:cubicBezTo>
                <a:cubicBezTo>
                  <a:pt x="3551" y="423"/>
                  <a:pt x="3551" y="423"/>
                  <a:pt x="3551" y="424"/>
                </a:cubicBezTo>
                <a:cubicBezTo>
                  <a:pt x="3552" y="426"/>
                  <a:pt x="3550" y="425"/>
                  <a:pt x="3549" y="426"/>
                </a:cubicBezTo>
                <a:cubicBezTo>
                  <a:pt x="3549" y="427"/>
                  <a:pt x="3549" y="428"/>
                  <a:pt x="3548" y="427"/>
                </a:cubicBezTo>
                <a:cubicBezTo>
                  <a:pt x="3547" y="427"/>
                  <a:pt x="3547" y="426"/>
                  <a:pt x="3547" y="426"/>
                </a:cubicBezTo>
                <a:cubicBezTo>
                  <a:pt x="3546" y="425"/>
                  <a:pt x="3545" y="424"/>
                  <a:pt x="3544" y="424"/>
                </a:cubicBezTo>
                <a:cubicBezTo>
                  <a:pt x="3543" y="423"/>
                  <a:pt x="3542" y="422"/>
                  <a:pt x="3541" y="421"/>
                </a:cubicBezTo>
                <a:cubicBezTo>
                  <a:pt x="3540" y="421"/>
                  <a:pt x="3538" y="421"/>
                  <a:pt x="3537" y="421"/>
                </a:cubicBezTo>
                <a:cubicBezTo>
                  <a:pt x="3536" y="421"/>
                  <a:pt x="3534" y="420"/>
                  <a:pt x="3533" y="420"/>
                </a:cubicBezTo>
                <a:cubicBezTo>
                  <a:pt x="3531" y="420"/>
                  <a:pt x="3529" y="420"/>
                  <a:pt x="3527" y="420"/>
                </a:cubicBezTo>
                <a:cubicBezTo>
                  <a:pt x="3526" y="420"/>
                  <a:pt x="3525" y="419"/>
                  <a:pt x="3524" y="419"/>
                </a:cubicBezTo>
                <a:cubicBezTo>
                  <a:pt x="3522" y="419"/>
                  <a:pt x="3520" y="419"/>
                  <a:pt x="3517" y="419"/>
                </a:cubicBezTo>
                <a:cubicBezTo>
                  <a:pt x="3515" y="418"/>
                  <a:pt x="3513" y="418"/>
                  <a:pt x="3510" y="417"/>
                </a:cubicBezTo>
                <a:cubicBezTo>
                  <a:pt x="3509" y="417"/>
                  <a:pt x="3507" y="417"/>
                  <a:pt x="3506" y="417"/>
                </a:cubicBezTo>
                <a:cubicBezTo>
                  <a:pt x="3503" y="417"/>
                  <a:pt x="3500" y="416"/>
                  <a:pt x="3497" y="416"/>
                </a:cubicBezTo>
                <a:cubicBezTo>
                  <a:pt x="3496" y="416"/>
                  <a:pt x="3496" y="416"/>
                  <a:pt x="3495" y="416"/>
                </a:cubicBezTo>
                <a:cubicBezTo>
                  <a:pt x="3495" y="415"/>
                  <a:pt x="3494" y="415"/>
                  <a:pt x="3493" y="415"/>
                </a:cubicBezTo>
                <a:cubicBezTo>
                  <a:pt x="3492" y="415"/>
                  <a:pt x="3493" y="416"/>
                  <a:pt x="3494" y="416"/>
                </a:cubicBezTo>
                <a:cubicBezTo>
                  <a:pt x="3494" y="416"/>
                  <a:pt x="3495" y="416"/>
                  <a:pt x="3495" y="417"/>
                </a:cubicBezTo>
                <a:cubicBezTo>
                  <a:pt x="3496" y="418"/>
                  <a:pt x="3496" y="418"/>
                  <a:pt x="3496" y="420"/>
                </a:cubicBezTo>
                <a:cubicBezTo>
                  <a:pt x="3495" y="421"/>
                  <a:pt x="3495" y="422"/>
                  <a:pt x="3495" y="423"/>
                </a:cubicBezTo>
                <a:cubicBezTo>
                  <a:pt x="3496" y="424"/>
                  <a:pt x="3496" y="425"/>
                  <a:pt x="3495" y="426"/>
                </a:cubicBezTo>
                <a:cubicBezTo>
                  <a:pt x="3494" y="427"/>
                  <a:pt x="3486" y="432"/>
                  <a:pt x="3488" y="434"/>
                </a:cubicBezTo>
                <a:cubicBezTo>
                  <a:pt x="3488" y="434"/>
                  <a:pt x="3488" y="434"/>
                  <a:pt x="3489" y="434"/>
                </a:cubicBezTo>
                <a:cubicBezTo>
                  <a:pt x="3489" y="434"/>
                  <a:pt x="3489" y="434"/>
                  <a:pt x="3490" y="434"/>
                </a:cubicBezTo>
                <a:cubicBezTo>
                  <a:pt x="3490" y="435"/>
                  <a:pt x="3491" y="435"/>
                  <a:pt x="3492" y="435"/>
                </a:cubicBezTo>
                <a:cubicBezTo>
                  <a:pt x="3492" y="435"/>
                  <a:pt x="3493" y="434"/>
                  <a:pt x="3493" y="434"/>
                </a:cubicBezTo>
                <a:cubicBezTo>
                  <a:pt x="3494" y="433"/>
                  <a:pt x="3495" y="433"/>
                  <a:pt x="3495" y="433"/>
                </a:cubicBezTo>
                <a:cubicBezTo>
                  <a:pt x="3497" y="434"/>
                  <a:pt x="3497" y="435"/>
                  <a:pt x="3497" y="436"/>
                </a:cubicBezTo>
                <a:cubicBezTo>
                  <a:pt x="3498" y="438"/>
                  <a:pt x="3499" y="439"/>
                  <a:pt x="3500" y="440"/>
                </a:cubicBezTo>
                <a:cubicBezTo>
                  <a:pt x="3500" y="441"/>
                  <a:pt x="3500" y="442"/>
                  <a:pt x="3501" y="442"/>
                </a:cubicBezTo>
                <a:cubicBezTo>
                  <a:pt x="3501" y="443"/>
                  <a:pt x="3502" y="443"/>
                  <a:pt x="3502" y="444"/>
                </a:cubicBezTo>
                <a:cubicBezTo>
                  <a:pt x="3504" y="445"/>
                  <a:pt x="3503" y="446"/>
                  <a:pt x="3503" y="448"/>
                </a:cubicBezTo>
                <a:cubicBezTo>
                  <a:pt x="3502" y="449"/>
                  <a:pt x="3503" y="449"/>
                  <a:pt x="3504" y="450"/>
                </a:cubicBezTo>
                <a:cubicBezTo>
                  <a:pt x="3504" y="451"/>
                  <a:pt x="3504" y="453"/>
                  <a:pt x="3504" y="453"/>
                </a:cubicBezTo>
                <a:cubicBezTo>
                  <a:pt x="3503" y="454"/>
                  <a:pt x="3502" y="454"/>
                  <a:pt x="3501" y="455"/>
                </a:cubicBezTo>
                <a:cubicBezTo>
                  <a:pt x="3500" y="455"/>
                  <a:pt x="3499" y="457"/>
                  <a:pt x="3499" y="458"/>
                </a:cubicBezTo>
                <a:cubicBezTo>
                  <a:pt x="3499" y="458"/>
                  <a:pt x="3499" y="460"/>
                  <a:pt x="3498" y="461"/>
                </a:cubicBezTo>
                <a:cubicBezTo>
                  <a:pt x="3497" y="461"/>
                  <a:pt x="3497" y="460"/>
                  <a:pt x="3497" y="460"/>
                </a:cubicBezTo>
                <a:cubicBezTo>
                  <a:pt x="3496" y="459"/>
                  <a:pt x="3495" y="459"/>
                  <a:pt x="3495" y="459"/>
                </a:cubicBezTo>
                <a:cubicBezTo>
                  <a:pt x="3495" y="459"/>
                  <a:pt x="3494" y="460"/>
                  <a:pt x="3494" y="460"/>
                </a:cubicBezTo>
                <a:cubicBezTo>
                  <a:pt x="3494" y="460"/>
                  <a:pt x="3494" y="460"/>
                  <a:pt x="3494" y="461"/>
                </a:cubicBezTo>
                <a:cubicBezTo>
                  <a:pt x="3495" y="461"/>
                  <a:pt x="3495" y="461"/>
                  <a:pt x="3495" y="461"/>
                </a:cubicBezTo>
                <a:cubicBezTo>
                  <a:pt x="3495" y="462"/>
                  <a:pt x="3494" y="462"/>
                  <a:pt x="3494" y="462"/>
                </a:cubicBezTo>
                <a:cubicBezTo>
                  <a:pt x="3493" y="462"/>
                  <a:pt x="3493" y="461"/>
                  <a:pt x="3492" y="461"/>
                </a:cubicBezTo>
                <a:cubicBezTo>
                  <a:pt x="3491" y="461"/>
                  <a:pt x="3491" y="461"/>
                  <a:pt x="3490" y="461"/>
                </a:cubicBezTo>
                <a:cubicBezTo>
                  <a:pt x="3489" y="462"/>
                  <a:pt x="3488" y="461"/>
                  <a:pt x="3487" y="461"/>
                </a:cubicBezTo>
                <a:cubicBezTo>
                  <a:pt x="3486" y="461"/>
                  <a:pt x="3485" y="462"/>
                  <a:pt x="3484" y="462"/>
                </a:cubicBezTo>
                <a:cubicBezTo>
                  <a:pt x="3483" y="462"/>
                  <a:pt x="3481" y="462"/>
                  <a:pt x="3479" y="462"/>
                </a:cubicBezTo>
                <a:cubicBezTo>
                  <a:pt x="3478" y="462"/>
                  <a:pt x="3477" y="462"/>
                  <a:pt x="3475" y="461"/>
                </a:cubicBezTo>
                <a:cubicBezTo>
                  <a:pt x="3474" y="460"/>
                  <a:pt x="3474" y="458"/>
                  <a:pt x="3474" y="457"/>
                </a:cubicBezTo>
                <a:cubicBezTo>
                  <a:pt x="3473" y="456"/>
                  <a:pt x="3474" y="454"/>
                  <a:pt x="3473" y="453"/>
                </a:cubicBezTo>
                <a:cubicBezTo>
                  <a:pt x="3472" y="451"/>
                  <a:pt x="3471" y="451"/>
                  <a:pt x="3469" y="451"/>
                </a:cubicBezTo>
                <a:cubicBezTo>
                  <a:pt x="3468" y="450"/>
                  <a:pt x="3466" y="450"/>
                  <a:pt x="3465" y="449"/>
                </a:cubicBezTo>
                <a:cubicBezTo>
                  <a:pt x="3464" y="449"/>
                  <a:pt x="3463" y="448"/>
                  <a:pt x="3461" y="447"/>
                </a:cubicBezTo>
                <a:cubicBezTo>
                  <a:pt x="3459" y="447"/>
                  <a:pt x="3455" y="448"/>
                  <a:pt x="3453" y="446"/>
                </a:cubicBezTo>
                <a:cubicBezTo>
                  <a:pt x="3452" y="446"/>
                  <a:pt x="3451" y="445"/>
                  <a:pt x="3450" y="444"/>
                </a:cubicBezTo>
                <a:cubicBezTo>
                  <a:pt x="3450" y="443"/>
                  <a:pt x="3450" y="441"/>
                  <a:pt x="3450" y="440"/>
                </a:cubicBezTo>
                <a:cubicBezTo>
                  <a:pt x="3450" y="439"/>
                  <a:pt x="3451" y="438"/>
                  <a:pt x="3450" y="436"/>
                </a:cubicBezTo>
                <a:cubicBezTo>
                  <a:pt x="3450" y="435"/>
                  <a:pt x="3449" y="434"/>
                  <a:pt x="3447" y="434"/>
                </a:cubicBezTo>
                <a:cubicBezTo>
                  <a:pt x="3446" y="433"/>
                  <a:pt x="3445" y="433"/>
                  <a:pt x="3445" y="431"/>
                </a:cubicBezTo>
                <a:cubicBezTo>
                  <a:pt x="3445" y="431"/>
                  <a:pt x="3445" y="430"/>
                  <a:pt x="3444" y="429"/>
                </a:cubicBezTo>
                <a:cubicBezTo>
                  <a:pt x="3444" y="429"/>
                  <a:pt x="3443" y="429"/>
                  <a:pt x="3442" y="429"/>
                </a:cubicBezTo>
                <a:cubicBezTo>
                  <a:pt x="3441" y="428"/>
                  <a:pt x="3439" y="428"/>
                  <a:pt x="3438" y="429"/>
                </a:cubicBezTo>
                <a:cubicBezTo>
                  <a:pt x="3437" y="429"/>
                  <a:pt x="3436" y="430"/>
                  <a:pt x="3435" y="431"/>
                </a:cubicBezTo>
                <a:cubicBezTo>
                  <a:pt x="3435" y="431"/>
                  <a:pt x="3434" y="431"/>
                  <a:pt x="3434" y="431"/>
                </a:cubicBezTo>
                <a:cubicBezTo>
                  <a:pt x="3433" y="432"/>
                  <a:pt x="3433" y="432"/>
                  <a:pt x="3432" y="433"/>
                </a:cubicBezTo>
                <a:cubicBezTo>
                  <a:pt x="3432" y="433"/>
                  <a:pt x="3431" y="434"/>
                  <a:pt x="3431" y="434"/>
                </a:cubicBezTo>
                <a:cubicBezTo>
                  <a:pt x="3430" y="435"/>
                  <a:pt x="3428" y="435"/>
                  <a:pt x="3427" y="435"/>
                </a:cubicBezTo>
                <a:cubicBezTo>
                  <a:pt x="3426" y="435"/>
                  <a:pt x="3425" y="435"/>
                  <a:pt x="3424" y="435"/>
                </a:cubicBezTo>
                <a:cubicBezTo>
                  <a:pt x="3422" y="435"/>
                  <a:pt x="3420" y="435"/>
                  <a:pt x="3418" y="435"/>
                </a:cubicBezTo>
                <a:cubicBezTo>
                  <a:pt x="3415" y="435"/>
                  <a:pt x="3413" y="435"/>
                  <a:pt x="3410" y="435"/>
                </a:cubicBezTo>
                <a:cubicBezTo>
                  <a:pt x="3407" y="435"/>
                  <a:pt x="3405" y="435"/>
                  <a:pt x="3402" y="434"/>
                </a:cubicBezTo>
                <a:cubicBezTo>
                  <a:pt x="3398" y="434"/>
                  <a:pt x="3395" y="435"/>
                  <a:pt x="3391" y="434"/>
                </a:cubicBezTo>
                <a:cubicBezTo>
                  <a:pt x="3389" y="433"/>
                  <a:pt x="3388" y="433"/>
                  <a:pt x="3386" y="432"/>
                </a:cubicBezTo>
                <a:cubicBezTo>
                  <a:pt x="3384" y="432"/>
                  <a:pt x="3383" y="432"/>
                  <a:pt x="3381" y="431"/>
                </a:cubicBezTo>
                <a:cubicBezTo>
                  <a:pt x="3379" y="431"/>
                  <a:pt x="3377" y="431"/>
                  <a:pt x="3376" y="430"/>
                </a:cubicBezTo>
                <a:cubicBezTo>
                  <a:pt x="3375" y="430"/>
                  <a:pt x="3374" y="430"/>
                  <a:pt x="3373" y="429"/>
                </a:cubicBezTo>
                <a:cubicBezTo>
                  <a:pt x="3373" y="429"/>
                  <a:pt x="3372" y="430"/>
                  <a:pt x="3371" y="430"/>
                </a:cubicBezTo>
                <a:cubicBezTo>
                  <a:pt x="3370" y="429"/>
                  <a:pt x="3369" y="429"/>
                  <a:pt x="3369" y="428"/>
                </a:cubicBezTo>
                <a:cubicBezTo>
                  <a:pt x="3368" y="428"/>
                  <a:pt x="3367" y="428"/>
                  <a:pt x="3366" y="428"/>
                </a:cubicBezTo>
                <a:cubicBezTo>
                  <a:pt x="3366" y="429"/>
                  <a:pt x="3365" y="429"/>
                  <a:pt x="3365" y="429"/>
                </a:cubicBezTo>
                <a:cubicBezTo>
                  <a:pt x="3363" y="430"/>
                  <a:pt x="3362" y="429"/>
                  <a:pt x="3361" y="430"/>
                </a:cubicBezTo>
                <a:cubicBezTo>
                  <a:pt x="3360" y="430"/>
                  <a:pt x="3359" y="430"/>
                  <a:pt x="3358" y="430"/>
                </a:cubicBezTo>
                <a:cubicBezTo>
                  <a:pt x="3357" y="430"/>
                  <a:pt x="3356" y="430"/>
                  <a:pt x="3355" y="430"/>
                </a:cubicBezTo>
                <a:cubicBezTo>
                  <a:pt x="3353" y="431"/>
                  <a:pt x="3351" y="431"/>
                  <a:pt x="3348" y="431"/>
                </a:cubicBezTo>
                <a:cubicBezTo>
                  <a:pt x="3346" y="431"/>
                  <a:pt x="3343" y="430"/>
                  <a:pt x="3340" y="431"/>
                </a:cubicBezTo>
                <a:cubicBezTo>
                  <a:pt x="3338" y="431"/>
                  <a:pt x="3335" y="432"/>
                  <a:pt x="3333" y="432"/>
                </a:cubicBezTo>
                <a:cubicBezTo>
                  <a:pt x="3331" y="433"/>
                  <a:pt x="3329" y="433"/>
                  <a:pt x="3327" y="433"/>
                </a:cubicBezTo>
                <a:cubicBezTo>
                  <a:pt x="3325" y="433"/>
                  <a:pt x="3323" y="433"/>
                  <a:pt x="3321" y="433"/>
                </a:cubicBezTo>
                <a:cubicBezTo>
                  <a:pt x="3320" y="433"/>
                  <a:pt x="3318" y="434"/>
                  <a:pt x="3316" y="434"/>
                </a:cubicBezTo>
                <a:cubicBezTo>
                  <a:pt x="3314" y="434"/>
                  <a:pt x="3311" y="435"/>
                  <a:pt x="3308" y="435"/>
                </a:cubicBezTo>
                <a:cubicBezTo>
                  <a:pt x="3306" y="435"/>
                  <a:pt x="3304" y="435"/>
                  <a:pt x="3302" y="434"/>
                </a:cubicBezTo>
                <a:cubicBezTo>
                  <a:pt x="3299" y="433"/>
                  <a:pt x="3296" y="431"/>
                  <a:pt x="3293" y="431"/>
                </a:cubicBezTo>
                <a:cubicBezTo>
                  <a:pt x="3291" y="430"/>
                  <a:pt x="3290" y="430"/>
                  <a:pt x="3288" y="430"/>
                </a:cubicBezTo>
                <a:cubicBezTo>
                  <a:pt x="3287" y="430"/>
                  <a:pt x="3285" y="430"/>
                  <a:pt x="3284" y="428"/>
                </a:cubicBezTo>
                <a:cubicBezTo>
                  <a:pt x="3284" y="428"/>
                  <a:pt x="3284" y="427"/>
                  <a:pt x="3284" y="426"/>
                </a:cubicBezTo>
                <a:cubicBezTo>
                  <a:pt x="3284" y="425"/>
                  <a:pt x="3283" y="425"/>
                  <a:pt x="3283" y="425"/>
                </a:cubicBezTo>
                <a:cubicBezTo>
                  <a:pt x="3281" y="423"/>
                  <a:pt x="3283" y="423"/>
                  <a:pt x="3284" y="422"/>
                </a:cubicBezTo>
                <a:cubicBezTo>
                  <a:pt x="3285" y="420"/>
                  <a:pt x="3284" y="419"/>
                  <a:pt x="3284" y="418"/>
                </a:cubicBezTo>
                <a:cubicBezTo>
                  <a:pt x="3283" y="417"/>
                  <a:pt x="3283" y="415"/>
                  <a:pt x="3285" y="415"/>
                </a:cubicBezTo>
                <a:cubicBezTo>
                  <a:pt x="3286" y="415"/>
                  <a:pt x="3288" y="416"/>
                  <a:pt x="3288" y="414"/>
                </a:cubicBezTo>
                <a:cubicBezTo>
                  <a:pt x="3288" y="413"/>
                  <a:pt x="3288" y="413"/>
                  <a:pt x="3288" y="413"/>
                </a:cubicBezTo>
                <a:cubicBezTo>
                  <a:pt x="3288" y="412"/>
                  <a:pt x="3289" y="412"/>
                  <a:pt x="3289" y="412"/>
                </a:cubicBezTo>
                <a:cubicBezTo>
                  <a:pt x="3289" y="410"/>
                  <a:pt x="3288" y="409"/>
                  <a:pt x="3288" y="408"/>
                </a:cubicBezTo>
                <a:cubicBezTo>
                  <a:pt x="3288" y="407"/>
                  <a:pt x="3287" y="407"/>
                  <a:pt x="3287" y="406"/>
                </a:cubicBezTo>
                <a:cubicBezTo>
                  <a:pt x="3287" y="406"/>
                  <a:pt x="3287" y="405"/>
                  <a:pt x="3287" y="404"/>
                </a:cubicBezTo>
                <a:cubicBezTo>
                  <a:pt x="3286" y="401"/>
                  <a:pt x="3285" y="397"/>
                  <a:pt x="3282" y="395"/>
                </a:cubicBezTo>
                <a:cubicBezTo>
                  <a:pt x="3280" y="394"/>
                  <a:pt x="3279" y="393"/>
                  <a:pt x="3277" y="392"/>
                </a:cubicBezTo>
                <a:cubicBezTo>
                  <a:pt x="3274" y="390"/>
                  <a:pt x="3271" y="389"/>
                  <a:pt x="3267" y="388"/>
                </a:cubicBezTo>
                <a:cubicBezTo>
                  <a:pt x="3266" y="387"/>
                  <a:pt x="3264" y="387"/>
                  <a:pt x="3263" y="386"/>
                </a:cubicBezTo>
                <a:cubicBezTo>
                  <a:pt x="3262" y="386"/>
                  <a:pt x="3261" y="385"/>
                  <a:pt x="3260" y="385"/>
                </a:cubicBezTo>
                <a:cubicBezTo>
                  <a:pt x="3260" y="385"/>
                  <a:pt x="3259" y="385"/>
                  <a:pt x="3258" y="385"/>
                </a:cubicBezTo>
                <a:cubicBezTo>
                  <a:pt x="3256" y="384"/>
                  <a:pt x="3254" y="384"/>
                  <a:pt x="3252" y="384"/>
                </a:cubicBezTo>
                <a:cubicBezTo>
                  <a:pt x="3251" y="384"/>
                  <a:pt x="3249" y="383"/>
                  <a:pt x="3247" y="383"/>
                </a:cubicBezTo>
                <a:cubicBezTo>
                  <a:pt x="3244" y="382"/>
                  <a:pt x="3241" y="382"/>
                  <a:pt x="3237" y="382"/>
                </a:cubicBezTo>
                <a:cubicBezTo>
                  <a:pt x="3234" y="381"/>
                  <a:pt x="3231" y="382"/>
                  <a:pt x="3228" y="381"/>
                </a:cubicBezTo>
                <a:cubicBezTo>
                  <a:pt x="3225" y="381"/>
                  <a:pt x="3223" y="381"/>
                  <a:pt x="3220" y="381"/>
                </a:cubicBezTo>
                <a:cubicBezTo>
                  <a:pt x="3215" y="381"/>
                  <a:pt x="3209" y="381"/>
                  <a:pt x="3203" y="381"/>
                </a:cubicBezTo>
                <a:cubicBezTo>
                  <a:pt x="3201" y="381"/>
                  <a:pt x="3199" y="382"/>
                  <a:pt x="3196" y="382"/>
                </a:cubicBezTo>
                <a:cubicBezTo>
                  <a:pt x="3194" y="382"/>
                  <a:pt x="3192" y="383"/>
                  <a:pt x="3190" y="383"/>
                </a:cubicBezTo>
                <a:cubicBezTo>
                  <a:pt x="3185" y="384"/>
                  <a:pt x="3180" y="385"/>
                  <a:pt x="3175" y="386"/>
                </a:cubicBezTo>
                <a:cubicBezTo>
                  <a:pt x="3171" y="387"/>
                  <a:pt x="3166" y="389"/>
                  <a:pt x="3161" y="389"/>
                </a:cubicBezTo>
                <a:cubicBezTo>
                  <a:pt x="3159" y="389"/>
                  <a:pt x="3157" y="390"/>
                  <a:pt x="3154" y="390"/>
                </a:cubicBezTo>
                <a:cubicBezTo>
                  <a:pt x="3153" y="390"/>
                  <a:pt x="3152" y="390"/>
                  <a:pt x="3150" y="390"/>
                </a:cubicBezTo>
                <a:cubicBezTo>
                  <a:pt x="3149" y="390"/>
                  <a:pt x="3148" y="390"/>
                  <a:pt x="3146" y="391"/>
                </a:cubicBezTo>
                <a:cubicBezTo>
                  <a:pt x="3145" y="391"/>
                  <a:pt x="3144" y="392"/>
                  <a:pt x="3142" y="391"/>
                </a:cubicBezTo>
                <a:cubicBezTo>
                  <a:pt x="3141" y="391"/>
                  <a:pt x="3139" y="391"/>
                  <a:pt x="3137" y="391"/>
                </a:cubicBezTo>
                <a:cubicBezTo>
                  <a:pt x="3137" y="390"/>
                  <a:pt x="3136" y="390"/>
                  <a:pt x="3135" y="389"/>
                </a:cubicBezTo>
                <a:cubicBezTo>
                  <a:pt x="3134" y="389"/>
                  <a:pt x="3133" y="389"/>
                  <a:pt x="3132" y="389"/>
                </a:cubicBezTo>
                <a:cubicBezTo>
                  <a:pt x="3131" y="388"/>
                  <a:pt x="3130" y="388"/>
                  <a:pt x="3129" y="387"/>
                </a:cubicBezTo>
                <a:cubicBezTo>
                  <a:pt x="3128" y="387"/>
                  <a:pt x="3127" y="386"/>
                  <a:pt x="3127" y="385"/>
                </a:cubicBezTo>
                <a:cubicBezTo>
                  <a:pt x="3128" y="385"/>
                  <a:pt x="3129" y="386"/>
                  <a:pt x="3129" y="385"/>
                </a:cubicBezTo>
                <a:cubicBezTo>
                  <a:pt x="3129" y="385"/>
                  <a:pt x="3128" y="384"/>
                  <a:pt x="3128" y="383"/>
                </a:cubicBezTo>
                <a:cubicBezTo>
                  <a:pt x="3128" y="383"/>
                  <a:pt x="3127" y="382"/>
                  <a:pt x="3127" y="381"/>
                </a:cubicBezTo>
                <a:cubicBezTo>
                  <a:pt x="3126" y="381"/>
                  <a:pt x="3126" y="380"/>
                  <a:pt x="3126" y="380"/>
                </a:cubicBezTo>
                <a:cubicBezTo>
                  <a:pt x="3125" y="379"/>
                  <a:pt x="3124" y="378"/>
                  <a:pt x="3124" y="377"/>
                </a:cubicBezTo>
                <a:cubicBezTo>
                  <a:pt x="3123" y="377"/>
                  <a:pt x="3123" y="377"/>
                  <a:pt x="3122" y="376"/>
                </a:cubicBezTo>
                <a:cubicBezTo>
                  <a:pt x="3121" y="375"/>
                  <a:pt x="3121" y="374"/>
                  <a:pt x="3120" y="373"/>
                </a:cubicBezTo>
                <a:cubicBezTo>
                  <a:pt x="3118" y="371"/>
                  <a:pt x="3115" y="370"/>
                  <a:pt x="3112" y="370"/>
                </a:cubicBezTo>
                <a:cubicBezTo>
                  <a:pt x="3111" y="370"/>
                  <a:pt x="3109" y="371"/>
                  <a:pt x="3108" y="371"/>
                </a:cubicBezTo>
                <a:cubicBezTo>
                  <a:pt x="3107" y="372"/>
                  <a:pt x="3105" y="374"/>
                  <a:pt x="3104" y="373"/>
                </a:cubicBezTo>
                <a:cubicBezTo>
                  <a:pt x="3103" y="373"/>
                  <a:pt x="3106" y="370"/>
                  <a:pt x="3104" y="370"/>
                </a:cubicBezTo>
                <a:cubicBezTo>
                  <a:pt x="3102" y="370"/>
                  <a:pt x="3102" y="372"/>
                  <a:pt x="3101" y="373"/>
                </a:cubicBezTo>
                <a:cubicBezTo>
                  <a:pt x="3100" y="373"/>
                  <a:pt x="3093" y="377"/>
                  <a:pt x="3093" y="376"/>
                </a:cubicBezTo>
                <a:cubicBezTo>
                  <a:pt x="3093" y="374"/>
                  <a:pt x="3096" y="375"/>
                  <a:pt x="3096" y="374"/>
                </a:cubicBezTo>
                <a:cubicBezTo>
                  <a:pt x="3098" y="373"/>
                  <a:pt x="3098" y="372"/>
                  <a:pt x="3099" y="371"/>
                </a:cubicBezTo>
                <a:cubicBezTo>
                  <a:pt x="3099" y="370"/>
                  <a:pt x="3100" y="370"/>
                  <a:pt x="3100" y="370"/>
                </a:cubicBezTo>
                <a:cubicBezTo>
                  <a:pt x="3101" y="370"/>
                  <a:pt x="3101" y="369"/>
                  <a:pt x="3101" y="369"/>
                </a:cubicBezTo>
                <a:cubicBezTo>
                  <a:pt x="3102" y="368"/>
                  <a:pt x="3103" y="367"/>
                  <a:pt x="3103" y="366"/>
                </a:cubicBezTo>
                <a:cubicBezTo>
                  <a:pt x="3103" y="365"/>
                  <a:pt x="3101" y="366"/>
                  <a:pt x="3100" y="366"/>
                </a:cubicBezTo>
                <a:cubicBezTo>
                  <a:pt x="3099" y="365"/>
                  <a:pt x="3098" y="366"/>
                  <a:pt x="3098" y="366"/>
                </a:cubicBezTo>
                <a:cubicBezTo>
                  <a:pt x="3096" y="366"/>
                  <a:pt x="3095" y="365"/>
                  <a:pt x="3094" y="365"/>
                </a:cubicBezTo>
                <a:cubicBezTo>
                  <a:pt x="3093" y="365"/>
                  <a:pt x="3092" y="366"/>
                  <a:pt x="3091" y="367"/>
                </a:cubicBezTo>
                <a:cubicBezTo>
                  <a:pt x="3089" y="367"/>
                  <a:pt x="3088" y="366"/>
                  <a:pt x="3089" y="365"/>
                </a:cubicBezTo>
                <a:cubicBezTo>
                  <a:pt x="3090" y="363"/>
                  <a:pt x="3091" y="363"/>
                  <a:pt x="3092" y="363"/>
                </a:cubicBezTo>
                <a:cubicBezTo>
                  <a:pt x="3093" y="362"/>
                  <a:pt x="3093" y="361"/>
                  <a:pt x="3092" y="361"/>
                </a:cubicBezTo>
                <a:cubicBezTo>
                  <a:pt x="3091" y="361"/>
                  <a:pt x="3090" y="361"/>
                  <a:pt x="3089" y="361"/>
                </a:cubicBezTo>
                <a:cubicBezTo>
                  <a:pt x="3089" y="360"/>
                  <a:pt x="3088" y="360"/>
                  <a:pt x="3087" y="360"/>
                </a:cubicBezTo>
                <a:cubicBezTo>
                  <a:pt x="3085" y="360"/>
                  <a:pt x="3082" y="362"/>
                  <a:pt x="3080" y="360"/>
                </a:cubicBezTo>
                <a:cubicBezTo>
                  <a:pt x="3079" y="360"/>
                  <a:pt x="3079" y="360"/>
                  <a:pt x="3078" y="359"/>
                </a:cubicBezTo>
                <a:cubicBezTo>
                  <a:pt x="3078" y="359"/>
                  <a:pt x="3077" y="359"/>
                  <a:pt x="3076" y="359"/>
                </a:cubicBezTo>
                <a:cubicBezTo>
                  <a:pt x="3076" y="359"/>
                  <a:pt x="3076" y="358"/>
                  <a:pt x="3075" y="359"/>
                </a:cubicBezTo>
                <a:cubicBezTo>
                  <a:pt x="3074" y="359"/>
                  <a:pt x="3074" y="359"/>
                  <a:pt x="3073" y="359"/>
                </a:cubicBezTo>
                <a:cubicBezTo>
                  <a:pt x="3072" y="359"/>
                  <a:pt x="3071" y="359"/>
                  <a:pt x="3070" y="359"/>
                </a:cubicBezTo>
                <a:cubicBezTo>
                  <a:pt x="3069" y="359"/>
                  <a:pt x="3068" y="356"/>
                  <a:pt x="3069" y="355"/>
                </a:cubicBezTo>
                <a:cubicBezTo>
                  <a:pt x="3069" y="355"/>
                  <a:pt x="3070" y="356"/>
                  <a:pt x="3070" y="356"/>
                </a:cubicBezTo>
                <a:cubicBezTo>
                  <a:pt x="3071" y="356"/>
                  <a:pt x="3072" y="356"/>
                  <a:pt x="3072" y="356"/>
                </a:cubicBezTo>
                <a:cubicBezTo>
                  <a:pt x="3073" y="357"/>
                  <a:pt x="3073" y="357"/>
                  <a:pt x="3074" y="357"/>
                </a:cubicBezTo>
                <a:cubicBezTo>
                  <a:pt x="3075" y="357"/>
                  <a:pt x="3075" y="356"/>
                  <a:pt x="3075" y="356"/>
                </a:cubicBezTo>
                <a:cubicBezTo>
                  <a:pt x="3075" y="355"/>
                  <a:pt x="3075" y="354"/>
                  <a:pt x="3076" y="354"/>
                </a:cubicBezTo>
                <a:cubicBezTo>
                  <a:pt x="3077" y="353"/>
                  <a:pt x="3077" y="353"/>
                  <a:pt x="3078" y="353"/>
                </a:cubicBezTo>
                <a:cubicBezTo>
                  <a:pt x="3078" y="352"/>
                  <a:pt x="3079" y="352"/>
                  <a:pt x="3080" y="352"/>
                </a:cubicBezTo>
                <a:cubicBezTo>
                  <a:pt x="3080" y="352"/>
                  <a:pt x="3081" y="353"/>
                  <a:pt x="3081" y="353"/>
                </a:cubicBezTo>
                <a:cubicBezTo>
                  <a:pt x="3081" y="354"/>
                  <a:pt x="3082" y="354"/>
                  <a:pt x="3083" y="355"/>
                </a:cubicBezTo>
                <a:cubicBezTo>
                  <a:pt x="3083" y="355"/>
                  <a:pt x="3084" y="355"/>
                  <a:pt x="3084" y="356"/>
                </a:cubicBezTo>
                <a:cubicBezTo>
                  <a:pt x="3085" y="358"/>
                  <a:pt x="3086" y="358"/>
                  <a:pt x="3087" y="356"/>
                </a:cubicBezTo>
                <a:cubicBezTo>
                  <a:pt x="3088" y="356"/>
                  <a:pt x="3088" y="355"/>
                  <a:pt x="3089" y="354"/>
                </a:cubicBezTo>
                <a:cubicBezTo>
                  <a:pt x="3090" y="354"/>
                  <a:pt x="3090" y="354"/>
                  <a:pt x="3091" y="354"/>
                </a:cubicBezTo>
                <a:cubicBezTo>
                  <a:pt x="3092" y="353"/>
                  <a:pt x="3092" y="351"/>
                  <a:pt x="3092" y="350"/>
                </a:cubicBezTo>
                <a:cubicBezTo>
                  <a:pt x="3092" y="349"/>
                  <a:pt x="3091" y="349"/>
                  <a:pt x="3091" y="348"/>
                </a:cubicBezTo>
                <a:cubicBezTo>
                  <a:pt x="3090" y="348"/>
                  <a:pt x="3089" y="347"/>
                  <a:pt x="3088" y="347"/>
                </a:cubicBezTo>
                <a:cubicBezTo>
                  <a:pt x="3088" y="346"/>
                  <a:pt x="3087" y="346"/>
                  <a:pt x="3087" y="345"/>
                </a:cubicBezTo>
                <a:cubicBezTo>
                  <a:pt x="3086" y="344"/>
                  <a:pt x="3085" y="343"/>
                  <a:pt x="3084" y="343"/>
                </a:cubicBezTo>
                <a:cubicBezTo>
                  <a:pt x="3082" y="342"/>
                  <a:pt x="3080" y="342"/>
                  <a:pt x="3079" y="341"/>
                </a:cubicBezTo>
                <a:cubicBezTo>
                  <a:pt x="3077" y="341"/>
                  <a:pt x="3075" y="340"/>
                  <a:pt x="3074" y="340"/>
                </a:cubicBezTo>
                <a:cubicBezTo>
                  <a:pt x="3070" y="339"/>
                  <a:pt x="3067" y="339"/>
                  <a:pt x="3064" y="337"/>
                </a:cubicBezTo>
                <a:cubicBezTo>
                  <a:pt x="3061" y="336"/>
                  <a:pt x="3057" y="335"/>
                  <a:pt x="3054" y="335"/>
                </a:cubicBezTo>
                <a:cubicBezTo>
                  <a:pt x="3051" y="335"/>
                  <a:pt x="3048" y="335"/>
                  <a:pt x="3045" y="335"/>
                </a:cubicBezTo>
                <a:cubicBezTo>
                  <a:pt x="3043" y="335"/>
                  <a:pt x="3041" y="335"/>
                  <a:pt x="3039" y="335"/>
                </a:cubicBezTo>
                <a:cubicBezTo>
                  <a:pt x="3036" y="335"/>
                  <a:pt x="3034" y="336"/>
                  <a:pt x="3031" y="338"/>
                </a:cubicBezTo>
                <a:cubicBezTo>
                  <a:pt x="3030" y="339"/>
                  <a:pt x="3029" y="340"/>
                  <a:pt x="3028" y="342"/>
                </a:cubicBezTo>
                <a:cubicBezTo>
                  <a:pt x="3028" y="343"/>
                  <a:pt x="3027" y="344"/>
                  <a:pt x="3025" y="345"/>
                </a:cubicBezTo>
                <a:cubicBezTo>
                  <a:pt x="3024" y="346"/>
                  <a:pt x="3023" y="346"/>
                  <a:pt x="3022" y="348"/>
                </a:cubicBezTo>
                <a:cubicBezTo>
                  <a:pt x="3020" y="351"/>
                  <a:pt x="3018" y="354"/>
                  <a:pt x="3014" y="356"/>
                </a:cubicBezTo>
                <a:cubicBezTo>
                  <a:pt x="3011" y="357"/>
                  <a:pt x="3007" y="357"/>
                  <a:pt x="3003" y="357"/>
                </a:cubicBezTo>
                <a:cubicBezTo>
                  <a:pt x="3001" y="357"/>
                  <a:pt x="2999" y="358"/>
                  <a:pt x="2997" y="359"/>
                </a:cubicBezTo>
                <a:cubicBezTo>
                  <a:pt x="2996" y="359"/>
                  <a:pt x="2995" y="359"/>
                  <a:pt x="2994" y="359"/>
                </a:cubicBezTo>
                <a:cubicBezTo>
                  <a:pt x="2993" y="359"/>
                  <a:pt x="2991" y="360"/>
                  <a:pt x="2991" y="359"/>
                </a:cubicBezTo>
                <a:cubicBezTo>
                  <a:pt x="2990" y="359"/>
                  <a:pt x="2991" y="358"/>
                  <a:pt x="2991" y="358"/>
                </a:cubicBezTo>
                <a:cubicBezTo>
                  <a:pt x="2992" y="357"/>
                  <a:pt x="2991" y="357"/>
                  <a:pt x="2992" y="356"/>
                </a:cubicBezTo>
                <a:cubicBezTo>
                  <a:pt x="2993" y="356"/>
                  <a:pt x="2993" y="356"/>
                  <a:pt x="2994" y="356"/>
                </a:cubicBezTo>
                <a:cubicBezTo>
                  <a:pt x="2995" y="356"/>
                  <a:pt x="2997" y="355"/>
                  <a:pt x="2996" y="354"/>
                </a:cubicBezTo>
                <a:cubicBezTo>
                  <a:pt x="2996" y="353"/>
                  <a:pt x="2995" y="353"/>
                  <a:pt x="2994" y="353"/>
                </a:cubicBezTo>
                <a:cubicBezTo>
                  <a:pt x="2994" y="353"/>
                  <a:pt x="2993" y="352"/>
                  <a:pt x="2993" y="352"/>
                </a:cubicBezTo>
                <a:cubicBezTo>
                  <a:pt x="2993" y="351"/>
                  <a:pt x="2992" y="350"/>
                  <a:pt x="2993" y="350"/>
                </a:cubicBezTo>
                <a:cubicBezTo>
                  <a:pt x="2994" y="350"/>
                  <a:pt x="2994" y="351"/>
                  <a:pt x="2995" y="351"/>
                </a:cubicBezTo>
                <a:cubicBezTo>
                  <a:pt x="2996" y="352"/>
                  <a:pt x="2998" y="352"/>
                  <a:pt x="2999" y="353"/>
                </a:cubicBezTo>
                <a:cubicBezTo>
                  <a:pt x="3000" y="353"/>
                  <a:pt x="3001" y="352"/>
                  <a:pt x="3003" y="352"/>
                </a:cubicBezTo>
                <a:cubicBezTo>
                  <a:pt x="3004" y="351"/>
                  <a:pt x="3006" y="352"/>
                  <a:pt x="3007" y="351"/>
                </a:cubicBezTo>
                <a:cubicBezTo>
                  <a:pt x="3009" y="351"/>
                  <a:pt x="3010" y="350"/>
                  <a:pt x="3008" y="349"/>
                </a:cubicBezTo>
                <a:cubicBezTo>
                  <a:pt x="3007" y="348"/>
                  <a:pt x="3006" y="347"/>
                  <a:pt x="3005" y="346"/>
                </a:cubicBezTo>
                <a:cubicBezTo>
                  <a:pt x="3005" y="345"/>
                  <a:pt x="3005" y="344"/>
                  <a:pt x="3005" y="344"/>
                </a:cubicBezTo>
                <a:cubicBezTo>
                  <a:pt x="3005" y="343"/>
                  <a:pt x="3006" y="342"/>
                  <a:pt x="3006" y="342"/>
                </a:cubicBezTo>
                <a:cubicBezTo>
                  <a:pt x="3007" y="341"/>
                  <a:pt x="3007" y="339"/>
                  <a:pt x="3009" y="340"/>
                </a:cubicBezTo>
                <a:cubicBezTo>
                  <a:pt x="3010" y="340"/>
                  <a:pt x="3010" y="341"/>
                  <a:pt x="3010" y="342"/>
                </a:cubicBezTo>
                <a:cubicBezTo>
                  <a:pt x="3010" y="343"/>
                  <a:pt x="3010" y="343"/>
                  <a:pt x="3010" y="344"/>
                </a:cubicBezTo>
                <a:cubicBezTo>
                  <a:pt x="3011" y="344"/>
                  <a:pt x="3012" y="347"/>
                  <a:pt x="3013" y="345"/>
                </a:cubicBezTo>
                <a:cubicBezTo>
                  <a:pt x="3013" y="345"/>
                  <a:pt x="3013" y="344"/>
                  <a:pt x="3013" y="343"/>
                </a:cubicBezTo>
                <a:cubicBezTo>
                  <a:pt x="3014" y="343"/>
                  <a:pt x="3014" y="343"/>
                  <a:pt x="3015" y="343"/>
                </a:cubicBezTo>
                <a:cubicBezTo>
                  <a:pt x="3016" y="342"/>
                  <a:pt x="3018" y="342"/>
                  <a:pt x="3017" y="344"/>
                </a:cubicBezTo>
                <a:cubicBezTo>
                  <a:pt x="3016" y="345"/>
                  <a:pt x="3015" y="345"/>
                  <a:pt x="3014" y="346"/>
                </a:cubicBezTo>
                <a:cubicBezTo>
                  <a:pt x="3014" y="346"/>
                  <a:pt x="3014" y="346"/>
                  <a:pt x="3014" y="347"/>
                </a:cubicBezTo>
                <a:cubicBezTo>
                  <a:pt x="3013" y="347"/>
                  <a:pt x="3013" y="347"/>
                  <a:pt x="3012" y="347"/>
                </a:cubicBezTo>
                <a:cubicBezTo>
                  <a:pt x="3011" y="348"/>
                  <a:pt x="3012" y="349"/>
                  <a:pt x="3012" y="350"/>
                </a:cubicBezTo>
                <a:cubicBezTo>
                  <a:pt x="3012" y="350"/>
                  <a:pt x="3012" y="351"/>
                  <a:pt x="3011" y="351"/>
                </a:cubicBezTo>
                <a:cubicBezTo>
                  <a:pt x="3011" y="352"/>
                  <a:pt x="3011" y="352"/>
                  <a:pt x="3011" y="353"/>
                </a:cubicBezTo>
                <a:cubicBezTo>
                  <a:pt x="3012" y="353"/>
                  <a:pt x="3012" y="353"/>
                  <a:pt x="3012" y="354"/>
                </a:cubicBezTo>
                <a:cubicBezTo>
                  <a:pt x="3013" y="355"/>
                  <a:pt x="3013" y="354"/>
                  <a:pt x="3014" y="353"/>
                </a:cubicBezTo>
                <a:cubicBezTo>
                  <a:pt x="3014" y="352"/>
                  <a:pt x="3015" y="351"/>
                  <a:pt x="3016" y="350"/>
                </a:cubicBezTo>
                <a:cubicBezTo>
                  <a:pt x="3018" y="349"/>
                  <a:pt x="3021" y="348"/>
                  <a:pt x="3022" y="346"/>
                </a:cubicBezTo>
                <a:cubicBezTo>
                  <a:pt x="3023" y="345"/>
                  <a:pt x="3023" y="345"/>
                  <a:pt x="3024" y="344"/>
                </a:cubicBezTo>
                <a:cubicBezTo>
                  <a:pt x="3024" y="343"/>
                  <a:pt x="3025" y="343"/>
                  <a:pt x="3026" y="343"/>
                </a:cubicBezTo>
                <a:cubicBezTo>
                  <a:pt x="3026" y="342"/>
                  <a:pt x="3027" y="341"/>
                  <a:pt x="3027" y="341"/>
                </a:cubicBezTo>
                <a:cubicBezTo>
                  <a:pt x="3028" y="340"/>
                  <a:pt x="3029" y="340"/>
                  <a:pt x="3029" y="338"/>
                </a:cubicBezTo>
                <a:cubicBezTo>
                  <a:pt x="3030" y="338"/>
                  <a:pt x="3030" y="337"/>
                  <a:pt x="3029" y="336"/>
                </a:cubicBezTo>
                <a:cubicBezTo>
                  <a:pt x="3028" y="336"/>
                  <a:pt x="3027" y="337"/>
                  <a:pt x="3027" y="337"/>
                </a:cubicBezTo>
                <a:cubicBezTo>
                  <a:pt x="3026" y="337"/>
                  <a:pt x="3025" y="337"/>
                  <a:pt x="3025" y="337"/>
                </a:cubicBezTo>
                <a:cubicBezTo>
                  <a:pt x="3021" y="336"/>
                  <a:pt x="3018" y="336"/>
                  <a:pt x="3015" y="336"/>
                </a:cubicBezTo>
                <a:cubicBezTo>
                  <a:pt x="3014" y="337"/>
                  <a:pt x="3014" y="337"/>
                  <a:pt x="3013" y="337"/>
                </a:cubicBezTo>
                <a:cubicBezTo>
                  <a:pt x="3012" y="337"/>
                  <a:pt x="3011" y="337"/>
                  <a:pt x="3010" y="337"/>
                </a:cubicBezTo>
                <a:cubicBezTo>
                  <a:pt x="3008" y="337"/>
                  <a:pt x="3006" y="337"/>
                  <a:pt x="3004" y="337"/>
                </a:cubicBezTo>
                <a:cubicBezTo>
                  <a:pt x="3001" y="337"/>
                  <a:pt x="2998" y="338"/>
                  <a:pt x="2995" y="338"/>
                </a:cubicBezTo>
                <a:cubicBezTo>
                  <a:pt x="2993" y="338"/>
                  <a:pt x="2992" y="338"/>
                  <a:pt x="2990" y="338"/>
                </a:cubicBezTo>
                <a:cubicBezTo>
                  <a:pt x="2989" y="338"/>
                  <a:pt x="2988" y="339"/>
                  <a:pt x="2986" y="339"/>
                </a:cubicBezTo>
                <a:cubicBezTo>
                  <a:pt x="2985" y="339"/>
                  <a:pt x="2983" y="339"/>
                  <a:pt x="2982" y="339"/>
                </a:cubicBezTo>
                <a:cubicBezTo>
                  <a:pt x="2981" y="339"/>
                  <a:pt x="2980" y="339"/>
                  <a:pt x="2980" y="339"/>
                </a:cubicBezTo>
                <a:cubicBezTo>
                  <a:pt x="2979" y="339"/>
                  <a:pt x="2979" y="339"/>
                  <a:pt x="2980" y="339"/>
                </a:cubicBezTo>
                <a:cubicBezTo>
                  <a:pt x="2980" y="338"/>
                  <a:pt x="2981" y="338"/>
                  <a:pt x="2982" y="338"/>
                </a:cubicBezTo>
                <a:cubicBezTo>
                  <a:pt x="2982" y="338"/>
                  <a:pt x="2983" y="337"/>
                  <a:pt x="2984" y="337"/>
                </a:cubicBezTo>
                <a:cubicBezTo>
                  <a:pt x="2985" y="336"/>
                  <a:pt x="2986" y="335"/>
                  <a:pt x="2987" y="334"/>
                </a:cubicBezTo>
                <a:cubicBezTo>
                  <a:pt x="2990" y="333"/>
                  <a:pt x="2993" y="332"/>
                  <a:pt x="2996" y="333"/>
                </a:cubicBezTo>
                <a:cubicBezTo>
                  <a:pt x="2997" y="334"/>
                  <a:pt x="2998" y="335"/>
                  <a:pt x="3000" y="335"/>
                </a:cubicBezTo>
                <a:cubicBezTo>
                  <a:pt x="3001" y="335"/>
                  <a:pt x="3003" y="335"/>
                  <a:pt x="3005" y="335"/>
                </a:cubicBezTo>
                <a:cubicBezTo>
                  <a:pt x="3008" y="335"/>
                  <a:pt x="3011" y="334"/>
                  <a:pt x="3014" y="335"/>
                </a:cubicBezTo>
                <a:cubicBezTo>
                  <a:pt x="3017" y="335"/>
                  <a:pt x="3019" y="335"/>
                  <a:pt x="3022" y="335"/>
                </a:cubicBezTo>
                <a:cubicBezTo>
                  <a:pt x="3023" y="335"/>
                  <a:pt x="3024" y="335"/>
                  <a:pt x="3026" y="335"/>
                </a:cubicBezTo>
                <a:cubicBezTo>
                  <a:pt x="3027" y="335"/>
                  <a:pt x="3028" y="335"/>
                  <a:pt x="3029" y="335"/>
                </a:cubicBezTo>
                <a:cubicBezTo>
                  <a:pt x="3029" y="334"/>
                  <a:pt x="3026" y="334"/>
                  <a:pt x="3025" y="334"/>
                </a:cubicBezTo>
                <a:cubicBezTo>
                  <a:pt x="3024" y="333"/>
                  <a:pt x="3023" y="333"/>
                  <a:pt x="3021" y="333"/>
                </a:cubicBezTo>
                <a:cubicBezTo>
                  <a:pt x="3018" y="331"/>
                  <a:pt x="3015" y="330"/>
                  <a:pt x="3012" y="330"/>
                </a:cubicBezTo>
                <a:cubicBezTo>
                  <a:pt x="3008" y="329"/>
                  <a:pt x="3005" y="328"/>
                  <a:pt x="3001" y="327"/>
                </a:cubicBezTo>
                <a:cubicBezTo>
                  <a:pt x="2997" y="327"/>
                  <a:pt x="2993" y="326"/>
                  <a:pt x="2989" y="325"/>
                </a:cubicBezTo>
                <a:cubicBezTo>
                  <a:pt x="2985" y="324"/>
                  <a:pt x="2981" y="324"/>
                  <a:pt x="2977" y="324"/>
                </a:cubicBezTo>
                <a:cubicBezTo>
                  <a:pt x="2976" y="323"/>
                  <a:pt x="2975" y="324"/>
                  <a:pt x="2974" y="324"/>
                </a:cubicBezTo>
                <a:cubicBezTo>
                  <a:pt x="2973" y="324"/>
                  <a:pt x="2973" y="324"/>
                  <a:pt x="2972" y="324"/>
                </a:cubicBezTo>
                <a:cubicBezTo>
                  <a:pt x="2971" y="323"/>
                  <a:pt x="2970" y="323"/>
                  <a:pt x="2969" y="323"/>
                </a:cubicBezTo>
                <a:cubicBezTo>
                  <a:pt x="2968" y="323"/>
                  <a:pt x="2967" y="323"/>
                  <a:pt x="2966" y="323"/>
                </a:cubicBezTo>
                <a:cubicBezTo>
                  <a:pt x="2961" y="322"/>
                  <a:pt x="2957" y="322"/>
                  <a:pt x="2952" y="322"/>
                </a:cubicBezTo>
                <a:cubicBezTo>
                  <a:pt x="2951" y="322"/>
                  <a:pt x="2950" y="322"/>
                  <a:pt x="2950" y="322"/>
                </a:cubicBezTo>
                <a:cubicBezTo>
                  <a:pt x="2949" y="322"/>
                  <a:pt x="2948" y="322"/>
                  <a:pt x="2947" y="322"/>
                </a:cubicBezTo>
                <a:cubicBezTo>
                  <a:pt x="2946" y="322"/>
                  <a:pt x="2945" y="321"/>
                  <a:pt x="2945" y="321"/>
                </a:cubicBezTo>
                <a:cubicBezTo>
                  <a:pt x="2944" y="322"/>
                  <a:pt x="2943" y="322"/>
                  <a:pt x="2942" y="322"/>
                </a:cubicBezTo>
                <a:cubicBezTo>
                  <a:pt x="2941" y="322"/>
                  <a:pt x="2939" y="322"/>
                  <a:pt x="2938" y="322"/>
                </a:cubicBezTo>
                <a:cubicBezTo>
                  <a:pt x="2937" y="322"/>
                  <a:pt x="2936" y="322"/>
                  <a:pt x="2935" y="321"/>
                </a:cubicBezTo>
                <a:cubicBezTo>
                  <a:pt x="2933" y="320"/>
                  <a:pt x="2931" y="320"/>
                  <a:pt x="2929" y="319"/>
                </a:cubicBezTo>
                <a:cubicBezTo>
                  <a:pt x="2927" y="319"/>
                  <a:pt x="2924" y="317"/>
                  <a:pt x="2921" y="316"/>
                </a:cubicBezTo>
                <a:cubicBezTo>
                  <a:pt x="2919" y="316"/>
                  <a:pt x="2916" y="315"/>
                  <a:pt x="2913" y="315"/>
                </a:cubicBezTo>
                <a:cubicBezTo>
                  <a:pt x="2911" y="315"/>
                  <a:pt x="2910" y="315"/>
                  <a:pt x="2908" y="315"/>
                </a:cubicBezTo>
                <a:cubicBezTo>
                  <a:pt x="2908" y="315"/>
                  <a:pt x="2905" y="315"/>
                  <a:pt x="2905" y="316"/>
                </a:cubicBezTo>
                <a:cubicBezTo>
                  <a:pt x="2905" y="316"/>
                  <a:pt x="2906" y="316"/>
                  <a:pt x="2906" y="317"/>
                </a:cubicBezTo>
                <a:cubicBezTo>
                  <a:pt x="2907" y="317"/>
                  <a:pt x="2908" y="318"/>
                  <a:pt x="2908" y="318"/>
                </a:cubicBezTo>
                <a:cubicBezTo>
                  <a:pt x="2909" y="319"/>
                  <a:pt x="2909" y="321"/>
                  <a:pt x="2910" y="322"/>
                </a:cubicBezTo>
                <a:cubicBezTo>
                  <a:pt x="2911" y="323"/>
                  <a:pt x="2912" y="323"/>
                  <a:pt x="2913" y="325"/>
                </a:cubicBezTo>
                <a:cubicBezTo>
                  <a:pt x="2915" y="326"/>
                  <a:pt x="2914" y="327"/>
                  <a:pt x="2912" y="327"/>
                </a:cubicBezTo>
                <a:cubicBezTo>
                  <a:pt x="2909" y="327"/>
                  <a:pt x="2907" y="330"/>
                  <a:pt x="2904" y="330"/>
                </a:cubicBezTo>
                <a:cubicBezTo>
                  <a:pt x="2903" y="330"/>
                  <a:pt x="2901" y="330"/>
                  <a:pt x="2899" y="330"/>
                </a:cubicBezTo>
                <a:cubicBezTo>
                  <a:pt x="2897" y="330"/>
                  <a:pt x="2895" y="330"/>
                  <a:pt x="2894" y="330"/>
                </a:cubicBezTo>
                <a:cubicBezTo>
                  <a:pt x="2891" y="331"/>
                  <a:pt x="2890" y="332"/>
                  <a:pt x="2888" y="333"/>
                </a:cubicBezTo>
                <a:cubicBezTo>
                  <a:pt x="2886" y="333"/>
                  <a:pt x="2885" y="334"/>
                  <a:pt x="2884" y="335"/>
                </a:cubicBezTo>
                <a:cubicBezTo>
                  <a:pt x="2883" y="336"/>
                  <a:pt x="2882" y="336"/>
                  <a:pt x="2880" y="337"/>
                </a:cubicBezTo>
                <a:cubicBezTo>
                  <a:pt x="2879" y="338"/>
                  <a:pt x="2877" y="338"/>
                  <a:pt x="2877" y="339"/>
                </a:cubicBezTo>
                <a:cubicBezTo>
                  <a:pt x="2877" y="339"/>
                  <a:pt x="2877" y="340"/>
                  <a:pt x="2877" y="340"/>
                </a:cubicBezTo>
                <a:cubicBezTo>
                  <a:pt x="2878" y="340"/>
                  <a:pt x="2878" y="341"/>
                  <a:pt x="2878" y="341"/>
                </a:cubicBezTo>
                <a:cubicBezTo>
                  <a:pt x="2878" y="342"/>
                  <a:pt x="2878" y="342"/>
                  <a:pt x="2879" y="342"/>
                </a:cubicBezTo>
                <a:cubicBezTo>
                  <a:pt x="2880" y="342"/>
                  <a:pt x="2881" y="342"/>
                  <a:pt x="2881" y="342"/>
                </a:cubicBezTo>
                <a:cubicBezTo>
                  <a:pt x="2882" y="341"/>
                  <a:pt x="2883" y="341"/>
                  <a:pt x="2883" y="341"/>
                </a:cubicBezTo>
                <a:cubicBezTo>
                  <a:pt x="2885" y="341"/>
                  <a:pt x="2885" y="339"/>
                  <a:pt x="2887" y="339"/>
                </a:cubicBezTo>
                <a:cubicBezTo>
                  <a:pt x="2888" y="339"/>
                  <a:pt x="2888" y="340"/>
                  <a:pt x="2889" y="340"/>
                </a:cubicBezTo>
                <a:cubicBezTo>
                  <a:pt x="2890" y="340"/>
                  <a:pt x="2890" y="340"/>
                  <a:pt x="2891" y="340"/>
                </a:cubicBezTo>
                <a:cubicBezTo>
                  <a:pt x="2893" y="340"/>
                  <a:pt x="2894" y="339"/>
                  <a:pt x="2895" y="340"/>
                </a:cubicBezTo>
                <a:cubicBezTo>
                  <a:pt x="2896" y="340"/>
                  <a:pt x="2897" y="341"/>
                  <a:pt x="2896" y="342"/>
                </a:cubicBezTo>
                <a:cubicBezTo>
                  <a:pt x="2896" y="343"/>
                  <a:pt x="2895" y="343"/>
                  <a:pt x="2894" y="343"/>
                </a:cubicBezTo>
                <a:cubicBezTo>
                  <a:pt x="2893" y="343"/>
                  <a:pt x="2891" y="343"/>
                  <a:pt x="2890" y="344"/>
                </a:cubicBezTo>
                <a:cubicBezTo>
                  <a:pt x="2890" y="345"/>
                  <a:pt x="2889" y="346"/>
                  <a:pt x="2889" y="346"/>
                </a:cubicBezTo>
                <a:cubicBezTo>
                  <a:pt x="2889" y="347"/>
                  <a:pt x="2888" y="347"/>
                  <a:pt x="2888" y="348"/>
                </a:cubicBezTo>
                <a:cubicBezTo>
                  <a:pt x="2887" y="349"/>
                  <a:pt x="2886" y="350"/>
                  <a:pt x="2884" y="350"/>
                </a:cubicBezTo>
                <a:cubicBezTo>
                  <a:pt x="2884" y="349"/>
                  <a:pt x="2882" y="349"/>
                  <a:pt x="2882" y="350"/>
                </a:cubicBezTo>
                <a:cubicBezTo>
                  <a:pt x="2882" y="351"/>
                  <a:pt x="2883" y="351"/>
                  <a:pt x="2884" y="350"/>
                </a:cubicBezTo>
                <a:cubicBezTo>
                  <a:pt x="2885" y="350"/>
                  <a:pt x="2886" y="351"/>
                  <a:pt x="2887" y="352"/>
                </a:cubicBezTo>
                <a:cubicBezTo>
                  <a:pt x="2887" y="353"/>
                  <a:pt x="2887" y="354"/>
                  <a:pt x="2887" y="354"/>
                </a:cubicBezTo>
                <a:cubicBezTo>
                  <a:pt x="2887" y="355"/>
                  <a:pt x="2888" y="356"/>
                  <a:pt x="2888" y="357"/>
                </a:cubicBezTo>
                <a:cubicBezTo>
                  <a:pt x="2888" y="358"/>
                  <a:pt x="2888" y="358"/>
                  <a:pt x="2888" y="359"/>
                </a:cubicBezTo>
                <a:cubicBezTo>
                  <a:pt x="2888" y="360"/>
                  <a:pt x="2888" y="361"/>
                  <a:pt x="2889" y="362"/>
                </a:cubicBezTo>
                <a:cubicBezTo>
                  <a:pt x="2890" y="363"/>
                  <a:pt x="2891" y="363"/>
                  <a:pt x="2891" y="364"/>
                </a:cubicBezTo>
                <a:cubicBezTo>
                  <a:pt x="2892" y="364"/>
                  <a:pt x="2892" y="365"/>
                  <a:pt x="2893" y="365"/>
                </a:cubicBezTo>
                <a:cubicBezTo>
                  <a:pt x="2893" y="366"/>
                  <a:pt x="2894" y="366"/>
                  <a:pt x="2894" y="367"/>
                </a:cubicBezTo>
                <a:cubicBezTo>
                  <a:pt x="2893" y="367"/>
                  <a:pt x="2892" y="367"/>
                  <a:pt x="2891" y="367"/>
                </a:cubicBezTo>
                <a:cubicBezTo>
                  <a:pt x="2890" y="368"/>
                  <a:pt x="2890" y="368"/>
                  <a:pt x="2889" y="368"/>
                </a:cubicBezTo>
                <a:cubicBezTo>
                  <a:pt x="2888" y="368"/>
                  <a:pt x="2888" y="367"/>
                  <a:pt x="2887" y="367"/>
                </a:cubicBezTo>
                <a:cubicBezTo>
                  <a:pt x="2886" y="366"/>
                  <a:pt x="2883" y="366"/>
                  <a:pt x="2883" y="367"/>
                </a:cubicBezTo>
                <a:cubicBezTo>
                  <a:pt x="2882" y="368"/>
                  <a:pt x="2882" y="368"/>
                  <a:pt x="2881" y="369"/>
                </a:cubicBezTo>
                <a:cubicBezTo>
                  <a:pt x="2881" y="370"/>
                  <a:pt x="2879" y="370"/>
                  <a:pt x="2878" y="369"/>
                </a:cubicBezTo>
                <a:cubicBezTo>
                  <a:pt x="2877" y="368"/>
                  <a:pt x="2877" y="366"/>
                  <a:pt x="2876" y="364"/>
                </a:cubicBezTo>
                <a:cubicBezTo>
                  <a:pt x="2874" y="363"/>
                  <a:pt x="2873" y="362"/>
                  <a:pt x="2871" y="362"/>
                </a:cubicBezTo>
                <a:cubicBezTo>
                  <a:pt x="2869" y="361"/>
                  <a:pt x="2868" y="362"/>
                  <a:pt x="2867" y="364"/>
                </a:cubicBezTo>
                <a:cubicBezTo>
                  <a:pt x="2866" y="364"/>
                  <a:pt x="2866" y="365"/>
                  <a:pt x="2865" y="365"/>
                </a:cubicBezTo>
                <a:cubicBezTo>
                  <a:pt x="2865" y="365"/>
                  <a:pt x="2863" y="365"/>
                  <a:pt x="2863" y="365"/>
                </a:cubicBezTo>
                <a:cubicBezTo>
                  <a:pt x="2862" y="364"/>
                  <a:pt x="2866" y="364"/>
                  <a:pt x="2864" y="362"/>
                </a:cubicBezTo>
                <a:cubicBezTo>
                  <a:pt x="2864" y="362"/>
                  <a:pt x="2862" y="362"/>
                  <a:pt x="2861" y="362"/>
                </a:cubicBezTo>
                <a:cubicBezTo>
                  <a:pt x="2860" y="363"/>
                  <a:pt x="2859" y="362"/>
                  <a:pt x="2858" y="363"/>
                </a:cubicBezTo>
                <a:cubicBezTo>
                  <a:pt x="2857" y="363"/>
                  <a:pt x="2856" y="364"/>
                  <a:pt x="2855" y="365"/>
                </a:cubicBezTo>
                <a:cubicBezTo>
                  <a:pt x="2854" y="366"/>
                  <a:pt x="2853" y="366"/>
                  <a:pt x="2851" y="366"/>
                </a:cubicBezTo>
                <a:cubicBezTo>
                  <a:pt x="2850" y="366"/>
                  <a:pt x="2850" y="366"/>
                  <a:pt x="2849" y="366"/>
                </a:cubicBezTo>
                <a:cubicBezTo>
                  <a:pt x="2848" y="366"/>
                  <a:pt x="2847" y="366"/>
                  <a:pt x="2846" y="366"/>
                </a:cubicBezTo>
                <a:cubicBezTo>
                  <a:pt x="2843" y="366"/>
                  <a:pt x="2840" y="366"/>
                  <a:pt x="2837" y="366"/>
                </a:cubicBezTo>
                <a:cubicBezTo>
                  <a:pt x="2836" y="366"/>
                  <a:pt x="2835" y="366"/>
                  <a:pt x="2835" y="367"/>
                </a:cubicBezTo>
                <a:cubicBezTo>
                  <a:pt x="2835" y="367"/>
                  <a:pt x="2836" y="367"/>
                  <a:pt x="2837" y="367"/>
                </a:cubicBezTo>
                <a:cubicBezTo>
                  <a:pt x="2837" y="367"/>
                  <a:pt x="2838" y="368"/>
                  <a:pt x="2838" y="368"/>
                </a:cubicBezTo>
                <a:cubicBezTo>
                  <a:pt x="2840" y="368"/>
                  <a:pt x="2841" y="367"/>
                  <a:pt x="2842" y="367"/>
                </a:cubicBezTo>
                <a:cubicBezTo>
                  <a:pt x="2844" y="366"/>
                  <a:pt x="2844" y="368"/>
                  <a:pt x="2846" y="369"/>
                </a:cubicBezTo>
                <a:cubicBezTo>
                  <a:pt x="2846" y="369"/>
                  <a:pt x="2847" y="369"/>
                  <a:pt x="2847" y="369"/>
                </a:cubicBezTo>
                <a:cubicBezTo>
                  <a:pt x="2848" y="369"/>
                  <a:pt x="2848" y="370"/>
                  <a:pt x="2849" y="370"/>
                </a:cubicBezTo>
                <a:cubicBezTo>
                  <a:pt x="2851" y="369"/>
                  <a:pt x="2851" y="367"/>
                  <a:pt x="2852" y="367"/>
                </a:cubicBezTo>
                <a:cubicBezTo>
                  <a:pt x="2853" y="367"/>
                  <a:pt x="2853" y="368"/>
                  <a:pt x="2853" y="369"/>
                </a:cubicBezTo>
                <a:cubicBezTo>
                  <a:pt x="2852" y="369"/>
                  <a:pt x="2851" y="369"/>
                  <a:pt x="2851" y="370"/>
                </a:cubicBezTo>
                <a:cubicBezTo>
                  <a:pt x="2852" y="371"/>
                  <a:pt x="2852" y="371"/>
                  <a:pt x="2853" y="371"/>
                </a:cubicBezTo>
                <a:cubicBezTo>
                  <a:pt x="2854" y="371"/>
                  <a:pt x="2854" y="372"/>
                  <a:pt x="2855" y="372"/>
                </a:cubicBezTo>
                <a:cubicBezTo>
                  <a:pt x="2855" y="372"/>
                  <a:pt x="2857" y="372"/>
                  <a:pt x="2857" y="372"/>
                </a:cubicBezTo>
                <a:cubicBezTo>
                  <a:pt x="2858" y="373"/>
                  <a:pt x="2856" y="373"/>
                  <a:pt x="2856" y="373"/>
                </a:cubicBezTo>
                <a:cubicBezTo>
                  <a:pt x="2855" y="374"/>
                  <a:pt x="2854" y="374"/>
                  <a:pt x="2855" y="374"/>
                </a:cubicBezTo>
                <a:cubicBezTo>
                  <a:pt x="2856" y="375"/>
                  <a:pt x="2856" y="374"/>
                  <a:pt x="2857" y="374"/>
                </a:cubicBezTo>
                <a:cubicBezTo>
                  <a:pt x="2858" y="375"/>
                  <a:pt x="2857" y="376"/>
                  <a:pt x="2857" y="376"/>
                </a:cubicBezTo>
                <a:cubicBezTo>
                  <a:pt x="2856" y="376"/>
                  <a:pt x="2855" y="376"/>
                  <a:pt x="2855" y="376"/>
                </a:cubicBezTo>
                <a:cubicBezTo>
                  <a:pt x="2854" y="376"/>
                  <a:pt x="2850" y="376"/>
                  <a:pt x="2851" y="377"/>
                </a:cubicBezTo>
                <a:cubicBezTo>
                  <a:pt x="2852" y="378"/>
                  <a:pt x="2854" y="377"/>
                  <a:pt x="2854" y="379"/>
                </a:cubicBezTo>
                <a:cubicBezTo>
                  <a:pt x="2854" y="380"/>
                  <a:pt x="2853" y="381"/>
                  <a:pt x="2852" y="381"/>
                </a:cubicBezTo>
                <a:cubicBezTo>
                  <a:pt x="2851" y="381"/>
                  <a:pt x="2851" y="380"/>
                  <a:pt x="2851" y="379"/>
                </a:cubicBezTo>
                <a:cubicBezTo>
                  <a:pt x="2851" y="378"/>
                  <a:pt x="2849" y="379"/>
                  <a:pt x="2848" y="378"/>
                </a:cubicBezTo>
                <a:cubicBezTo>
                  <a:pt x="2847" y="377"/>
                  <a:pt x="2848" y="377"/>
                  <a:pt x="2849" y="377"/>
                </a:cubicBezTo>
                <a:cubicBezTo>
                  <a:pt x="2850" y="376"/>
                  <a:pt x="2850" y="376"/>
                  <a:pt x="2849" y="375"/>
                </a:cubicBezTo>
                <a:cubicBezTo>
                  <a:pt x="2848" y="375"/>
                  <a:pt x="2847" y="375"/>
                  <a:pt x="2847" y="375"/>
                </a:cubicBezTo>
                <a:cubicBezTo>
                  <a:pt x="2845" y="375"/>
                  <a:pt x="2844" y="376"/>
                  <a:pt x="2844" y="373"/>
                </a:cubicBezTo>
                <a:cubicBezTo>
                  <a:pt x="2844" y="371"/>
                  <a:pt x="2843" y="372"/>
                  <a:pt x="2842" y="372"/>
                </a:cubicBezTo>
                <a:cubicBezTo>
                  <a:pt x="2841" y="372"/>
                  <a:pt x="2841" y="371"/>
                  <a:pt x="2840" y="371"/>
                </a:cubicBezTo>
                <a:cubicBezTo>
                  <a:pt x="2839" y="370"/>
                  <a:pt x="2839" y="370"/>
                  <a:pt x="2839" y="370"/>
                </a:cubicBezTo>
                <a:cubicBezTo>
                  <a:pt x="2838" y="369"/>
                  <a:pt x="2838" y="369"/>
                  <a:pt x="2837" y="369"/>
                </a:cubicBezTo>
                <a:cubicBezTo>
                  <a:pt x="2837" y="369"/>
                  <a:pt x="2836" y="369"/>
                  <a:pt x="2835" y="369"/>
                </a:cubicBezTo>
                <a:cubicBezTo>
                  <a:pt x="2835" y="368"/>
                  <a:pt x="2835" y="368"/>
                  <a:pt x="2835" y="368"/>
                </a:cubicBezTo>
                <a:cubicBezTo>
                  <a:pt x="2834" y="368"/>
                  <a:pt x="2834" y="368"/>
                  <a:pt x="2834" y="368"/>
                </a:cubicBezTo>
                <a:cubicBezTo>
                  <a:pt x="2833" y="367"/>
                  <a:pt x="2831" y="367"/>
                  <a:pt x="2830" y="367"/>
                </a:cubicBezTo>
                <a:cubicBezTo>
                  <a:pt x="2829" y="367"/>
                  <a:pt x="2827" y="367"/>
                  <a:pt x="2826" y="367"/>
                </a:cubicBezTo>
                <a:cubicBezTo>
                  <a:pt x="2826" y="365"/>
                  <a:pt x="2826" y="365"/>
                  <a:pt x="2825" y="364"/>
                </a:cubicBezTo>
                <a:cubicBezTo>
                  <a:pt x="2823" y="364"/>
                  <a:pt x="2822" y="364"/>
                  <a:pt x="2821" y="363"/>
                </a:cubicBezTo>
                <a:cubicBezTo>
                  <a:pt x="2818" y="362"/>
                  <a:pt x="2816" y="361"/>
                  <a:pt x="2813" y="361"/>
                </a:cubicBezTo>
                <a:cubicBezTo>
                  <a:pt x="2811" y="361"/>
                  <a:pt x="2809" y="362"/>
                  <a:pt x="2808" y="362"/>
                </a:cubicBezTo>
                <a:cubicBezTo>
                  <a:pt x="2807" y="362"/>
                  <a:pt x="2806" y="363"/>
                  <a:pt x="2805" y="363"/>
                </a:cubicBezTo>
                <a:cubicBezTo>
                  <a:pt x="2804" y="363"/>
                  <a:pt x="2803" y="364"/>
                  <a:pt x="2802" y="364"/>
                </a:cubicBezTo>
                <a:cubicBezTo>
                  <a:pt x="2800" y="365"/>
                  <a:pt x="2799" y="365"/>
                  <a:pt x="2797" y="365"/>
                </a:cubicBezTo>
                <a:cubicBezTo>
                  <a:pt x="2795" y="366"/>
                  <a:pt x="2793" y="366"/>
                  <a:pt x="2792" y="367"/>
                </a:cubicBezTo>
                <a:cubicBezTo>
                  <a:pt x="2791" y="368"/>
                  <a:pt x="2790" y="370"/>
                  <a:pt x="2789" y="370"/>
                </a:cubicBezTo>
                <a:cubicBezTo>
                  <a:pt x="2789" y="370"/>
                  <a:pt x="2788" y="371"/>
                  <a:pt x="2787" y="371"/>
                </a:cubicBezTo>
                <a:cubicBezTo>
                  <a:pt x="2785" y="371"/>
                  <a:pt x="2784" y="371"/>
                  <a:pt x="2782" y="371"/>
                </a:cubicBezTo>
                <a:cubicBezTo>
                  <a:pt x="2780" y="371"/>
                  <a:pt x="2779" y="371"/>
                  <a:pt x="2777" y="370"/>
                </a:cubicBezTo>
                <a:cubicBezTo>
                  <a:pt x="2776" y="370"/>
                  <a:pt x="2775" y="369"/>
                  <a:pt x="2773" y="369"/>
                </a:cubicBezTo>
                <a:cubicBezTo>
                  <a:pt x="2770" y="368"/>
                  <a:pt x="2767" y="368"/>
                  <a:pt x="2764" y="367"/>
                </a:cubicBezTo>
                <a:cubicBezTo>
                  <a:pt x="2761" y="366"/>
                  <a:pt x="2760" y="363"/>
                  <a:pt x="2758" y="361"/>
                </a:cubicBezTo>
                <a:cubicBezTo>
                  <a:pt x="2756" y="359"/>
                  <a:pt x="2755" y="358"/>
                  <a:pt x="2753" y="357"/>
                </a:cubicBezTo>
                <a:cubicBezTo>
                  <a:pt x="2752" y="357"/>
                  <a:pt x="2751" y="357"/>
                  <a:pt x="2751" y="356"/>
                </a:cubicBezTo>
                <a:cubicBezTo>
                  <a:pt x="2750" y="354"/>
                  <a:pt x="2751" y="351"/>
                  <a:pt x="2748" y="351"/>
                </a:cubicBezTo>
                <a:cubicBezTo>
                  <a:pt x="2747" y="352"/>
                  <a:pt x="2745" y="353"/>
                  <a:pt x="2744" y="355"/>
                </a:cubicBezTo>
                <a:cubicBezTo>
                  <a:pt x="2743" y="358"/>
                  <a:pt x="2742" y="360"/>
                  <a:pt x="2740" y="363"/>
                </a:cubicBezTo>
                <a:cubicBezTo>
                  <a:pt x="2739" y="364"/>
                  <a:pt x="2738" y="366"/>
                  <a:pt x="2738" y="367"/>
                </a:cubicBezTo>
                <a:cubicBezTo>
                  <a:pt x="2737" y="368"/>
                  <a:pt x="2737" y="370"/>
                  <a:pt x="2737" y="371"/>
                </a:cubicBezTo>
                <a:cubicBezTo>
                  <a:pt x="2736" y="372"/>
                  <a:pt x="2735" y="373"/>
                  <a:pt x="2735" y="375"/>
                </a:cubicBezTo>
                <a:cubicBezTo>
                  <a:pt x="2734" y="376"/>
                  <a:pt x="2734" y="377"/>
                  <a:pt x="2734" y="378"/>
                </a:cubicBezTo>
                <a:cubicBezTo>
                  <a:pt x="2733" y="379"/>
                  <a:pt x="2733" y="380"/>
                  <a:pt x="2732" y="381"/>
                </a:cubicBezTo>
                <a:cubicBezTo>
                  <a:pt x="2731" y="381"/>
                  <a:pt x="2731" y="382"/>
                  <a:pt x="2730" y="382"/>
                </a:cubicBezTo>
                <a:cubicBezTo>
                  <a:pt x="2729" y="383"/>
                  <a:pt x="2728" y="384"/>
                  <a:pt x="2727" y="385"/>
                </a:cubicBezTo>
                <a:cubicBezTo>
                  <a:pt x="2726" y="387"/>
                  <a:pt x="2725" y="388"/>
                  <a:pt x="2724" y="389"/>
                </a:cubicBezTo>
                <a:cubicBezTo>
                  <a:pt x="2722" y="390"/>
                  <a:pt x="2721" y="393"/>
                  <a:pt x="2719" y="393"/>
                </a:cubicBezTo>
                <a:cubicBezTo>
                  <a:pt x="2718" y="393"/>
                  <a:pt x="2717" y="393"/>
                  <a:pt x="2716" y="393"/>
                </a:cubicBezTo>
                <a:cubicBezTo>
                  <a:pt x="2715" y="393"/>
                  <a:pt x="2715" y="393"/>
                  <a:pt x="2715" y="392"/>
                </a:cubicBezTo>
                <a:cubicBezTo>
                  <a:pt x="2715" y="391"/>
                  <a:pt x="2715" y="389"/>
                  <a:pt x="2713" y="389"/>
                </a:cubicBezTo>
                <a:cubicBezTo>
                  <a:pt x="2713" y="389"/>
                  <a:pt x="2712" y="389"/>
                  <a:pt x="2711" y="389"/>
                </a:cubicBezTo>
                <a:cubicBezTo>
                  <a:pt x="2711" y="389"/>
                  <a:pt x="2710" y="389"/>
                  <a:pt x="2709" y="389"/>
                </a:cubicBezTo>
                <a:cubicBezTo>
                  <a:pt x="2709" y="389"/>
                  <a:pt x="2708" y="389"/>
                  <a:pt x="2708" y="389"/>
                </a:cubicBezTo>
                <a:cubicBezTo>
                  <a:pt x="2708" y="389"/>
                  <a:pt x="2708" y="389"/>
                  <a:pt x="2708" y="388"/>
                </a:cubicBezTo>
                <a:cubicBezTo>
                  <a:pt x="2707" y="388"/>
                  <a:pt x="2707" y="387"/>
                  <a:pt x="2706" y="387"/>
                </a:cubicBezTo>
                <a:cubicBezTo>
                  <a:pt x="2705" y="387"/>
                  <a:pt x="2703" y="388"/>
                  <a:pt x="2702" y="387"/>
                </a:cubicBezTo>
                <a:cubicBezTo>
                  <a:pt x="2701" y="385"/>
                  <a:pt x="2701" y="384"/>
                  <a:pt x="2699" y="383"/>
                </a:cubicBezTo>
                <a:cubicBezTo>
                  <a:pt x="2698" y="383"/>
                  <a:pt x="2696" y="383"/>
                  <a:pt x="2695" y="382"/>
                </a:cubicBezTo>
                <a:cubicBezTo>
                  <a:pt x="2694" y="382"/>
                  <a:pt x="2694" y="382"/>
                  <a:pt x="2693" y="382"/>
                </a:cubicBezTo>
                <a:cubicBezTo>
                  <a:pt x="2693" y="382"/>
                  <a:pt x="2692" y="382"/>
                  <a:pt x="2691" y="381"/>
                </a:cubicBezTo>
                <a:cubicBezTo>
                  <a:pt x="2691" y="380"/>
                  <a:pt x="2692" y="380"/>
                  <a:pt x="2692" y="379"/>
                </a:cubicBezTo>
                <a:cubicBezTo>
                  <a:pt x="2692" y="379"/>
                  <a:pt x="2692" y="378"/>
                  <a:pt x="2692" y="378"/>
                </a:cubicBezTo>
                <a:cubicBezTo>
                  <a:pt x="2691" y="376"/>
                  <a:pt x="2691" y="375"/>
                  <a:pt x="2689" y="375"/>
                </a:cubicBezTo>
                <a:cubicBezTo>
                  <a:pt x="2688" y="374"/>
                  <a:pt x="2686" y="373"/>
                  <a:pt x="2685" y="372"/>
                </a:cubicBezTo>
                <a:cubicBezTo>
                  <a:pt x="2684" y="370"/>
                  <a:pt x="2684" y="368"/>
                  <a:pt x="2683" y="367"/>
                </a:cubicBezTo>
                <a:cubicBezTo>
                  <a:pt x="2682" y="366"/>
                  <a:pt x="2681" y="366"/>
                  <a:pt x="2680" y="365"/>
                </a:cubicBezTo>
                <a:cubicBezTo>
                  <a:pt x="2679" y="365"/>
                  <a:pt x="2679" y="365"/>
                  <a:pt x="2678" y="364"/>
                </a:cubicBezTo>
                <a:cubicBezTo>
                  <a:pt x="2678" y="364"/>
                  <a:pt x="2677" y="364"/>
                  <a:pt x="2676" y="363"/>
                </a:cubicBezTo>
                <a:cubicBezTo>
                  <a:pt x="2675" y="363"/>
                  <a:pt x="2675" y="362"/>
                  <a:pt x="2674" y="360"/>
                </a:cubicBezTo>
                <a:cubicBezTo>
                  <a:pt x="2674" y="358"/>
                  <a:pt x="2676" y="359"/>
                  <a:pt x="2677" y="359"/>
                </a:cubicBezTo>
                <a:cubicBezTo>
                  <a:pt x="2679" y="359"/>
                  <a:pt x="2679" y="359"/>
                  <a:pt x="2681" y="358"/>
                </a:cubicBezTo>
                <a:cubicBezTo>
                  <a:pt x="2682" y="357"/>
                  <a:pt x="2683" y="357"/>
                  <a:pt x="2684" y="357"/>
                </a:cubicBezTo>
                <a:cubicBezTo>
                  <a:pt x="2685" y="358"/>
                  <a:pt x="2686" y="359"/>
                  <a:pt x="2687" y="359"/>
                </a:cubicBezTo>
                <a:cubicBezTo>
                  <a:pt x="2688" y="358"/>
                  <a:pt x="2686" y="358"/>
                  <a:pt x="2686" y="358"/>
                </a:cubicBezTo>
                <a:cubicBezTo>
                  <a:pt x="2685" y="357"/>
                  <a:pt x="2685" y="357"/>
                  <a:pt x="2684" y="356"/>
                </a:cubicBezTo>
                <a:cubicBezTo>
                  <a:pt x="2683" y="355"/>
                  <a:pt x="2683" y="354"/>
                  <a:pt x="2682" y="353"/>
                </a:cubicBezTo>
                <a:cubicBezTo>
                  <a:pt x="2682" y="352"/>
                  <a:pt x="2680" y="351"/>
                  <a:pt x="2680" y="350"/>
                </a:cubicBezTo>
                <a:cubicBezTo>
                  <a:pt x="2679" y="349"/>
                  <a:pt x="2678" y="347"/>
                  <a:pt x="2677" y="347"/>
                </a:cubicBezTo>
                <a:cubicBezTo>
                  <a:pt x="2677" y="348"/>
                  <a:pt x="2677" y="349"/>
                  <a:pt x="2678" y="349"/>
                </a:cubicBezTo>
                <a:cubicBezTo>
                  <a:pt x="2678" y="350"/>
                  <a:pt x="2679" y="350"/>
                  <a:pt x="2679" y="351"/>
                </a:cubicBezTo>
                <a:cubicBezTo>
                  <a:pt x="2679" y="351"/>
                  <a:pt x="2679" y="352"/>
                  <a:pt x="2680" y="353"/>
                </a:cubicBezTo>
                <a:cubicBezTo>
                  <a:pt x="2680" y="353"/>
                  <a:pt x="2681" y="354"/>
                  <a:pt x="2680" y="354"/>
                </a:cubicBezTo>
                <a:cubicBezTo>
                  <a:pt x="2680" y="356"/>
                  <a:pt x="2678" y="355"/>
                  <a:pt x="2677" y="355"/>
                </a:cubicBezTo>
                <a:cubicBezTo>
                  <a:pt x="2676" y="355"/>
                  <a:pt x="2675" y="355"/>
                  <a:pt x="2675" y="355"/>
                </a:cubicBezTo>
                <a:cubicBezTo>
                  <a:pt x="2674" y="356"/>
                  <a:pt x="2673" y="356"/>
                  <a:pt x="2673" y="356"/>
                </a:cubicBezTo>
                <a:cubicBezTo>
                  <a:pt x="2672" y="356"/>
                  <a:pt x="2672" y="355"/>
                  <a:pt x="2671" y="355"/>
                </a:cubicBezTo>
                <a:cubicBezTo>
                  <a:pt x="2671" y="355"/>
                  <a:pt x="2671" y="355"/>
                  <a:pt x="2670" y="355"/>
                </a:cubicBezTo>
                <a:cubicBezTo>
                  <a:pt x="2670" y="354"/>
                  <a:pt x="2670" y="353"/>
                  <a:pt x="2669" y="352"/>
                </a:cubicBezTo>
                <a:cubicBezTo>
                  <a:pt x="2669" y="351"/>
                  <a:pt x="2667" y="351"/>
                  <a:pt x="2666" y="349"/>
                </a:cubicBezTo>
                <a:cubicBezTo>
                  <a:pt x="2666" y="348"/>
                  <a:pt x="2665" y="347"/>
                  <a:pt x="2664" y="346"/>
                </a:cubicBezTo>
                <a:cubicBezTo>
                  <a:pt x="2663" y="345"/>
                  <a:pt x="2662" y="344"/>
                  <a:pt x="2662" y="342"/>
                </a:cubicBezTo>
                <a:cubicBezTo>
                  <a:pt x="2662" y="341"/>
                  <a:pt x="2662" y="338"/>
                  <a:pt x="2663" y="339"/>
                </a:cubicBezTo>
                <a:cubicBezTo>
                  <a:pt x="2664" y="340"/>
                  <a:pt x="2664" y="340"/>
                  <a:pt x="2665" y="340"/>
                </a:cubicBezTo>
                <a:cubicBezTo>
                  <a:pt x="2666" y="341"/>
                  <a:pt x="2667" y="341"/>
                  <a:pt x="2667" y="341"/>
                </a:cubicBezTo>
                <a:cubicBezTo>
                  <a:pt x="2668" y="342"/>
                  <a:pt x="2669" y="343"/>
                  <a:pt x="2669" y="344"/>
                </a:cubicBezTo>
                <a:cubicBezTo>
                  <a:pt x="2670" y="345"/>
                  <a:pt x="2672" y="346"/>
                  <a:pt x="2673" y="346"/>
                </a:cubicBezTo>
                <a:cubicBezTo>
                  <a:pt x="2675" y="346"/>
                  <a:pt x="2676" y="346"/>
                  <a:pt x="2678" y="346"/>
                </a:cubicBezTo>
                <a:cubicBezTo>
                  <a:pt x="2679" y="346"/>
                  <a:pt x="2680" y="345"/>
                  <a:pt x="2682" y="345"/>
                </a:cubicBezTo>
                <a:cubicBezTo>
                  <a:pt x="2683" y="345"/>
                  <a:pt x="2685" y="345"/>
                  <a:pt x="2686" y="344"/>
                </a:cubicBezTo>
                <a:cubicBezTo>
                  <a:pt x="2687" y="343"/>
                  <a:pt x="2688" y="342"/>
                  <a:pt x="2688" y="340"/>
                </a:cubicBezTo>
                <a:cubicBezTo>
                  <a:pt x="2688" y="339"/>
                  <a:pt x="2687" y="338"/>
                  <a:pt x="2687" y="336"/>
                </a:cubicBezTo>
                <a:cubicBezTo>
                  <a:pt x="2687" y="335"/>
                  <a:pt x="2687" y="334"/>
                  <a:pt x="2686" y="334"/>
                </a:cubicBezTo>
                <a:cubicBezTo>
                  <a:pt x="2685" y="333"/>
                  <a:pt x="2684" y="333"/>
                  <a:pt x="2684" y="333"/>
                </a:cubicBezTo>
                <a:cubicBezTo>
                  <a:pt x="2683" y="332"/>
                  <a:pt x="2683" y="332"/>
                  <a:pt x="2682" y="332"/>
                </a:cubicBezTo>
                <a:cubicBezTo>
                  <a:pt x="2680" y="330"/>
                  <a:pt x="2677" y="330"/>
                  <a:pt x="2673" y="330"/>
                </a:cubicBezTo>
                <a:cubicBezTo>
                  <a:pt x="2672" y="329"/>
                  <a:pt x="2671" y="329"/>
                  <a:pt x="2670" y="329"/>
                </a:cubicBezTo>
                <a:cubicBezTo>
                  <a:pt x="2669" y="328"/>
                  <a:pt x="2668" y="329"/>
                  <a:pt x="2667" y="329"/>
                </a:cubicBezTo>
                <a:cubicBezTo>
                  <a:pt x="2667" y="328"/>
                  <a:pt x="2666" y="328"/>
                  <a:pt x="2666" y="328"/>
                </a:cubicBezTo>
                <a:cubicBezTo>
                  <a:pt x="2668" y="328"/>
                  <a:pt x="2669" y="328"/>
                  <a:pt x="2670" y="328"/>
                </a:cubicBezTo>
                <a:cubicBezTo>
                  <a:pt x="2672" y="328"/>
                  <a:pt x="2673" y="328"/>
                  <a:pt x="2674" y="327"/>
                </a:cubicBezTo>
                <a:cubicBezTo>
                  <a:pt x="2675" y="327"/>
                  <a:pt x="2676" y="326"/>
                  <a:pt x="2677" y="325"/>
                </a:cubicBezTo>
                <a:cubicBezTo>
                  <a:pt x="2678" y="324"/>
                  <a:pt x="2678" y="324"/>
                  <a:pt x="2678" y="323"/>
                </a:cubicBezTo>
                <a:cubicBezTo>
                  <a:pt x="2679" y="323"/>
                  <a:pt x="2680" y="324"/>
                  <a:pt x="2681" y="324"/>
                </a:cubicBezTo>
                <a:cubicBezTo>
                  <a:pt x="2681" y="324"/>
                  <a:pt x="2682" y="323"/>
                  <a:pt x="2682" y="323"/>
                </a:cubicBezTo>
                <a:cubicBezTo>
                  <a:pt x="2683" y="323"/>
                  <a:pt x="2684" y="323"/>
                  <a:pt x="2684" y="322"/>
                </a:cubicBezTo>
                <a:cubicBezTo>
                  <a:pt x="2684" y="321"/>
                  <a:pt x="2681" y="321"/>
                  <a:pt x="2681" y="320"/>
                </a:cubicBezTo>
                <a:cubicBezTo>
                  <a:pt x="2679" y="320"/>
                  <a:pt x="2678" y="319"/>
                  <a:pt x="2677" y="319"/>
                </a:cubicBezTo>
                <a:cubicBezTo>
                  <a:pt x="2676" y="318"/>
                  <a:pt x="2675" y="318"/>
                  <a:pt x="2673" y="317"/>
                </a:cubicBezTo>
                <a:cubicBezTo>
                  <a:pt x="2672" y="317"/>
                  <a:pt x="2671" y="316"/>
                  <a:pt x="2670" y="316"/>
                </a:cubicBezTo>
                <a:cubicBezTo>
                  <a:pt x="2669" y="315"/>
                  <a:pt x="2666" y="315"/>
                  <a:pt x="2667" y="314"/>
                </a:cubicBezTo>
                <a:cubicBezTo>
                  <a:pt x="2668" y="312"/>
                  <a:pt x="2670" y="314"/>
                  <a:pt x="2671" y="313"/>
                </a:cubicBezTo>
                <a:cubicBezTo>
                  <a:pt x="2672" y="313"/>
                  <a:pt x="2672" y="313"/>
                  <a:pt x="2672" y="312"/>
                </a:cubicBezTo>
                <a:cubicBezTo>
                  <a:pt x="2673" y="312"/>
                  <a:pt x="2673" y="312"/>
                  <a:pt x="2674" y="312"/>
                </a:cubicBezTo>
                <a:cubicBezTo>
                  <a:pt x="2675" y="311"/>
                  <a:pt x="2676" y="312"/>
                  <a:pt x="2678" y="310"/>
                </a:cubicBezTo>
                <a:cubicBezTo>
                  <a:pt x="2679" y="310"/>
                  <a:pt x="2680" y="308"/>
                  <a:pt x="2680" y="307"/>
                </a:cubicBezTo>
                <a:cubicBezTo>
                  <a:pt x="2680" y="305"/>
                  <a:pt x="2679" y="305"/>
                  <a:pt x="2678" y="305"/>
                </a:cubicBezTo>
                <a:cubicBezTo>
                  <a:pt x="2677" y="304"/>
                  <a:pt x="2676" y="304"/>
                  <a:pt x="2675" y="303"/>
                </a:cubicBezTo>
                <a:cubicBezTo>
                  <a:pt x="2674" y="303"/>
                  <a:pt x="2673" y="302"/>
                  <a:pt x="2672" y="302"/>
                </a:cubicBezTo>
                <a:cubicBezTo>
                  <a:pt x="2671" y="301"/>
                  <a:pt x="2670" y="300"/>
                  <a:pt x="2669" y="299"/>
                </a:cubicBezTo>
                <a:cubicBezTo>
                  <a:pt x="2667" y="298"/>
                  <a:pt x="2665" y="298"/>
                  <a:pt x="2664" y="297"/>
                </a:cubicBezTo>
                <a:cubicBezTo>
                  <a:pt x="2663" y="296"/>
                  <a:pt x="2662" y="295"/>
                  <a:pt x="2660" y="294"/>
                </a:cubicBezTo>
                <a:cubicBezTo>
                  <a:pt x="2659" y="294"/>
                  <a:pt x="2657" y="293"/>
                  <a:pt x="2656" y="293"/>
                </a:cubicBezTo>
                <a:cubicBezTo>
                  <a:pt x="2654" y="292"/>
                  <a:pt x="2653" y="291"/>
                  <a:pt x="2652" y="291"/>
                </a:cubicBezTo>
                <a:cubicBezTo>
                  <a:pt x="2649" y="290"/>
                  <a:pt x="2646" y="291"/>
                  <a:pt x="2643" y="291"/>
                </a:cubicBezTo>
                <a:cubicBezTo>
                  <a:pt x="2641" y="290"/>
                  <a:pt x="2640" y="290"/>
                  <a:pt x="2638" y="290"/>
                </a:cubicBezTo>
                <a:cubicBezTo>
                  <a:pt x="2637" y="290"/>
                  <a:pt x="2637" y="290"/>
                  <a:pt x="2636" y="291"/>
                </a:cubicBezTo>
                <a:cubicBezTo>
                  <a:pt x="2636" y="291"/>
                  <a:pt x="2636" y="292"/>
                  <a:pt x="2636" y="293"/>
                </a:cubicBezTo>
                <a:cubicBezTo>
                  <a:pt x="2635" y="294"/>
                  <a:pt x="2635" y="295"/>
                  <a:pt x="2633" y="296"/>
                </a:cubicBezTo>
                <a:cubicBezTo>
                  <a:pt x="2632" y="296"/>
                  <a:pt x="2630" y="296"/>
                  <a:pt x="2629" y="297"/>
                </a:cubicBezTo>
                <a:cubicBezTo>
                  <a:pt x="2628" y="297"/>
                  <a:pt x="2626" y="297"/>
                  <a:pt x="2625" y="296"/>
                </a:cubicBezTo>
                <a:cubicBezTo>
                  <a:pt x="2624" y="296"/>
                  <a:pt x="2624" y="296"/>
                  <a:pt x="2623" y="295"/>
                </a:cubicBezTo>
                <a:cubicBezTo>
                  <a:pt x="2623" y="295"/>
                  <a:pt x="2622" y="295"/>
                  <a:pt x="2622" y="294"/>
                </a:cubicBezTo>
                <a:cubicBezTo>
                  <a:pt x="2623" y="292"/>
                  <a:pt x="2625" y="294"/>
                  <a:pt x="2626" y="292"/>
                </a:cubicBezTo>
                <a:cubicBezTo>
                  <a:pt x="2626" y="291"/>
                  <a:pt x="2625" y="291"/>
                  <a:pt x="2624" y="291"/>
                </a:cubicBezTo>
                <a:cubicBezTo>
                  <a:pt x="2624" y="291"/>
                  <a:pt x="2624" y="290"/>
                  <a:pt x="2623" y="290"/>
                </a:cubicBezTo>
                <a:cubicBezTo>
                  <a:pt x="2622" y="289"/>
                  <a:pt x="2621" y="290"/>
                  <a:pt x="2619" y="291"/>
                </a:cubicBezTo>
                <a:cubicBezTo>
                  <a:pt x="2618" y="291"/>
                  <a:pt x="2616" y="290"/>
                  <a:pt x="2615" y="290"/>
                </a:cubicBezTo>
                <a:cubicBezTo>
                  <a:pt x="2613" y="290"/>
                  <a:pt x="2611" y="291"/>
                  <a:pt x="2610" y="291"/>
                </a:cubicBezTo>
                <a:cubicBezTo>
                  <a:pt x="2608" y="291"/>
                  <a:pt x="2607" y="290"/>
                  <a:pt x="2605" y="290"/>
                </a:cubicBezTo>
                <a:cubicBezTo>
                  <a:pt x="2604" y="290"/>
                  <a:pt x="2603" y="290"/>
                  <a:pt x="2603" y="289"/>
                </a:cubicBezTo>
                <a:cubicBezTo>
                  <a:pt x="2602" y="288"/>
                  <a:pt x="2602" y="287"/>
                  <a:pt x="2602" y="286"/>
                </a:cubicBezTo>
                <a:cubicBezTo>
                  <a:pt x="2601" y="284"/>
                  <a:pt x="2599" y="284"/>
                  <a:pt x="2597" y="284"/>
                </a:cubicBezTo>
                <a:cubicBezTo>
                  <a:pt x="2595" y="284"/>
                  <a:pt x="2594" y="284"/>
                  <a:pt x="2593" y="283"/>
                </a:cubicBezTo>
                <a:cubicBezTo>
                  <a:pt x="2591" y="282"/>
                  <a:pt x="2590" y="282"/>
                  <a:pt x="2589" y="281"/>
                </a:cubicBezTo>
                <a:cubicBezTo>
                  <a:pt x="2588" y="281"/>
                  <a:pt x="2587" y="281"/>
                  <a:pt x="2587" y="281"/>
                </a:cubicBezTo>
                <a:cubicBezTo>
                  <a:pt x="2586" y="280"/>
                  <a:pt x="2586" y="280"/>
                  <a:pt x="2585" y="280"/>
                </a:cubicBezTo>
                <a:cubicBezTo>
                  <a:pt x="2585" y="280"/>
                  <a:pt x="2585" y="281"/>
                  <a:pt x="2585" y="281"/>
                </a:cubicBezTo>
                <a:cubicBezTo>
                  <a:pt x="2584" y="282"/>
                  <a:pt x="2584" y="282"/>
                  <a:pt x="2583" y="282"/>
                </a:cubicBezTo>
                <a:cubicBezTo>
                  <a:pt x="2582" y="282"/>
                  <a:pt x="2582" y="282"/>
                  <a:pt x="2582" y="283"/>
                </a:cubicBezTo>
                <a:cubicBezTo>
                  <a:pt x="2581" y="283"/>
                  <a:pt x="2581" y="284"/>
                  <a:pt x="2580" y="284"/>
                </a:cubicBezTo>
                <a:cubicBezTo>
                  <a:pt x="2579" y="285"/>
                  <a:pt x="2579" y="283"/>
                  <a:pt x="2579" y="282"/>
                </a:cubicBezTo>
                <a:cubicBezTo>
                  <a:pt x="2578" y="281"/>
                  <a:pt x="2577" y="281"/>
                  <a:pt x="2577" y="282"/>
                </a:cubicBezTo>
                <a:cubicBezTo>
                  <a:pt x="2576" y="283"/>
                  <a:pt x="2577" y="283"/>
                  <a:pt x="2577" y="283"/>
                </a:cubicBezTo>
                <a:cubicBezTo>
                  <a:pt x="2577" y="284"/>
                  <a:pt x="2577" y="285"/>
                  <a:pt x="2578" y="285"/>
                </a:cubicBezTo>
                <a:cubicBezTo>
                  <a:pt x="2578" y="286"/>
                  <a:pt x="2578" y="286"/>
                  <a:pt x="2577" y="286"/>
                </a:cubicBezTo>
                <a:cubicBezTo>
                  <a:pt x="2576" y="286"/>
                  <a:pt x="2576" y="286"/>
                  <a:pt x="2575" y="287"/>
                </a:cubicBezTo>
                <a:cubicBezTo>
                  <a:pt x="2574" y="287"/>
                  <a:pt x="2572" y="288"/>
                  <a:pt x="2571" y="287"/>
                </a:cubicBezTo>
                <a:cubicBezTo>
                  <a:pt x="2571" y="287"/>
                  <a:pt x="2571" y="286"/>
                  <a:pt x="2571" y="286"/>
                </a:cubicBezTo>
                <a:cubicBezTo>
                  <a:pt x="2570" y="286"/>
                  <a:pt x="2570" y="286"/>
                  <a:pt x="2570" y="285"/>
                </a:cubicBezTo>
                <a:cubicBezTo>
                  <a:pt x="2570" y="285"/>
                  <a:pt x="2571" y="284"/>
                  <a:pt x="2570" y="284"/>
                </a:cubicBezTo>
                <a:cubicBezTo>
                  <a:pt x="2570" y="283"/>
                  <a:pt x="2569" y="284"/>
                  <a:pt x="2569" y="284"/>
                </a:cubicBezTo>
                <a:cubicBezTo>
                  <a:pt x="2568" y="285"/>
                  <a:pt x="2568" y="285"/>
                  <a:pt x="2568" y="286"/>
                </a:cubicBezTo>
                <a:cubicBezTo>
                  <a:pt x="2567" y="286"/>
                  <a:pt x="2566" y="286"/>
                  <a:pt x="2566" y="287"/>
                </a:cubicBezTo>
                <a:cubicBezTo>
                  <a:pt x="2566" y="287"/>
                  <a:pt x="2565" y="288"/>
                  <a:pt x="2565" y="288"/>
                </a:cubicBezTo>
                <a:cubicBezTo>
                  <a:pt x="2565" y="289"/>
                  <a:pt x="2564" y="289"/>
                  <a:pt x="2564" y="290"/>
                </a:cubicBezTo>
                <a:cubicBezTo>
                  <a:pt x="2564" y="291"/>
                  <a:pt x="2567" y="291"/>
                  <a:pt x="2566" y="293"/>
                </a:cubicBezTo>
                <a:cubicBezTo>
                  <a:pt x="2566" y="294"/>
                  <a:pt x="2565" y="293"/>
                  <a:pt x="2564" y="294"/>
                </a:cubicBezTo>
                <a:cubicBezTo>
                  <a:pt x="2564" y="294"/>
                  <a:pt x="2563" y="295"/>
                  <a:pt x="2564" y="296"/>
                </a:cubicBezTo>
                <a:cubicBezTo>
                  <a:pt x="2564" y="296"/>
                  <a:pt x="2565" y="295"/>
                  <a:pt x="2566" y="296"/>
                </a:cubicBezTo>
                <a:cubicBezTo>
                  <a:pt x="2566" y="296"/>
                  <a:pt x="2567" y="296"/>
                  <a:pt x="2567" y="297"/>
                </a:cubicBezTo>
                <a:cubicBezTo>
                  <a:pt x="2567" y="297"/>
                  <a:pt x="2567" y="298"/>
                  <a:pt x="2568" y="299"/>
                </a:cubicBezTo>
                <a:cubicBezTo>
                  <a:pt x="2568" y="299"/>
                  <a:pt x="2569" y="299"/>
                  <a:pt x="2569" y="300"/>
                </a:cubicBezTo>
                <a:cubicBezTo>
                  <a:pt x="2570" y="301"/>
                  <a:pt x="2570" y="303"/>
                  <a:pt x="2570" y="304"/>
                </a:cubicBezTo>
                <a:cubicBezTo>
                  <a:pt x="2569" y="304"/>
                  <a:pt x="2569" y="304"/>
                  <a:pt x="2569" y="304"/>
                </a:cubicBezTo>
                <a:cubicBezTo>
                  <a:pt x="2569" y="305"/>
                  <a:pt x="2568" y="304"/>
                  <a:pt x="2567" y="304"/>
                </a:cubicBezTo>
                <a:cubicBezTo>
                  <a:pt x="2565" y="306"/>
                  <a:pt x="2567" y="308"/>
                  <a:pt x="2566" y="310"/>
                </a:cubicBezTo>
                <a:cubicBezTo>
                  <a:pt x="2565" y="310"/>
                  <a:pt x="2565" y="311"/>
                  <a:pt x="2564" y="311"/>
                </a:cubicBezTo>
                <a:cubicBezTo>
                  <a:pt x="2564" y="312"/>
                  <a:pt x="2563" y="312"/>
                  <a:pt x="2563" y="313"/>
                </a:cubicBezTo>
                <a:cubicBezTo>
                  <a:pt x="2563" y="314"/>
                  <a:pt x="2562" y="314"/>
                  <a:pt x="2561" y="314"/>
                </a:cubicBezTo>
                <a:cubicBezTo>
                  <a:pt x="2561" y="314"/>
                  <a:pt x="2560" y="313"/>
                  <a:pt x="2560" y="313"/>
                </a:cubicBezTo>
                <a:cubicBezTo>
                  <a:pt x="2559" y="313"/>
                  <a:pt x="2558" y="313"/>
                  <a:pt x="2557" y="313"/>
                </a:cubicBezTo>
                <a:cubicBezTo>
                  <a:pt x="2557" y="312"/>
                  <a:pt x="2556" y="312"/>
                  <a:pt x="2556" y="312"/>
                </a:cubicBezTo>
                <a:cubicBezTo>
                  <a:pt x="2555" y="312"/>
                  <a:pt x="2555" y="312"/>
                  <a:pt x="2555" y="312"/>
                </a:cubicBezTo>
                <a:cubicBezTo>
                  <a:pt x="2554" y="312"/>
                  <a:pt x="2553" y="312"/>
                  <a:pt x="2552" y="312"/>
                </a:cubicBezTo>
                <a:cubicBezTo>
                  <a:pt x="2550" y="311"/>
                  <a:pt x="2549" y="311"/>
                  <a:pt x="2547" y="311"/>
                </a:cubicBezTo>
                <a:cubicBezTo>
                  <a:pt x="2546" y="311"/>
                  <a:pt x="2546" y="311"/>
                  <a:pt x="2545" y="311"/>
                </a:cubicBezTo>
                <a:cubicBezTo>
                  <a:pt x="2544" y="312"/>
                  <a:pt x="2543" y="312"/>
                  <a:pt x="2543" y="312"/>
                </a:cubicBezTo>
                <a:cubicBezTo>
                  <a:pt x="2541" y="312"/>
                  <a:pt x="2539" y="312"/>
                  <a:pt x="2537" y="312"/>
                </a:cubicBezTo>
                <a:cubicBezTo>
                  <a:pt x="2536" y="313"/>
                  <a:pt x="2534" y="312"/>
                  <a:pt x="2532" y="312"/>
                </a:cubicBezTo>
                <a:cubicBezTo>
                  <a:pt x="2530" y="311"/>
                  <a:pt x="2528" y="312"/>
                  <a:pt x="2526" y="312"/>
                </a:cubicBezTo>
                <a:cubicBezTo>
                  <a:pt x="2522" y="312"/>
                  <a:pt x="2518" y="311"/>
                  <a:pt x="2514" y="311"/>
                </a:cubicBezTo>
                <a:cubicBezTo>
                  <a:pt x="2512" y="311"/>
                  <a:pt x="2510" y="311"/>
                  <a:pt x="2508" y="310"/>
                </a:cubicBezTo>
                <a:cubicBezTo>
                  <a:pt x="2505" y="310"/>
                  <a:pt x="2502" y="310"/>
                  <a:pt x="2499" y="310"/>
                </a:cubicBezTo>
                <a:cubicBezTo>
                  <a:pt x="2497" y="310"/>
                  <a:pt x="2494" y="310"/>
                  <a:pt x="2492" y="310"/>
                </a:cubicBezTo>
                <a:cubicBezTo>
                  <a:pt x="2490" y="310"/>
                  <a:pt x="2488" y="309"/>
                  <a:pt x="2487" y="308"/>
                </a:cubicBezTo>
                <a:cubicBezTo>
                  <a:pt x="2485" y="308"/>
                  <a:pt x="2484" y="307"/>
                  <a:pt x="2482" y="307"/>
                </a:cubicBezTo>
                <a:cubicBezTo>
                  <a:pt x="2481" y="307"/>
                  <a:pt x="2479" y="307"/>
                  <a:pt x="2478" y="306"/>
                </a:cubicBezTo>
                <a:cubicBezTo>
                  <a:pt x="2476" y="305"/>
                  <a:pt x="2475" y="305"/>
                  <a:pt x="2474" y="304"/>
                </a:cubicBezTo>
                <a:cubicBezTo>
                  <a:pt x="2472" y="303"/>
                  <a:pt x="2471" y="303"/>
                  <a:pt x="2470" y="302"/>
                </a:cubicBezTo>
                <a:cubicBezTo>
                  <a:pt x="2468" y="301"/>
                  <a:pt x="2468" y="300"/>
                  <a:pt x="2468" y="299"/>
                </a:cubicBezTo>
                <a:cubicBezTo>
                  <a:pt x="2468" y="297"/>
                  <a:pt x="2468" y="296"/>
                  <a:pt x="2469" y="295"/>
                </a:cubicBezTo>
                <a:cubicBezTo>
                  <a:pt x="2470" y="294"/>
                  <a:pt x="2471" y="293"/>
                  <a:pt x="2473" y="293"/>
                </a:cubicBezTo>
                <a:cubicBezTo>
                  <a:pt x="2474" y="293"/>
                  <a:pt x="2476" y="293"/>
                  <a:pt x="2478" y="293"/>
                </a:cubicBezTo>
                <a:cubicBezTo>
                  <a:pt x="2479" y="293"/>
                  <a:pt x="2481" y="293"/>
                  <a:pt x="2479" y="291"/>
                </a:cubicBezTo>
                <a:cubicBezTo>
                  <a:pt x="2477" y="291"/>
                  <a:pt x="2476" y="290"/>
                  <a:pt x="2475" y="290"/>
                </a:cubicBezTo>
                <a:cubicBezTo>
                  <a:pt x="2473" y="290"/>
                  <a:pt x="2472" y="289"/>
                  <a:pt x="2471" y="289"/>
                </a:cubicBezTo>
                <a:cubicBezTo>
                  <a:pt x="2470" y="289"/>
                  <a:pt x="2468" y="289"/>
                  <a:pt x="2467" y="289"/>
                </a:cubicBezTo>
                <a:cubicBezTo>
                  <a:pt x="2463" y="289"/>
                  <a:pt x="2459" y="288"/>
                  <a:pt x="2455" y="288"/>
                </a:cubicBezTo>
                <a:cubicBezTo>
                  <a:pt x="2451" y="288"/>
                  <a:pt x="2448" y="289"/>
                  <a:pt x="2445" y="288"/>
                </a:cubicBezTo>
                <a:cubicBezTo>
                  <a:pt x="2443" y="288"/>
                  <a:pt x="2441" y="287"/>
                  <a:pt x="2439" y="286"/>
                </a:cubicBezTo>
                <a:cubicBezTo>
                  <a:pt x="2437" y="286"/>
                  <a:pt x="2436" y="286"/>
                  <a:pt x="2435" y="286"/>
                </a:cubicBezTo>
                <a:cubicBezTo>
                  <a:pt x="2432" y="286"/>
                  <a:pt x="2430" y="285"/>
                  <a:pt x="2427" y="285"/>
                </a:cubicBezTo>
                <a:cubicBezTo>
                  <a:pt x="2422" y="284"/>
                  <a:pt x="2416" y="284"/>
                  <a:pt x="2410" y="284"/>
                </a:cubicBezTo>
                <a:cubicBezTo>
                  <a:pt x="2408" y="283"/>
                  <a:pt x="2406" y="284"/>
                  <a:pt x="2403" y="285"/>
                </a:cubicBezTo>
                <a:cubicBezTo>
                  <a:pt x="2401" y="285"/>
                  <a:pt x="2400" y="286"/>
                  <a:pt x="2398" y="287"/>
                </a:cubicBezTo>
                <a:cubicBezTo>
                  <a:pt x="2396" y="288"/>
                  <a:pt x="2393" y="288"/>
                  <a:pt x="2390" y="288"/>
                </a:cubicBezTo>
                <a:cubicBezTo>
                  <a:pt x="2388" y="288"/>
                  <a:pt x="2385" y="288"/>
                  <a:pt x="2383" y="289"/>
                </a:cubicBezTo>
                <a:cubicBezTo>
                  <a:pt x="2381" y="289"/>
                  <a:pt x="2381" y="290"/>
                  <a:pt x="2379" y="290"/>
                </a:cubicBezTo>
                <a:cubicBezTo>
                  <a:pt x="2379" y="291"/>
                  <a:pt x="2378" y="291"/>
                  <a:pt x="2377" y="291"/>
                </a:cubicBezTo>
                <a:cubicBezTo>
                  <a:pt x="2376" y="291"/>
                  <a:pt x="2374" y="291"/>
                  <a:pt x="2373" y="291"/>
                </a:cubicBezTo>
                <a:cubicBezTo>
                  <a:pt x="2372" y="291"/>
                  <a:pt x="2371" y="292"/>
                  <a:pt x="2371" y="293"/>
                </a:cubicBezTo>
                <a:cubicBezTo>
                  <a:pt x="2371" y="293"/>
                  <a:pt x="2372" y="293"/>
                  <a:pt x="2373" y="294"/>
                </a:cubicBezTo>
                <a:cubicBezTo>
                  <a:pt x="2373" y="294"/>
                  <a:pt x="2373" y="295"/>
                  <a:pt x="2374" y="295"/>
                </a:cubicBezTo>
                <a:cubicBezTo>
                  <a:pt x="2374" y="296"/>
                  <a:pt x="2375" y="296"/>
                  <a:pt x="2375" y="296"/>
                </a:cubicBezTo>
                <a:cubicBezTo>
                  <a:pt x="2376" y="298"/>
                  <a:pt x="2375" y="298"/>
                  <a:pt x="2374" y="299"/>
                </a:cubicBezTo>
                <a:cubicBezTo>
                  <a:pt x="2374" y="300"/>
                  <a:pt x="2373" y="302"/>
                  <a:pt x="2372" y="301"/>
                </a:cubicBezTo>
                <a:cubicBezTo>
                  <a:pt x="2371" y="301"/>
                  <a:pt x="2371" y="300"/>
                  <a:pt x="2371" y="299"/>
                </a:cubicBezTo>
                <a:cubicBezTo>
                  <a:pt x="2371" y="299"/>
                  <a:pt x="2371" y="298"/>
                  <a:pt x="2370" y="298"/>
                </a:cubicBezTo>
                <a:cubicBezTo>
                  <a:pt x="2369" y="297"/>
                  <a:pt x="2368" y="296"/>
                  <a:pt x="2367" y="295"/>
                </a:cubicBezTo>
                <a:cubicBezTo>
                  <a:pt x="2367" y="293"/>
                  <a:pt x="2366" y="292"/>
                  <a:pt x="2368" y="291"/>
                </a:cubicBezTo>
                <a:cubicBezTo>
                  <a:pt x="2368" y="290"/>
                  <a:pt x="2370" y="289"/>
                  <a:pt x="2370" y="287"/>
                </a:cubicBezTo>
                <a:cubicBezTo>
                  <a:pt x="2370" y="287"/>
                  <a:pt x="2370" y="286"/>
                  <a:pt x="2370" y="285"/>
                </a:cubicBezTo>
                <a:cubicBezTo>
                  <a:pt x="2369" y="284"/>
                  <a:pt x="2369" y="283"/>
                  <a:pt x="2368" y="282"/>
                </a:cubicBezTo>
                <a:cubicBezTo>
                  <a:pt x="2367" y="281"/>
                  <a:pt x="2367" y="280"/>
                  <a:pt x="2367" y="280"/>
                </a:cubicBezTo>
                <a:cubicBezTo>
                  <a:pt x="2366" y="278"/>
                  <a:pt x="2365" y="277"/>
                  <a:pt x="2363" y="276"/>
                </a:cubicBezTo>
                <a:cubicBezTo>
                  <a:pt x="2362" y="275"/>
                  <a:pt x="2361" y="274"/>
                  <a:pt x="2360" y="273"/>
                </a:cubicBezTo>
                <a:cubicBezTo>
                  <a:pt x="2360" y="273"/>
                  <a:pt x="2359" y="272"/>
                  <a:pt x="2358" y="272"/>
                </a:cubicBezTo>
                <a:cubicBezTo>
                  <a:pt x="2358" y="272"/>
                  <a:pt x="2357" y="273"/>
                  <a:pt x="2357" y="274"/>
                </a:cubicBezTo>
                <a:cubicBezTo>
                  <a:pt x="2358" y="275"/>
                  <a:pt x="2360" y="276"/>
                  <a:pt x="2360" y="278"/>
                </a:cubicBezTo>
                <a:cubicBezTo>
                  <a:pt x="2360" y="279"/>
                  <a:pt x="2360" y="280"/>
                  <a:pt x="2361" y="280"/>
                </a:cubicBezTo>
                <a:cubicBezTo>
                  <a:pt x="2361" y="282"/>
                  <a:pt x="2359" y="283"/>
                  <a:pt x="2358" y="284"/>
                </a:cubicBezTo>
                <a:cubicBezTo>
                  <a:pt x="2357" y="284"/>
                  <a:pt x="2355" y="285"/>
                  <a:pt x="2354" y="284"/>
                </a:cubicBezTo>
                <a:cubicBezTo>
                  <a:pt x="2353" y="284"/>
                  <a:pt x="2352" y="284"/>
                  <a:pt x="2351" y="284"/>
                </a:cubicBezTo>
                <a:cubicBezTo>
                  <a:pt x="2350" y="284"/>
                  <a:pt x="2349" y="284"/>
                  <a:pt x="2348" y="284"/>
                </a:cubicBezTo>
                <a:cubicBezTo>
                  <a:pt x="2345" y="284"/>
                  <a:pt x="2343" y="282"/>
                  <a:pt x="2340" y="281"/>
                </a:cubicBezTo>
                <a:cubicBezTo>
                  <a:pt x="2338" y="280"/>
                  <a:pt x="2336" y="280"/>
                  <a:pt x="2334" y="280"/>
                </a:cubicBezTo>
                <a:cubicBezTo>
                  <a:pt x="2333" y="280"/>
                  <a:pt x="2333" y="279"/>
                  <a:pt x="2332" y="279"/>
                </a:cubicBezTo>
                <a:cubicBezTo>
                  <a:pt x="2331" y="279"/>
                  <a:pt x="2330" y="279"/>
                  <a:pt x="2330" y="278"/>
                </a:cubicBezTo>
                <a:cubicBezTo>
                  <a:pt x="2328" y="277"/>
                  <a:pt x="2330" y="276"/>
                  <a:pt x="2331" y="275"/>
                </a:cubicBezTo>
                <a:cubicBezTo>
                  <a:pt x="2331" y="274"/>
                  <a:pt x="2331" y="274"/>
                  <a:pt x="2331" y="273"/>
                </a:cubicBezTo>
                <a:cubicBezTo>
                  <a:pt x="2332" y="273"/>
                  <a:pt x="2332" y="272"/>
                  <a:pt x="2332" y="272"/>
                </a:cubicBezTo>
                <a:cubicBezTo>
                  <a:pt x="2331" y="270"/>
                  <a:pt x="2329" y="271"/>
                  <a:pt x="2328" y="271"/>
                </a:cubicBezTo>
                <a:cubicBezTo>
                  <a:pt x="2326" y="271"/>
                  <a:pt x="2325" y="271"/>
                  <a:pt x="2324" y="273"/>
                </a:cubicBezTo>
                <a:cubicBezTo>
                  <a:pt x="2321" y="275"/>
                  <a:pt x="2319" y="273"/>
                  <a:pt x="2316" y="273"/>
                </a:cubicBezTo>
                <a:cubicBezTo>
                  <a:pt x="2312" y="273"/>
                  <a:pt x="2309" y="273"/>
                  <a:pt x="2305" y="273"/>
                </a:cubicBezTo>
                <a:cubicBezTo>
                  <a:pt x="2304" y="273"/>
                  <a:pt x="2302" y="273"/>
                  <a:pt x="2301" y="273"/>
                </a:cubicBezTo>
                <a:cubicBezTo>
                  <a:pt x="2300" y="274"/>
                  <a:pt x="2298" y="275"/>
                  <a:pt x="2297" y="276"/>
                </a:cubicBezTo>
                <a:cubicBezTo>
                  <a:pt x="2296" y="278"/>
                  <a:pt x="2292" y="279"/>
                  <a:pt x="2293" y="282"/>
                </a:cubicBezTo>
                <a:cubicBezTo>
                  <a:pt x="2294" y="284"/>
                  <a:pt x="2295" y="284"/>
                  <a:pt x="2296" y="285"/>
                </a:cubicBezTo>
                <a:cubicBezTo>
                  <a:pt x="2297" y="286"/>
                  <a:pt x="2297" y="286"/>
                  <a:pt x="2298" y="285"/>
                </a:cubicBezTo>
                <a:cubicBezTo>
                  <a:pt x="2299" y="285"/>
                  <a:pt x="2300" y="285"/>
                  <a:pt x="2301" y="284"/>
                </a:cubicBezTo>
                <a:cubicBezTo>
                  <a:pt x="2304" y="284"/>
                  <a:pt x="2307" y="284"/>
                  <a:pt x="2309" y="283"/>
                </a:cubicBezTo>
                <a:cubicBezTo>
                  <a:pt x="2311" y="283"/>
                  <a:pt x="2312" y="282"/>
                  <a:pt x="2314" y="283"/>
                </a:cubicBezTo>
                <a:cubicBezTo>
                  <a:pt x="2316" y="283"/>
                  <a:pt x="2317" y="282"/>
                  <a:pt x="2318" y="282"/>
                </a:cubicBezTo>
                <a:cubicBezTo>
                  <a:pt x="2319" y="282"/>
                  <a:pt x="2322" y="283"/>
                  <a:pt x="2320" y="284"/>
                </a:cubicBezTo>
                <a:cubicBezTo>
                  <a:pt x="2319" y="285"/>
                  <a:pt x="2316" y="285"/>
                  <a:pt x="2315" y="286"/>
                </a:cubicBezTo>
                <a:cubicBezTo>
                  <a:pt x="2313" y="287"/>
                  <a:pt x="2311" y="288"/>
                  <a:pt x="2309" y="289"/>
                </a:cubicBezTo>
                <a:cubicBezTo>
                  <a:pt x="2308" y="290"/>
                  <a:pt x="2306" y="291"/>
                  <a:pt x="2304" y="291"/>
                </a:cubicBezTo>
                <a:cubicBezTo>
                  <a:pt x="2302" y="292"/>
                  <a:pt x="2299" y="291"/>
                  <a:pt x="2297" y="291"/>
                </a:cubicBezTo>
                <a:cubicBezTo>
                  <a:pt x="2295" y="291"/>
                  <a:pt x="2294" y="291"/>
                  <a:pt x="2293" y="291"/>
                </a:cubicBezTo>
                <a:cubicBezTo>
                  <a:pt x="2292" y="291"/>
                  <a:pt x="2291" y="291"/>
                  <a:pt x="2290" y="290"/>
                </a:cubicBezTo>
                <a:cubicBezTo>
                  <a:pt x="2289" y="290"/>
                  <a:pt x="2288" y="290"/>
                  <a:pt x="2287" y="291"/>
                </a:cubicBezTo>
                <a:cubicBezTo>
                  <a:pt x="2285" y="291"/>
                  <a:pt x="2285" y="292"/>
                  <a:pt x="2286" y="293"/>
                </a:cubicBezTo>
                <a:cubicBezTo>
                  <a:pt x="2287" y="293"/>
                  <a:pt x="2287" y="293"/>
                  <a:pt x="2287" y="294"/>
                </a:cubicBezTo>
                <a:cubicBezTo>
                  <a:pt x="2287" y="295"/>
                  <a:pt x="2287" y="295"/>
                  <a:pt x="2287" y="296"/>
                </a:cubicBezTo>
                <a:cubicBezTo>
                  <a:pt x="2286" y="296"/>
                  <a:pt x="2285" y="296"/>
                  <a:pt x="2285" y="297"/>
                </a:cubicBezTo>
                <a:cubicBezTo>
                  <a:pt x="2284" y="297"/>
                  <a:pt x="2283" y="297"/>
                  <a:pt x="2281" y="297"/>
                </a:cubicBezTo>
                <a:cubicBezTo>
                  <a:pt x="2281" y="298"/>
                  <a:pt x="2280" y="298"/>
                  <a:pt x="2279" y="298"/>
                </a:cubicBezTo>
                <a:cubicBezTo>
                  <a:pt x="2277" y="298"/>
                  <a:pt x="2275" y="299"/>
                  <a:pt x="2273" y="299"/>
                </a:cubicBezTo>
                <a:cubicBezTo>
                  <a:pt x="2271" y="299"/>
                  <a:pt x="2269" y="300"/>
                  <a:pt x="2267" y="301"/>
                </a:cubicBezTo>
                <a:cubicBezTo>
                  <a:pt x="2265" y="301"/>
                  <a:pt x="2263" y="302"/>
                  <a:pt x="2261" y="302"/>
                </a:cubicBezTo>
                <a:cubicBezTo>
                  <a:pt x="2259" y="302"/>
                  <a:pt x="2258" y="303"/>
                  <a:pt x="2256" y="303"/>
                </a:cubicBezTo>
                <a:cubicBezTo>
                  <a:pt x="2254" y="304"/>
                  <a:pt x="2252" y="304"/>
                  <a:pt x="2250" y="305"/>
                </a:cubicBezTo>
                <a:cubicBezTo>
                  <a:pt x="2247" y="305"/>
                  <a:pt x="2245" y="305"/>
                  <a:pt x="2243" y="305"/>
                </a:cubicBezTo>
                <a:cubicBezTo>
                  <a:pt x="2241" y="305"/>
                  <a:pt x="2239" y="306"/>
                  <a:pt x="2238" y="306"/>
                </a:cubicBezTo>
                <a:cubicBezTo>
                  <a:pt x="2234" y="306"/>
                  <a:pt x="2231" y="307"/>
                  <a:pt x="2228" y="307"/>
                </a:cubicBezTo>
                <a:cubicBezTo>
                  <a:pt x="2227" y="307"/>
                  <a:pt x="2224" y="307"/>
                  <a:pt x="2225" y="309"/>
                </a:cubicBezTo>
                <a:cubicBezTo>
                  <a:pt x="2226" y="310"/>
                  <a:pt x="2228" y="310"/>
                  <a:pt x="2227" y="312"/>
                </a:cubicBezTo>
                <a:cubicBezTo>
                  <a:pt x="2226" y="313"/>
                  <a:pt x="2224" y="313"/>
                  <a:pt x="2223" y="313"/>
                </a:cubicBezTo>
                <a:cubicBezTo>
                  <a:pt x="2222" y="314"/>
                  <a:pt x="2221" y="314"/>
                  <a:pt x="2219" y="315"/>
                </a:cubicBezTo>
                <a:cubicBezTo>
                  <a:pt x="2217" y="315"/>
                  <a:pt x="2214" y="316"/>
                  <a:pt x="2211" y="318"/>
                </a:cubicBezTo>
                <a:cubicBezTo>
                  <a:pt x="2210" y="318"/>
                  <a:pt x="2209" y="319"/>
                  <a:pt x="2207" y="319"/>
                </a:cubicBezTo>
                <a:cubicBezTo>
                  <a:pt x="2208" y="318"/>
                  <a:pt x="2210" y="318"/>
                  <a:pt x="2211" y="317"/>
                </a:cubicBezTo>
                <a:cubicBezTo>
                  <a:pt x="2212" y="316"/>
                  <a:pt x="2214" y="316"/>
                  <a:pt x="2215" y="315"/>
                </a:cubicBezTo>
                <a:cubicBezTo>
                  <a:pt x="2216" y="314"/>
                  <a:pt x="2217" y="313"/>
                  <a:pt x="2218" y="312"/>
                </a:cubicBezTo>
                <a:cubicBezTo>
                  <a:pt x="2219" y="310"/>
                  <a:pt x="2220" y="309"/>
                  <a:pt x="2220" y="308"/>
                </a:cubicBezTo>
                <a:cubicBezTo>
                  <a:pt x="2221" y="305"/>
                  <a:pt x="2223" y="303"/>
                  <a:pt x="2225" y="301"/>
                </a:cubicBezTo>
                <a:cubicBezTo>
                  <a:pt x="2228" y="298"/>
                  <a:pt x="2232" y="299"/>
                  <a:pt x="2235" y="299"/>
                </a:cubicBezTo>
                <a:cubicBezTo>
                  <a:pt x="2239" y="298"/>
                  <a:pt x="2239" y="295"/>
                  <a:pt x="2241" y="293"/>
                </a:cubicBezTo>
                <a:cubicBezTo>
                  <a:pt x="2243" y="291"/>
                  <a:pt x="2244" y="288"/>
                  <a:pt x="2247" y="287"/>
                </a:cubicBezTo>
                <a:cubicBezTo>
                  <a:pt x="2250" y="287"/>
                  <a:pt x="2252" y="288"/>
                  <a:pt x="2254" y="287"/>
                </a:cubicBezTo>
                <a:cubicBezTo>
                  <a:pt x="2257" y="287"/>
                  <a:pt x="2259" y="286"/>
                  <a:pt x="2261" y="285"/>
                </a:cubicBezTo>
                <a:cubicBezTo>
                  <a:pt x="2263" y="284"/>
                  <a:pt x="2266" y="283"/>
                  <a:pt x="2268" y="281"/>
                </a:cubicBezTo>
                <a:cubicBezTo>
                  <a:pt x="2270" y="280"/>
                  <a:pt x="2272" y="279"/>
                  <a:pt x="2275" y="278"/>
                </a:cubicBezTo>
                <a:cubicBezTo>
                  <a:pt x="2277" y="277"/>
                  <a:pt x="2279" y="276"/>
                  <a:pt x="2282" y="275"/>
                </a:cubicBezTo>
                <a:cubicBezTo>
                  <a:pt x="2283" y="274"/>
                  <a:pt x="2285" y="273"/>
                  <a:pt x="2287" y="272"/>
                </a:cubicBezTo>
                <a:cubicBezTo>
                  <a:pt x="2288" y="271"/>
                  <a:pt x="2289" y="271"/>
                  <a:pt x="2291" y="270"/>
                </a:cubicBezTo>
                <a:cubicBezTo>
                  <a:pt x="2293" y="270"/>
                  <a:pt x="2294" y="269"/>
                  <a:pt x="2295" y="268"/>
                </a:cubicBezTo>
                <a:cubicBezTo>
                  <a:pt x="2296" y="267"/>
                  <a:pt x="2297" y="267"/>
                  <a:pt x="2299" y="266"/>
                </a:cubicBezTo>
                <a:cubicBezTo>
                  <a:pt x="2300" y="265"/>
                  <a:pt x="2301" y="264"/>
                  <a:pt x="2302" y="263"/>
                </a:cubicBezTo>
                <a:cubicBezTo>
                  <a:pt x="2302" y="263"/>
                  <a:pt x="2302" y="262"/>
                  <a:pt x="2302" y="261"/>
                </a:cubicBezTo>
                <a:cubicBezTo>
                  <a:pt x="2301" y="261"/>
                  <a:pt x="2299" y="261"/>
                  <a:pt x="2298" y="261"/>
                </a:cubicBezTo>
                <a:cubicBezTo>
                  <a:pt x="2297" y="261"/>
                  <a:pt x="2296" y="261"/>
                  <a:pt x="2296" y="261"/>
                </a:cubicBezTo>
                <a:cubicBezTo>
                  <a:pt x="2296" y="260"/>
                  <a:pt x="2297" y="260"/>
                  <a:pt x="2298" y="260"/>
                </a:cubicBezTo>
                <a:cubicBezTo>
                  <a:pt x="2299" y="259"/>
                  <a:pt x="2301" y="259"/>
                  <a:pt x="2302" y="258"/>
                </a:cubicBezTo>
                <a:cubicBezTo>
                  <a:pt x="2303" y="257"/>
                  <a:pt x="2305" y="256"/>
                  <a:pt x="2306" y="255"/>
                </a:cubicBezTo>
                <a:cubicBezTo>
                  <a:pt x="2307" y="255"/>
                  <a:pt x="2308" y="254"/>
                  <a:pt x="2309" y="254"/>
                </a:cubicBezTo>
                <a:cubicBezTo>
                  <a:pt x="2310" y="254"/>
                  <a:pt x="2310" y="254"/>
                  <a:pt x="2311" y="254"/>
                </a:cubicBezTo>
                <a:cubicBezTo>
                  <a:pt x="2314" y="254"/>
                  <a:pt x="2316" y="253"/>
                  <a:pt x="2319" y="252"/>
                </a:cubicBezTo>
                <a:cubicBezTo>
                  <a:pt x="2321" y="251"/>
                  <a:pt x="2323" y="250"/>
                  <a:pt x="2325" y="249"/>
                </a:cubicBezTo>
                <a:cubicBezTo>
                  <a:pt x="2327" y="248"/>
                  <a:pt x="2329" y="246"/>
                  <a:pt x="2332" y="245"/>
                </a:cubicBezTo>
                <a:cubicBezTo>
                  <a:pt x="2335" y="243"/>
                  <a:pt x="2337" y="242"/>
                  <a:pt x="2340" y="241"/>
                </a:cubicBezTo>
                <a:cubicBezTo>
                  <a:pt x="2342" y="240"/>
                  <a:pt x="2343" y="239"/>
                  <a:pt x="2344" y="239"/>
                </a:cubicBezTo>
                <a:cubicBezTo>
                  <a:pt x="2346" y="238"/>
                  <a:pt x="2347" y="238"/>
                  <a:pt x="2349" y="237"/>
                </a:cubicBezTo>
                <a:cubicBezTo>
                  <a:pt x="2351" y="236"/>
                  <a:pt x="2354" y="234"/>
                  <a:pt x="2357" y="233"/>
                </a:cubicBezTo>
                <a:cubicBezTo>
                  <a:pt x="2359" y="232"/>
                  <a:pt x="2361" y="231"/>
                  <a:pt x="2363" y="230"/>
                </a:cubicBezTo>
                <a:cubicBezTo>
                  <a:pt x="2365" y="229"/>
                  <a:pt x="2367" y="228"/>
                  <a:pt x="2369" y="227"/>
                </a:cubicBezTo>
                <a:cubicBezTo>
                  <a:pt x="2370" y="226"/>
                  <a:pt x="2372" y="225"/>
                  <a:pt x="2373" y="224"/>
                </a:cubicBezTo>
                <a:cubicBezTo>
                  <a:pt x="2374" y="222"/>
                  <a:pt x="2376" y="219"/>
                  <a:pt x="2376" y="216"/>
                </a:cubicBezTo>
                <a:cubicBezTo>
                  <a:pt x="2377" y="213"/>
                  <a:pt x="2372" y="214"/>
                  <a:pt x="2370" y="213"/>
                </a:cubicBezTo>
                <a:cubicBezTo>
                  <a:pt x="2368" y="213"/>
                  <a:pt x="2367" y="212"/>
                  <a:pt x="2367" y="211"/>
                </a:cubicBezTo>
                <a:cubicBezTo>
                  <a:pt x="2367" y="210"/>
                  <a:pt x="2368" y="209"/>
                  <a:pt x="2367" y="209"/>
                </a:cubicBezTo>
                <a:cubicBezTo>
                  <a:pt x="2367" y="208"/>
                  <a:pt x="2366" y="209"/>
                  <a:pt x="2366" y="209"/>
                </a:cubicBezTo>
                <a:cubicBezTo>
                  <a:pt x="2365" y="210"/>
                  <a:pt x="2364" y="211"/>
                  <a:pt x="2363" y="211"/>
                </a:cubicBezTo>
                <a:cubicBezTo>
                  <a:pt x="2361" y="212"/>
                  <a:pt x="2360" y="212"/>
                  <a:pt x="2359" y="212"/>
                </a:cubicBezTo>
                <a:cubicBezTo>
                  <a:pt x="2359" y="212"/>
                  <a:pt x="2358" y="211"/>
                  <a:pt x="2359" y="210"/>
                </a:cubicBezTo>
                <a:cubicBezTo>
                  <a:pt x="2359" y="210"/>
                  <a:pt x="2360" y="209"/>
                  <a:pt x="2359" y="209"/>
                </a:cubicBezTo>
                <a:cubicBezTo>
                  <a:pt x="2359" y="208"/>
                  <a:pt x="2359" y="208"/>
                  <a:pt x="2359" y="208"/>
                </a:cubicBezTo>
                <a:cubicBezTo>
                  <a:pt x="2359" y="208"/>
                  <a:pt x="2359" y="208"/>
                  <a:pt x="2359" y="207"/>
                </a:cubicBezTo>
                <a:cubicBezTo>
                  <a:pt x="2359" y="206"/>
                  <a:pt x="2359" y="206"/>
                  <a:pt x="2359" y="205"/>
                </a:cubicBezTo>
                <a:cubicBezTo>
                  <a:pt x="2358" y="205"/>
                  <a:pt x="2357" y="204"/>
                  <a:pt x="2357" y="204"/>
                </a:cubicBezTo>
                <a:cubicBezTo>
                  <a:pt x="2356" y="204"/>
                  <a:pt x="2356" y="204"/>
                  <a:pt x="2355" y="204"/>
                </a:cubicBezTo>
                <a:cubicBezTo>
                  <a:pt x="2353" y="203"/>
                  <a:pt x="2352" y="204"/>
                  <a:pt x="2351" y="203"/>
                </a:cubicBezTo>
                <a:cubicBezTo>
                  <a:pt x="2350" y="202"/>
                  <a:pt x="2349" y="200"/>
                  <a:pt x="2350" y="199"/>
                </a:cubicBezTo>
                <a:cubicBezTo>
                  <a:pt x="2350" y="199"/>
                  <a:pt x="2351" y="200"/>
                  <a:pt x="2351" y="200"/>
                </a:cubicBezTo>
                <a:cubicBezTo>
                  <a:pt x="2352" y="201"/>
                  <a:pt x="2352" y="201"/>
                  <a:pt x="2353" y="201"/>
                </a:cubicBezTo>
                <a:cubicBezTo>
                  <a:pt x="2354" y="201"/>
                  <a:pt x="2355" y="201"/>
                  <a:pt x="2356" y="201"/>
                </a:cubicBezTo>
                <a:cubicBezTo>
                  <a:pt x="2356" y="201"/>
                  <a:pt x="2356" y="202"/>
                  <a:pt x="2357" y="202"/>
                </a:cubicBezTo>
                <a:cubicBezTo>
                  <a:pt x="2358" y="203"/>
                  <a:pt x="2359" y="204"/>
                  <a:pt x="2360" y="204"/>
                </a:cubicBezTo>
                <a:cubicBezTo>
                  <a:pt x="2361" y="204"/>
                  <a:pt x="2362" y="205"/>
                  <a:pt x="2362" y="205"/>
                </a:cubicBezTo>
                <a:cubicBezTo>
                  <a:pt x="2363" y="205"/>
                  <a:pt x="2364" y="205"/>
                  <a:pt x="2364" y="206"/>
                </a:cubicBezTo>
                <a:cubicBezTo>
                  <a:pt x="2364" y="206"/>
                  <a:pt x="2363" y="206"/>
                  <a:pt x="2364" y="207"/>
                </a:cubicBezTo>
                <a:cubicBezTo>
                  <a:pt x="2364" y="207"/>
                  <a:pt x="2365" y="207"/>
                  <a:pt x="2366" y="207"/>
                </a:cubicBezTo>
                <a:cubicBezTo>
                  <a:pt x="2368" y="207"/>
                  <a:pt x="2369" y="207"/>
                  <a:pt x="2371" y="207"/>
                </a:cubicBezTo>
                <a:cubicBezTo>
                  <a:pt x="2372" y="207"/>
                  <a:pt x="2373" y="209"/>
                  <a:pt x="2373" y="210"/>
                </a:cubicBezTo>
                <a:cubicBezTo>
                  <a:pt x="2374" y="212"/>
                  <a:pt x="2376" y="212"/>
                  <a:pt x="2377" y="210"/>
                </a:cubicBezTo>
                <a:cubicBezTo>
                  <a:pt x="2377" y="209"/>
                  <a:pt x="2376" y="206"/>
                  <a:pt x="2377" y="205"/>
                </a:cubicBezTo>
                <a:cubicBezTo>
                  <a:pt x="2378" y="204"/>
                  <a:pt x="2378" y="204"/>
                  <a:pt x="2379" y="203"/>
                </a:cubicBezTo>
                <a:cubicBezTo>
                  <a:pt x="2380" y="201"/>
                  <a:pt x="2379" y="199"/>
                  <a:pt x="2378" y="198"/>
                </a:cubicBezTo>
                <a:cubicBezTo>
                  <a:pt x="2378" y="197"/>
                  <a:pt x="2378" y="197"/>
                  <a:pt x="2377" y="196"/>
                </a:cubicBezTo>
                <a:cubicBezTo>
                  <a:pt x="2376" y="196"/>
                  <a:pt x="2377" y="197"/>
                  <a:pt x="2376" y="197"/>
                </a:cubicBezTo>
                <a:cubicBezTo>
                  <a:pt x="2376" y="198"/>
                  <a:pt x="2375" y="198"/>
                  <a:pt x="2375" y="198"/>
                </a:cubicBezTo>
                <a:cubicBezTo>
                  <a:pt x="2374" y="199"/>
                  <a:pt x="2375" y="199"/>
                  <a:pt x="2374" y="199"/>
                </a:cubicBezTo>
                <a:cubicBezTo>
                  <a:pt x="2374" y="200"/>
                  <a:pt x="2374" y="200"/>
                  <a:pt x="2373" y="200"/>
                </a:cubicBezTo>
                <a:cubicBezTo>
                  <a:pt x="2372" y="199"/>
                  <a:pt x="2373" y="197"/>
                  <a:pt x="2373" y="196"/>
                </a:cubicBezTo>
                <a:cubicBezTo>
                  <a:pt x="2373" y="195"/>
                  <a:pt x="2373" y="194"/>
                  <a:pt x="2372" y="194"/>
                </a:cubicBezTo>
                <a:cubicBezTo>
                  <a:pt x="2372" y="193"/>
                  <a:pt x="2371" y="193"/>
                  <a:pt x="2371" y="192"/>
                </a:cubicBezTo>
                <a:cubicBezTo>
                  <a:pt x="2370" y="192"/>
                  <a:pt x="2371" y="191"/>
                  <a:pt x="2371" y="190"/>
                </a:cubicBezTo>
                <a:cubicBezTo>
                  <a:pt x="2371" y="189"/>
                  <a:pt x="2371" y="188"/>
                  <a:pt x="2370" y="187"/>
                </a:cubicBezTo>
                <a:cubicBezTo>
                  <a:pt x="2369" y="186"/>
                  <a:pt x="2368" y="186"/>
                  <a:pt x="2367" y="184"/>
                </a:cubicBezTo>
                <a:cubicBezTo>
                  <a:pt x="2367" y="183"/>
                  <a:pt x="2366" y="183"/>
                  <a:pt x="2364" y="183"/>
                </a:cubicBezTo>
                <a:cubicBezTo>
                  <a:pt x="2363" y="183"/>
                  <a:pt x="2362" y="183"/>
                  <a:pt x="2361" y="184"/>
                </a:cubicBezTo>
                <a:cubicBezTo>
                  <a:pt x="2361" y="184"/>
                  <a:pt x="2360" y="184"/>
                  <a:pt x="2360" y="184"/>
                </a:cubicBezTo>
                <a:cubicBezTo>
                  <a:pt x="2360" y="185"/>
                  <a:pt x="2361" y="185"/>
                  <a:pt x="2362" y="185"/>
                </a:cubicBezTo>
                <a:cubicBezTo>
                  <a:pt x="2362" y="185"/>
                  <a:pt x="2362" y="185"/>
                  <a:pt x="2362" y="186"/>
                </a:cubicBezTo>
                <a:cubicBezTo>
                  <a:pt x="2363" y="186"/>
                  <a:pt x="2364" y="186"/>
                  <a:pt x="2365" y="186"/>
                </a:cubicBezTo>
                <a:cubicBezTo>
                  <a:pt x="2366" y="186"/>
                  <a:pt x="2366" y="187"/>
                  <a:pt x="2366" y="188"/>
                </a:cubicBezTo>
                <a:cubicBezTo>
                  <a:pt x="2365" y="188"/>
                  <a:pt x="2363" y="187"/>
                  <a:pt x="2363" y="189"/>
                </a:cubicBezTo>
                <a:cubicBezTo>
                  <a:pt x="2362" y="190"/>
                  <a:pt x="2362" y="191"/>
                  <a:pt x="2361" y="191"/>
                </a:cubicBezTo>
                <a:cubicBezTo>
                  <a:pt x="2358" y="193"/>
                  <a:pt x="2359" y="190"/>
                  <a:pt x="2359" y="189"/>
                </a:cubicBezTo>
                <a:cubicBezTo>
                  <a:pt x="2359" y="187"/>
                  <a:pt x="2358" y="187"/>
                  <a:pt x="2357" y="186"/>
                </a:cubicBezTo>
                <a:cubicBezTo>
                  <a:pt x="2356" y="184"/>
                  <a:pt x="2357" y="181"/>
                  <a:pt x="2356" y="180"/>
                </a:cubicBezTo>
                <a:cubicBezTo>
                  <a:pt x="2354" y="178"/>
                  <a:pt x="2352" y="178"/>
                  <a:pt x="2351" y="177"/>
                </a:cubicBezTo>
                <a:cubicBezTo>
                  <a:pt x="2349" y="176"/>
                  <a:pt x="2347" y="176"/>
                  <a:pt x="2346" y="175"/>
                </a:cubicBezTo>
                <a:cubicBezTo>
                  <a:pt x="2345" y="174"/>
                  <a:pt x="2344" y="173"/>
                  <a:pt x="2342" y="173"/>
                </a:cubicBezTo>
                <a:cubicBezTo>
                  <a:pt x="2341" y="172"/>
                  <a:pt x="2340" y="171"/>
                  <a:pt x="2339" y="170"/>
                </a:cubicBezTo>
                <a:cubicBezTo>
                  <a:pt x="2338" y="169"/>
                  <a:pt x="2336" y="169"/>
                  <a:pt x="2335" y="169"/>
                </a:cubicBezTo>
                <a:cubicBezTo>
                  <a:pt x="2333" y="169"/>
                  <a:pt x="2333" y="167"/>
                  <a:pt x="2332" y="166"/>
                </a:cubicBezTo>
                <a:cubicBezTo>
                  <a:pt x="2331" y="165"/>
                  <a:pt x="2328" y="166"/>
                  <a:pt x="2327" y="165"/>
                </a:cubicBezTo>
                <a:cubicBezTo>
                  <a:pt x="2326" y="165"/>
                  <a:pt x="2326" y="165"/>
                  <a:pt x="2325" y="165"/>
                </a:cubicBezTo>
                <a:cubicBezTo>
                  <a:pt x="2325" y="164"/>
                  <a:pt x="2325" y="164"/>
                  <a:pt x="2324" y="163"/>
                </a:cubicBezTo>
                <a:cubicBezTo>
                  <a:pt x="2323" y="162"/>
                  <a:pt x="2321" y="163"/>
                  <a:pt x="2319" y="164"/>
                </a:cubicBezTo>
                <a:cubicBezTo>
                  <a:pt x="2317" y="165"/>
                  <a:pt x="2315" y="164"/>
                  <a:pt x="2313" y="163"/>
                </a:cubicBezTo>
                <a:cubicBezTo>
                  <a:pt x="2312" y="163"/>
                  <a:pt x="2310" y="163"/>
                  <a:pt x="2309" y="163"/>
                </a:cubicBezTo>
                <a:cubicBezTo>
                  <a:pt x="2307" y="164"/>
                  <a:pt x="2306" y="165"/>
                  <a:pt x="2305" y="166"/>
                </a:cubicBezTo>
                <a:cubicBezTo>
                  <a:pt x="2303" y="166"/>
                  <a:pt x="2302" y="166"/>
                  <a:pt x="2300" y="165"/>
                </a:cubicBezTo>
                <a:cubicBezTo>
                  <a:pt x="2299" y="165"/>
                  <a:pt x="2298" y="164"/>
                  <a:pt x="2296" y="164"/>
                </a:cubicBezTo>
                <a:cubicBezTo>
                  <a:pt x="2295" y="164"/>
                  <a:pt x="2293" y="164"/>
                  <a:pt x="2292" y="163"/>
                </a:cubicBezTo>
                <a:cubicBezTo>
                  <a:pt x="2291" y="163"/>
                  <a:pt x="2289" y="163"/>
                  <a:pt x="2288" y="163"/>
                </a:cubicBezTo>
                <a:cubicBezTo>
                  <a:pt x="2286" y="163"/>
                  <a:pt x="2285" y="164"/>
                  <a:pt x="2284" y="164"/>
                </a:cubicBezTo>
                <a:cubicBezTo>
                  <a:pt x="2280" y="164"/>
                  <a:pt x="2277" y="164"/>
                  <a:pt x="2273" y="164"/>
                </a:cubicBezTo>
                <a:cubicBezTo>
                  <a:pt x="2272" y="165"/>
                  <a:pt x="2271" y="164"/>
                  <a:pt x="2269" y="164"/>
                </a:cubicBezTo>
                <a:cubicBezTo>
                  <a:pt x="2268" y="163"/>
                  <a:pt x="2266" y="164"/>
                  <a:pt x="2265" y="164"/>
                </a:cubicBezTo>
                <a:cubicBezTo>
                  <a:pt x="2264" y="164"/>
                  <a:pt x="2262" y="164"/>
                  <a:pt x="2261" y="165"/>
                </a:cubicBezTo>
                <a:cubicBezTo>
                  <a:pt x="2260" y="165"/>
                  <a:pt x="2261" y="166"/>
                  <a:pt x="2261" y="166"/>
                </a:cubicBezTo>
                <a:cubicBezTo>
                  <a:pt x="2262" y="166"/>
                  <a:pt x="2262" y="167"/>
                  <a:pt x="2262" y="168"/>
                </a:cubicBezTo>
                <a:cubicBezTo>
                  <a:pt x="2262" y="169"/>
                  <a:pt x="2260" y="169"/>
                  <a:pt x="2260" y="171"/>
                </a:cubicBezTo>
                <a:cubicBezTo>
                  <a:pt x="2259" y="172"/>
                  <a:pt x="2258" y="173"/>
                  <a:pt x="2256" y="173"/>
                </a:cubicBezTo>
                <a:cubicBezTo>
                  <a:pt x="2253" y="174"/>
                  <a:pt x="2251" y="172"/>
                  <a:pt x="2248" y="172"/>
                </a:cubicBezTo>
                <a:cubicBezTo>
                  <a:pt x="2246" y="172"/>
                  <a:pt x="2245" y="173"/>
                  <a:pt x="2244" y="173"/>
                </a:cubicBezTo>
                <a:cubicBezTo>
                  <a:pt x="2243" y="173"/>
                  <a:pt x="2241" y="173"/>
                  <a:pt x="2240" y="174"/>
                </a:cubicBezTo>
                <a:cubicBezTo>
                  <a:pt x="2240" y="174"/>
                  <a:pt x="2239" y="175"/>
                  <a:pt x="2238" y="175"/>
                </a:cubicBezTo>
                <a:cubicBezTo>
                  <a:pt x="2236" y="176"/>
                  <a:pt x="2237" y="174"/>
                  <a:pt x="2236" y="173"/>
                </a:cubicBezTo>
                <a:cubicBezTo>
                  <a:pt x="2235" y="173"/>
                  <a:pt x="2234" y="173"/>
                  <a:pt x="2234" y="173"/>
                </a:cubicBezTo>
                <a:cubicBezTo>
                  <a:pt x="2233" y="173"/>
                  <a:pt x="2232" y="173"/>
                  <a:pt x="2232" y="173"/>
                </a:cubicBezTo>
                <a:cubicBezTo>
                  <a:pt x="2231" y="173"/>
                  <a:pt x="2231" y="172"/>
                  <a:pt x="2232" y="171"/>
                </a:cubicBezTo>
                <a:cubicBezTo>
                  <a:pt x="2232" y="171"/>
                  <a:pt x="2233" y="171"/>
                  <a:pt x="2233" y="170"/>
                </a:cubicBezTo>
                <a:cubicBezTo>
                  <a:pt x="2237" y="169"/>
                  <a:pt x="2239" y="166"/>
                  <a:pt x="2242" y="164"/>
                </a:cubicBezTo>
                <a:cubicBezTo>
                  <a:pt x="2243" y="163"/>
                  <a:pt x="2245" y="163"/>
                  <a:pt x="2246" y="161"/>
                </a:cubicBezTo>
                <a:cubicBezTo>
                  <a:pt x="2247" y="160"/>
                  <a:pt x="2248" y="160"/>
                  <a:pt x="2250" y="159"/>
                </a:cubicBezTo>
                <a:cubicBezTo>
                  <a:pt x="2250" y="159"/>
                  <a:pt x="2253" y="158"/>
                  <a:pt x="2253" y="157"/>
                </a:cubicBezTo>
                <a:cubicBezTo>
                  <a:pt x="2253" y="156"/>
                  <a:pt x="2252" y="156"/>
                  <a:pt x="2251" y="156"/>
                </a:cubicBezTo>
                <a:cubicBezTo>
                  <a:pt x="2250" y="156"/>
                  <a:pt x="2250" y="156"/>
                  <a:pt x="2249" y="155"/>
                </a:cubicBezTo>
                <a:cubicBezTo>
                  <a:pt x="2248" y="154"/>
                  <a:pt x="2248" y="153"/>
                  <a:pt x="2246" y="152"/>
                </a:cubicBezTo>
                <a:cubicBezTo>
                  <a:pt x="2244" y="152"/>
                  <a:pt x="2243" y="152"/>
                  <a:pt x="2242" y="152"/>
                </a:cubicBezTo>
                <a:cubicBezTo>
                  <a:pt x="2240" y="151"/>
                  <a:pt x="2239" y="150"/>
                  <a:pt x="2238" y="151"/>
                </a:cubicBezTo>
                <a:cubicBezTo>
                  <a:pt x="2236" y="152"/>
                  <a:pt x="2235" y="153"/>
                  <a:pt x="2234" y="153"/>
                </a:cubicBezTo>
                <a:cubicBezTo>
                  <a:pt x="2232" y="153"/>
                  <a:pt x="2232" y="151"/>
                  <a:pt x="2230" y="151"/>
                </a:cubicBezTo>
                <a:cubicBezTo>
                  <a:pt x="2230" y="150"/>
                  <a:pt x="2229" y="151"/>
                  <a:pt x="2228" y="150"/>
                </a:cubicBezTo>
                <a:cubicBezTo>
                  <a:pt x="2227" y="150"/>
                  <a:pt x="2226" y="150"/>
                  <a:pt x="2226" y="150"/>
                </a:cubicBezTo>
                <a:cubicBezTo>
                  <a:pt x="2224" y="151"/>
                  <a:pt x="2223" y="153"/>
                  <a:pt x="2221" y="153"/>
                </a:cubicBezTo>
                <a:cubicBezTo>
                  <a:pt x="2220" y="154"/>
                  <a:pt x="2219" y="154"/>
                  <a:pt x="2217" y="154"/>
                </a:cubicBezTo>
                <a:cubicBezTo>
                  <a:pt x="2215" y="154"/>
                  <a:pt x="2214" y="154"/>
                  <a:pt x="2212" y="154"/>
                </a:cubicBezTo>
                <a:cubicBezTo>
                  <a:pt x="2212" y="154"/>
                  <a:pt x="2211" y="154"/>
                  <a:pt x="2211" y="153"/>
                </a:cubicBezTo>
                <a:cubicBezTo>
                  <a:pt x="2211" y="152"/>
                  <a:pt x="2212" y="152"/>
                  <a:pt x="2213" y="152"/>
                </a:cubicBezTo>
                <a:cubicBezTo>
                  <a:pt x="2214" y="152"/>
                  <a:pt x="2216" y="152"/>
                  <a:pt x="2217" y="151"/>
                </a:cubicBezTo>
                <a:cubicBezTo>
                  <a:pt x="2218" y="151"/>
                  <a:pt x="2218" y="150"/>
                  <a:pt x="2219" y="150"/>
                </a:cubicBezTo>
                <a:cubicBezTo>
                  <a:pt x="2219" y="149"/>
                  <a:pt x="2220" y="149"/>
                  <a:pt x="2220" y="148"/>
                </a:cubicBezTo>
                <a:cubicBezTo>
                  <a:pt x="2220" y="148"/>
                  <a:pt x="2220" y="147"/>
                  <a:pt x="2219" y="147"/>
                </a:cubicBezTo>
                <a:cubicBezTo>
                  <a:pt x="2219" y="147"/>
                  <a:pt x="2219" y="148"/>
                  <a:pt x="2218" y="148"/>
                </a:cubicBezTo>
                <a:cubicBezTo>
                  <a:pt x="2217" y="149"/>
                  <a:pt x="2215" y="149"/>
                  <a:pt x="2214" y="149"/>
                </a:cubicBezTo>
                <a:cubicBezTo>
                  <a:pt x="2212" y="148"/>
                  <a:pt x="2211" y="149"/>
                  <a:pt x="2210" y="149"/>
                </a:cubicBezTo>
                <a:cubicBezTo>
                  <a:pt x="2208" y="150"/>
                  <a:pt x="2207" y="149"/>
                  <a:pt x="2205" y="149"/>
                </a:cubicBezTo>
                <a:cubicBezTo>
                  <a:pt x="2204" y="148"/>
                  <a:pt x="2203" y="150"/>
                  <a:pt x="2202" y="150"/>
                </a:cubicBezTo>
                <a:cubicBezTo>
                  <a:pt x="2200" y="150"/>
                  <a:pt x="2199" y="149"/>
                  <a:pt x="2198" y="148"/>
                </a:cubicBezTo>
                <a:cubicBezTo>
                  <a:pt x="2197" y="147"/>
                  <a:pt x="2195" y="149"/>
                  <a:pt x="2193" y="149"/>
                </a:cubicBezTo>
                <a:cubicBezTo>
                  <a:pt x="2191" y="149"/>
                  <a:pt x="2190" y="149"/>
                  <a:pt x="2188" y="150"/>
                </a:cubicBezTo>
                <a:cubicBezTo>
                  <a:pt x="2188" y="149"/>
                  <a:pt x="2190" y="148"/>
                  <a:pt x="2191" y="148"/>
                </a:cubicBezTo>
                <a:cubicBezTo>
                  <a:pt x="2192" y="148"/>
                  <a:pt x="2192" y="148"/>
                  <a:pt x="2193" y="148"/>
                </a:cubicBezTo>
                <a:cubicBezTo>
                  <a:pt x="2194" y="147"/>
                  <a:pt x="2194" y="147"/>
                  <a:pt x="2195" y="147"/>
                </a:cubicBezTo>
                <a:cubicBezTo>
                  <a:pt x="2197" y="146"/>
                  <a:pt x="2201" y="147"/>
                  <a:pt x="2204" y="146"/>
                </a:cubicBezTo>
                <a:cubicBezTo>
                  <a:pt x="2206" y="145"/>
                  <a:pt x="2209" y="145"/>
                  <a:pt x="2210" y="143"/>
                </a:cubicBezTo>
                <a:cubicBezTo>
                  <a:pt x="2210" y="142"/>
                  <a:pt x="2211" y="142"/>
                  <a:pt x="2212" y="141"/>
                </a:cubicBezTo>
                <a:cubicBezTo>
                  <a:pt x="2212" y="141"/>
                  <a:pt x="2213" y="141"/>
                  <a:pt x="2214" y="141"/>
                </a:cubicBezTo>
                <a:cubicBezTo>
                  <a:pt x="2215" y="141"/>
                  <a:pt x="2216" y="140"/>
                  <a:pt x="2216" y="139"/>
                </a:cubicBezTo>
                <a:cubicBezTo>
                  <a:pt x="2218" y="137"/>
                  <a:pt x="2218" y="139"/>
                  <a:pt x="2220" y="139"/>
                </a:cubicBezTo>
                <a:cubicBezTo>
                  <a:pt x="2221" y="139"/>
                  <a:pt x="2222" y="138"/>
                  <a:pt x="2224" y="138"/>
                </a:cubicBezTo>
                <a:cubicBezTo>
                  <a:pt x="2224" y="138"/>
                  <a:pt x="2228" y="139"/>
                  <a:pt x="2227" y="137"/>
                </a:cubicBezTo>
                <a:cubicBezTo>
                  <a:pt x="2227" y="137"/>
                  <a:pt x="2227" y="137"/>
                  <a:pt x="2226" y="137"/>
                </a:cubicBezTo>
                <a:cubicBezTo>
                  <a:pt x="2226" y="137"/>
                  <a:pt x="2226" y="136"/>
                  <a:pt x="2226" y="136"/>
                </a:cubicBezTo>
                <a:cubicBezTo>
                  <a:pt x="2225" y="135"/>
                  <a:pt x="2224" y="134"/>
                  <a:pt x="2223" y="133"/>
                </a:cubicBezTo>
                <a:cubicBezTo>
                  <a:pt x="2222" y="132"/>
                  <a:pt x="2221" y="131"/>
                  <a:pt x="2220" y="130"/>
                </a:cubicBezTo>
                <a:cubicBezTo>
                  <a:pt x="2219" y="129"/>
                  <a:pt x="2217" y="128"/>
                  <a:pt x="2216" y="128"/>
                </a:cubicBezTo>
                <a:cubicBezTo>
                  <a:pt x="2214" y="128"/>
                  <a:pt x="2212" y="128"/>
                  <a:pt x="2210" y="127"/>
                </a:cubicBezTo>
                <a:cubicBezTo>
                  <a:pt x="2208" y="126"/>
                  <a:pt x="2207" y="126"/>
                  <a:pt x="2205" y="125"/>
                </a:cubicBezTo>
                <a:cubicBezTo>
                  <a:pt x="2203" y="125"/>
                  <a:pt x="2200" y="125"/>
                  <a:pt x="2198" y="125"/>
                </a:cubicBezTo>
                <a:cubicBezTo>
                  <a:pt x="2196" y="124"/>
                  <a:pt x="2195" y="123"/>
                  <a:pt x="2192" y="123"/>
                </a:cubicBezTo>
                <a:cubicBezTo>
                  <a:pt x="2189" y="123"/>
                  <a:pt x="2187" y="122"/>
                  <a:pt x="2184" y="123"/>
                </a:cubicBezTo>
                <a:cubicBezTo>
                  <a:pt x="2180" y="123"/>
                  <a:pt x="2178" y="124"/>
                  <a:pt x="2174" y="125"/>
                </a:cubicBezTo>
                <a:cubicBezTo>
                  <a:pt x="2170" y="127"/>
                  <a:pt x="2166" y="127"/>
                  <a:pt x="2162" y="127"/>
                </a:cubicBezTo>
                <a:cubicBezTo>
                  <a:pt x="2160" y="128"/>
                  <a:pt x="2157" y="129"/>
                  <a:pt x="2155" y="131"/>
                </a:cubicBezTo>
                <a:cubicBezTo>
                  <a:pt x="2153" y="132"/>
                  <a:pt x="2150" y="133"/>
                  <a:pt x="2147" y="135"/>
                </a:cubicBezTo>
                <a:cubicBezTo>
                  <a:pt x="2145" y="135"/>
                  <a:pt x="2143" y="135"/>
                  <a:pt x="2142" y="136"/>
                </a:cubicBezTo>
                <a:cubicBezTo>
                  <a:pt x="2141" y="137"/>
                  <a:pt x="2139" y="138"/>
                  <a:pt x="2140" y="139"/>
                </a:cubicBezTo>
                <a:cubicBezTo>
                  <a:pt x="2140" y="140"/>
                  <a:pt x="2144" y="139"/>
                  <a:pt x="2143" y="140"/>
                </a:cubicBezTo>
                <a:cubicBezTo>
                  <a:pt x="2143" y="141"/>
                  <a:pt x="2141" y="141"/>
                  <a:pt x="2141" y="141"/>
                </a:cubicBezTo>
                <a:cubicBezTo>
                  <a:pt x="2139" y="142"/>
                  <a:pt x="2138" y="143"/>
                  <a:pt x="2137" y="144"/>
                </a:cubicBezTo>
                <a:cubicBezTo>
                  <a:pt x="2136" y="144"/>
                  <a:pt x="2136" y="145"/>
                  <a:pt x="2135" y="145"/>
                </a:cubicBezTo>
                <a:cubicBezTo>
                  <a:pt x="2134" y="146"/>
                  <a:pt x="2132" y="147"/>
                  <a:pt x="2131" y="148"/>
                </a:cubicBezTo>
                <a:cubicBezTo>
                  <a:pt x="2130" y="149"/>
                  <a:pt x="2130" y="151"/>
                  <a:pt x="2128" y="152"/>
                </a:cubicBezTo>
                <a:cubicBezTo>
                  <a:pt x="2127" y="153"/>
                  <a:pt x="2125" y="153"/>
                  <a:pt x="2124" y="154"/>
                </a:cubicBezTo>
                <a:cubicBezTo>
                  <a:pt x="2124" y="155"/>
                  <a:pt x="2123" y="157"/>
                  <a:pt x="2123" y="158"/>
                </a:cubicBezTo>
                <a:cubicBezTo>
                  <a:pt x="2123" y="160"/>
                  <a:pt x="2124" y="160"/>
                  <a:pt x="2125" y="161"/>
                </a:cubicBezTo>
                <a:cubicBezTo>
                  <a:pt x="2125" y="162"/>
                  <a:pt x="2125" y="162"/>
                  <a:pt x="2126" y="162"/>
                </a:cubicBezTo>
                <a:cubicBezTo>
                  <a:pt x="2127" y="163"/>
                  <a:pt x="2128" y="162"/>
                  <a:pt x="2128" y="162"/>
                </a:cubicBezTo>
                <a:cubicBezTo>
                  <a:pt x="2129" y="163"/>
                  <a:pt x="2129" y="164"/>
                  <a:pt x="2129" y="164"/>
                </a:cubicBezTo>
                <a:cubicBezTo>
                  <a:pt x="2129" y="165"/>
                  <a:pt x="2128" y="165"/>
                  <a:pt x="2128" y="165"/>
                </a:cubicBezTo>
                <a:cubicBezTo>
                  <a:pt x="2128" y="166"/>
                  <a:pt x="2128" y="167"/>
                  <a:pt x="2128" y="168"/>
                </a:cubicBezTo>
                <a:cubicBezTo>
                  <a:pt x="2127" y="169"/>
                  <a:pt x="2127" y="169"/>
                  <a:pt x="2126" y="170"/>
                </a:cubicBezTo>
                <a:cubicBezTo>
                  <a:pt x="2126" y="170"/>
                  <a:pt x="2125" y="170"/>
                  <a:pt x="2125" y="171"/>
                </a:cubicBezTo>
                <a:cubicBezTo>
                  <a:pt x="2124" y="172"/>
                  <a:pt x="2124" y="172"/>
                  <a:pt x="2125" y="172"/>
                </a:cubicBezTo>
                <a:cubicBezTo>
                  <a:pt x="2126" y="172"/>
                  <a:pt x="2126" y="173"/>
                  <a:pt x="2127" y="173"/>
                </a:cubicBezTo>
                <a:cubicBezTo>
                  <a:pt x="2127" y="173"/>
                  <a:pt x="2128" y="173"/>
                  <a:pt x="2129" y="173"/>
                </a:cubicBezTo>
                <a:cubicBezTo>
                  <a:pt x="2130" y="173"/>
                  <a:pt x="2132" y="173"/>
                  <a:pt x="2133" y="173"/>
                </a:cubicBezTo>
                <a:cubicBezTo>
                  <a:pt x="2135" y="173"/>
                  <a:pt x="2135" y="174"/>
                  <a:pt x="2136" y="175"/>
                </a:cubicBezTo>
                <a:cubicBezTo>
                  <a:pt x="2137" y="175"/>
                  <a:pt x="2139" y="175"/>
                  <a:pt x="2140" y="175"/>
                </a:cubicBezTo>
                <a:cubicBezTo>
                  <a:pt x="2141" y="175"/>
                  <a:pt x="2143" y="175"/>
                  <a:pt x="2144" y="176"/>
                </a:cubicBezTo>
                <a:cubicBezTo>
                  <a:pt x="2144" y="177"/>
                  <a:pt x="2145" y="177"/>
                  <a:pt x="2146" y="178"/>
                </a:cubicBezTo>
                <a:cubicBezTo>
                  <a:pt x="2145" y="179"/>
                  <a:pt x="2144" y="178"/>
                  <a:pt x="2143" y="177"/>
                </a:cubicBezTo>
                <a:cubicBezTo>
                  <a:pt x="2142" y="176"/>
                  <a:pt x="2141" y="176"/>
                  <a:pt x="2139" y="176"/>
                </a:cubicBezTo>
                <a:cubicBezTo>
                  <a:pt x="2138" y="176"/>
                  <a:pt x="2137" y="175"/>
                  <a:pt x="2135" y="175"/>
                </a:cubicBezTo>
                <a:cubicBezTo>
                  <a:pt x="2134" y="175"/>
                  <a:pt x="2133" y="174"/>
                  <a:pt x="2131" y="174"/>
                </a:cubicBezTo>
                <a:cubicBezTo>
                  <a:pt x="2130" y="175"/>
                  <a:pt x="2128" y="176"/>
                  <a:pt x="2127" y="174"/>
                </a:cubicBezTo>
                <a:cubicBezTo>
                  <a:pt x="2126" y="174"/>
                  <a:pt x="2126" y="173"/>
                  <a:pt x="2125" y="173"/>
                </a:cubicBezTo>
                <a:cubicBezTo>
                  <a:pt x="2124" y="173"/>
                  <a:pt x="2123" y="173"/>
                  <a:pt x="2123" y="173"/>
                </a:cubicBezTo>
                <a:cubicBezTo>
                  <a:pt x="2122" y="173"/>
                  <a:pt x="2121" y="173"/>
                  <a:pt x="2120" y="173"/>
                </a:cubicBezTo>
                <a:cubicBezTo>
                  <a:pt x="2118" y="173"/>
                  <a:pt x="2116" y="174"/>
                  <a:pt x="2114" y="175"/>
                </a:cubicBezTo>
                <a:cubicBezTo>
                  <a:pt x="2113" y="175"/>
                  <a:pt x="2112" y="175"/>
                  <a:pt x="2112" y="175"/>
                </a:cubicBezTo>
                <a:cubicBezTo>
                  <a:pt x="2111" y="175"/>
                  <a:pt x="2110" y="174"/>
                  <a:pt x="2110" y="174"/>
                </a:cubicBezTo>
                <a:cubicBezTo>
                  <a:pt x="2108" y="174"/>
                  <a:pt x="2107" y="174"/>
                  <a:pt x="2105" y="174"/>
                </a:cubicBezTo>
                <a:cubicBezTo>
                  <a:pt x="2104" y="174"/>
                  <a:pt x="2102" y="174"/>
                  <a:pt x="2100" y="174"/>
                </a:cubicBezTo>
                <a:cubicBezTo>
                  <a:pt x="2099" y="175"/>
                  <a:pt x="2097" y="175"/>
                  <a:pt x="2096" y="175"/>
                </a:cubicBezTo>
                <a:cubicBezTo>
                  <a:pt x="2094" y="175"/>
                  <a:pt x="2093" y="174"/>
                  <a:pt x="2091" y="174"/>
                </a:cubicBezTo>
                <a:cubicBezTo>
                  <a:pt x="2090" y="174"/>
                  <a:pt x="2088" y="174"/>
                  <a:pt x="2087" y="173"/>
                </a:cubicBezTo>
                <a:cubicBezTo>
                  <a:pt x="2085" y="173"/>
                  <a:pt x="2084" y="173"/>
                  <a:pt x="2082" y="173"/>
                </a:cubicBezTo>
                <a:cubicBezTo>
                  <a:pt x="2082" y="174"/>
                  <a:pt x="2084" y="175"/>
                  <a:pt x="2085" y="176"/>
                </a:cubicBezTo>
                <a:cubicBezTo>
                  <a:pt x="2086" y="177"/>
                  <a:pt x="2086" y="179"/>
                  <a:pt x="2087" y="180"/>
                </a:cubicBezTo>
                <a:cubicBezTo>
                  <a:pt x="2089" y="180"/>
                  <a:pt x="2091" y="179"/>
                  <a:pt x="2092" y="180"/>
                </a:cubicBezTo>
                <a:cubicBezTo>
                  <a:pt x="2093" y="181"/>
                  <a:pt x="2094" y="183"/>
                  <a:pt x="2096" y="183"/>
                </a:cubicBezTo>
                <a:cubicBezTo>
                  <a:pt x="2097" y="183"/>
                  <a:pt x="2097" y="183"/>
                  <a:pt x="2098" y="184"/>
                </a:cubicBezTo>
                <a:cubicBezTo>
                  <a:pt x="2098" y="185"/>
                  <a:pt x="2098" y="186"/>
                  <a:pt x="2099" y="187"/>
                </a:cubicBezTo>
                <a:cubicBezTo>
                  <a:pt x="2100" y="187"/>
                  <a:pt x="2102" y="187"/>
                  <a:pt x="2102" y="189"/>
                </a:cubicBezTo>
                <a:cubicBezTo>
                  <a:pt x="2103" y="190"/>
                  <a:pt x="2103" y="193"/>
                  <a:pt x="2101" y="192"/>
                </a:cubicBezTo>
                <a:cubicBezTo>
                  <a:pt x="2101" y="192"/>
                  <a:pt x="2101" y="191"/>
                  <a:pt x="2100" y="191"/>
                </a:cubicBezTo>
                <a:cubicBezTo>
                  <a:pt x="2099" y="190"/>
                  <a:pt x="2098" y="190"/>
                  <a:pt x="2098" y="190"/>
                </a:cubicBezTo>
                <a:cubicBezTo>
                  <a:pt x="2096" y="189"/>
                  <a:pt x="2095" y="189"/>
                  <a:pt x="2094" y="188"/>
                </a:cubicBezTo>
                <a:cubicBezTo>
                  <a:pt x="2093" y="188"/>
                  <a:pt x="2092" y="187"/>
                  <a:pt x="2090" y="187"/>
                </a:cubicBezTo>
                <a:cubicBezTo>
                  <a:pt x="2089" y="186"/>
                  <a:pt x="2088" y="185"/>
                  <a:pt x="2087" y="185"/>
                </a:cubicBezTo>
                <a:cubicBezTo>
                  <a:pt x="2086" y="184"/>
                  <a:pt x="2085" y="184"/>
                  <a:pt x="2085" y="184"/>
                </a:cubicBezTo>
                <a:cubicBezTo>
                  <a:pt x="2084" y="184"/>
                  <a:pt x="2083" y="184"/>
                  <a:pt x="2083" y="183"/>
                </a:cubicBezTo>
                <a:cubicBezTo>
                  <a:pt x="2081" y="183"/>
                  <a:pt x="2081" y="183"/>
                  <a:pt x="2079" y="184"/>
                </a:cubicBezTo>
                <a:cubicBezTo>
                  <a:pt x="2078" y="184"/>
                  <a:pt x="2078" y="185"/>
                  <a:pt x="2076" y="186"/>
                </a:cubicBezTo>
                <a:cubicBezTo>
                  <a:pt x="2073" y="188"/>
                  <a:pt x="2070" y="186"/>
                  <a:pt x="2067" y="187"/>
                </a:cubicBezTo>
                <a:cubicBezTo>
                  <a:pt x="2065" y="188"/>
                  <a:pt x="2064" y="189"/>
                  <a:pt x="2062" y="190"/>
                </a:cubicBezTo>
                <a:cubicBezTo>
                  <a:pt x="2061" y="190"/>
                  <a:pt x="2059" y="190"/>
                  <a:pt x="2058" y="191"/>
                </a:cubicBezTo>
                <a:cubicBezTo>
                  <a:pt x="2057" y="192"/>
                  <a:pt x="2055" y="194"/>
                  <a:pt x="2054" y="195"/>
                </a:cubicBezTo>
                <a:cubicBezTo>
                  <a:pt x="2054" y="195"/>
                  <a:pt x="2052" y="196"/>
                  <a:pt x="2052" y="195"/>
                </a:cubicBezTo>
                <a:cubicBezTo>
                  <a:pt x="2052" y="194"/>
                  <a:pt x="2053" y="194"/>
                  <a:pt x="2053" y="193"/>
                </a:cubicBezTo>
                <a:cubicBezTo>
                  <a:pt x="2054" y="191"/>
                  <a:pt x="2051" y="193"/>
                  <a:pt x="2050" y="193"/>
                </a:cubicBezTo>
                <a:cubicBezTo>
                  <a:pt x="2049" y="194"/>
                  <a:pt x="2048" y="194"/>
                  <a:pt x="2048" y="194"/>
                </a:cubicBezTo>
                <a:cubicBezTo>
                  <a:pt x="2047" y="195"/>
                  <a:pt x="2046" y="194"/>
                  <a:pt x="2045" y="195"/>
                </a:cubicBezTo>
                <a:cubicBezTo>
                  <a:pt x="2044" y="195"/>
                  <a:pt x="2042" y="196"/>
                  <a:pt x="2041" y="197"/>
                </a:cubicBezTo>
                <a:cubicBezTo>
                  <a:pt x="2040" y="198"/>
                  <a:pt x="2038" y="199"/>
                  <a:pt x="2037" y="199"/>
                </a:cubicBezTo>
                <a:cubicBezTo>
                  <a:pt x="2037" y="198"/>
                  <a:pt x="2038" y="196"/>
                  <a:pt x="2037" y="195"/>
                </a:cubicBezTo>
                <a:cubicBezTo>
                  <a:pt x="2037" y="193"/>
                  <a:pt x="2035" y="194"/>
                  <a:pt x="2034" y="194"/>
                </a:cubicBezTo>
                <a:cubicBezTo>
                  <a:pt x="2033" y="195"/>
                  <a:pt x="2031" y="195"/>
                  <a:pt x="2030" y="195"/>
                </a:cubicBezTo>
                <a:cubicBezTo>
                  <a:pt x="2028" y="196"/>
                  <a:pt x="2027" y="197"/>
                  <a:pt x="2025" y="198"/>
                </a:cubicBezTo>
                <a:cubicBezTo>
                  <a:pt x="2024" y="199"/>
                  <a:pt x="2022" y="200"/>
                  <a:pt x="2021" y="200"/>
                </a:cubicBezTo>
                <a:cubicBezTo>
                  <a:pt x="2019" y="199"/>
                  <a:pt x="2022" y="198"/>
                  <a:pt x="2022" y="197"/>
                </a:cubicBezTo>
                <a:cubicBezTo>
                  <a:pt x="2023" y="197"/>
                  <a:pt x="2025" y="195"/>
                  <a:pt x="2024" y="194"/>
                </a:cubicBezTo>
                <a:cubicBezTo>
                  <a:pt x="2024" y="194"/>
                  <a:pt x="2022" y="194"/>
                  <a:pt x="2022" y="194"/>
                </a:cubicBezTo>
                <a:cubicBezTo>
                  <a:pt x="2021" y="195"/>
                  <a:pt x="2020" y="195"/>
                  <a:pt x="2019" y="195"/>
                </a:cubicBezTo>
                <a:cubicBezTo>
                  <a:pt x="2016" y="195"/>
                  <a:pt x="2013" y="193"/>
                  <a:pt x="2009" y="193"/>
                </a:cubicBezTo>
                <a:cubicBezTo>
                  <a:pt x="2007" y="193"/>
                  <a:pt x="2006" y="193"/>
                  <a:pt x="2004" y="193"/>
                </a:cubicBezTo>
                <a:cubicBezTo>
                  <a:pt x="2002" y="192"/>
                  <a:pt x="2001" y="192"/>
                  <a:pt x="1999" y="192"/>
                </a:cubicBezTo>
                <a:cubicBezTo>
                  <a:pt x="1997" y="192"/>
                  <a:pt x="1995" y="193"/>
                  <a:pt x="1993" y="192"/>
                </a:cubicBezTo>
                <a:cubicBezTo>
                  <a:pt x="1991" y="192"/>
                  <a:pt x="1990" y="192"/>
                  <a:pt x="1988" y="191"/>
                </a:cubicBezTo>
                <a:cubicBezTo>
                  <a:pt x="1987" y="191"/>
                  <a:pt x="1985" y="191"/>
                  <a:pt x="1984" y="191"/>
                </a:cubicBezTo>
                <a:cubicBezTo>
                  <a:pt x="1982" y="191"/>
                  <a:pt x="1981" y="191"/>
                  <a:pt x="1979" y="191"/>
                </a:cubicBezTo>
                <a:cubicBezTo>
                  <a:pt x="1976" y="190"/>
                  <a:pt x="1973" y="189"/>
                  <a:pt x="1970" y="190"/>
                </a:cubicBezTo>
                <a:cubicBezTo>
                  <a:pt x="1969" y="190"/>
                  <a:pt x="1968" y="191"/>
                  <a:pt x="1966" y="192"/>
                </a:cubicBezTo>
                <a:cubicBezTo>
                  <a:pt x="1966" y="193"/>
                  <a:pt x="1965" y="193"/>
                  <a:pt x="1964" y="194"/>
                </a:cubicBezTo>
                <a:cubicBezTo>
                  <a:pt x="1964" y="196"/>
                  <a:pt x="1965" y="196"/>
                  <a:pt x="1966" y="196"/>
                </a:cubicBezTo>
                <a:cubicBezTo>
                  <a:pt x="1967" y="196"/>
                  <a:pt x="1968" y="195"/>
                  <a:pt x="1968" y="195"/>
                </a:cubicBezTo>
                <a:cubicBezTo>
                  <a:pt x="1970" y="195"/>
                  <a:pt x="1971" y="196"/>
                  <a:pt x="1973" y="196"/>
                </a:cubicBezTo>
                <a:cubicBezTo>
                  <a:pt x="1974" y="196"/>
                  <a:pt x="1976" y="196"/>
                  <a:pt x="1977" y="196"/>
                </a:cubicBezTo>
                <a:cubicBezTo>
                  <a:pt x="1978" y="196"/>
                  <a:pt x="1979" y="197"/>
                  <a:pt x="1981" y="197"/>
                </a:cubicBezTo>
                <a:cubicBezTo>
                  <a:pt x="1982" y="197"/>
                  <a:pt x="1984" y="197"/>
                  <a:pt x="1986" y="196"/>
                </a:cubicBezTo>
                <a:cubicBezTo>
                  <a:pt x="1987" y="196"/>
                  <a:pt x="1989" y="196"/>
                  <a:pt x="1990" y="197"/>
                </a:cubicBezTo>
                <a:cubicBezTo>
                  <a:pt x="1989" y="198"/>
                  <a:pt x="1986" y="198"/>
                  <a:pt x="1985" y="198"/>
                </a:cubicBezTo>
                <a:cubicBezTo>
                  <a:pt x="1983" y="198"/>
                  <a:pt x="1981" y="198"/>
                  <a:pt x="1979" y="199"/>
                </a:cubicBezTo>
                <a:cubicBezTo>
                  <a:pt x="1976" y="200"/>
                  <a:pt x="1974" y="200"/>
                  <a:pt x="1971" y="200"/>
                </a:cubicBezTo>
                <a:cubicBezTo>
                  <a:pt x="1968" y="201"/>
                  <a:pt x="1966" y="201"/>
                  <a:pt x="1963" y="201"/>
                </a:cubicBezTo>
                <a:cubicBezTo>
                  <a:pt x="1961" y="202"/>
                  <a:pt x="1959" y="202"/>
                  <a:pt x="1956" y="202"/>
                </a:cubicBezTo>
                <a:cubicBezTo>
                  <a:pt x="1954" y="202"/>
                  <a:pt x="1952" y="203"/>
                  <a:pt x="1951" y="203"/>
                </a:cubicBezTo>
                <a:cubicBezTo>
                  <a:pt x="1947" y="203"/>
                  <a:pt x="1943" y="204"/>
                  <a:pt x="1940" y="205"/>
                </a:cubicBezTo>
                <a:cubicBezTo>
                  <a:pt x="1938" y="205"/>
                  <a:pt x="1936" y="205"/>
                  <a:pt x="1935" y="205"/>
                </a:cubicBezTo>
                <a:cubicBezTo>
                  <a:pt x="1931" y="206"/>
                  <a:pt x="1928" y="206"/>
                  <a:pt x="1924" y="207"/>
                </a:cubicBezTo>
                <a:cubicBezTo>
                  <a:pt x="1921" y="208"/>
                  <a:pt x="1918" y="209"/>
                  <a:pt x="1916" y="209"/>
                </a:cubicBezTo>
                <a:cubicBezTo>
                  <a:pt x="1912" y="210"/>
                  <a:pt x="1909" y="211"/>
                  <a:pt x="1906" y="211"/>
                </a:cubicBezTo>
                <a:cubicBezTo>
                  <a:pt x="1900" y="212"/>
                  <a:pt x="1895" y="213"/>
                  <a:pt x="1891" y="216"/>
                </a:cubicBezTo>
                <a:cubicBezTo>
                  <a:pt x="1888" y="217"/>
                  <a:pt x="1886" y="218"/>
                  <a:pt x="1884" y="220"/>
                </a:cubicBezTo>
                <a:cubicBezTo>
                  <a:pt x="1882" y="221"/>
                  <a:pt x="1879" y="222"/>
                  <a:pt x="1877" y="224"/>
                </a:cubicBezTo>
                <a:cubicBezTo>
                  <a:pt x="1874" y="225"/>
                  <a:pt x="1873" y="227"/>
                  <a:pt x="1871" y="228"/>
                </a:cubicBezTo>
                <a:cubicBezTo>
                  <a:pt x="1870" y="229"/>
                  <a:pt x="1869" y="230"/>
                  <a:pt x="1868" y="230"/>
                </a:cubicBezTo>
                <a:cubicBezTo>
                  <a:pt x="1866" y="230"/>
                  <a:pt x="1863" y="230"/>
                  <a:pt x="1861" y="229"/>
                </a:cubicBezTo>
                <a:cubicBezTo>
                  <a:pt x="1861" y="229"/>
                  <a:pt x="1860" y="229"/>
                  <a:pt x="1859" y="229"/>
                </a:cubicBezTo>
                <a:cubicBezTo>
                  <a:pt x="1857" y="229"/>
                  <a:pt x="1856" y="229"/>
                  <a:pt x="1854" y="228"/>
                </a:cubicBezTo>
                <a:cubicBezTo>
                  <a:pt x="1853" y="228"/>
                  <a:pt x="1851" y="228"/>
                  <a:pt x="1850" y="229"/>
                </a:cubicBezTo>
                <a:cubicBezTo>
                  <a:pt x="1849" y="229"/>
                  <a:pt x="1848" y="229"/>
                  <a:pt x="1848" y="229"/>
                </a:cubicBezTo>
                <a:cubicBezTo>
                  <a:pt x="1847" y="230"/>
                  <a:pt x="1848" y="230"/>
                  <a:pt x="1849" y="230"/>
                </a:cubicBezTo>
                <a:cubicBezTo>
                  <a:pt x="1849" y="230"/>
                  <a:pt x="1850" y="230"/>
                  <a:pt x="1851" y="230"/>
                </a:cubicBezTo>
                <a:cubicBezTo>
                  <a:pt x="1851" y="231"/>
                  <a:pt x="1852" y="231"/>
                  <a:pt x="1852" y="231"/>
                </a:cubicBezTo>
                <a:cubicBezTo>
                  <a:pt x="1854" y="232"/>
                  <a:pt x="1855" y="231"/>
                  <a:pt x="1857" y="232"/>
                </a:cubicBezTo>
                <a:cubicBezTo>
                  <a:pt x="1857" y="232"/>
                  <a:pt x="1858" y="232"/>
                  <a:pt x="1858" y="232"/>
                </a:cubicBezTo>
                <a:cubicBezTo>
                  <a:pt x="1859" y="233"/>
                  <a:pt x="1858" y="233"/>
                  <a:pt x="1857" y="233"/>
                </a:cubicBezTo>
                <a:cubicBezTo>
                  <a:pt x="1856" y="233"/>
                  <a:pt x="1854" y="232"/>
                  <a:pt x="1854" y="234"/>
                </a:cubicBezTo>
                <a:cubicBezTo>
                  <a:pt x="1853" y="236"/>
                  <a:pt x="1856" y="234"/>
                  <a:pt x="1856" y="236"/>
                </a:cubicBezTo>
                <a:cubicBezTo>
                  <a:pt x="1857" y="237"/>
                  <a:pt x="1854" y="237"/>
                  <a:pt x="1854" y="238"/>
                </a:cubicBezTo>
                <a:cubicBezTo>
                  <a:pt x="1853" y="238"/>
                  <a:pt x="1853" y="238"/>
                  <a:pt x="1853" y="239"/>
                </a:cubicBezTo>
                <a:cubicBezTo>
                  <a:pt x="1852" y="239"/>
                  <a:pt x="1851" y="239"/>
                  <a:pt x="1851" y="240"/>
                </a:cubicBezTo>
                <a:cubicBezTo>
                  <a:pt x="1850" y="240"/>
                  <a:pt x="1851" y="243"/>
                  <a:pt x="1849" y="243"/>
                </a:cubicBezTo>
                <a:cubicBezTo>
                  <a:pt x="1848" y="244"/>
                  <a:pt x="1847" y="245"/>
                  <a:pt x="1846" y="245"/>
                </a:cubicBezTo>
                <a:cubicBezTo>
                  <a:pt x="1844" y="247"/>
                  <a:pt x="1846" y="247"/>
                  <a:pt x="1847" y="248"/>
                </a:cubicBezTo>
                <a:cubicBezTo>
                  <a:pt x="1847" y="249"/>
                  <a:pt x="1846" y="250"/>
                  <a:pt x="1846" y="250"/>
                </a:cubicBezTo>
                <a:cubicBezTo>
                  <a:pt x="1844" y="250"/>
                  <a:pt x="1845" y="249"/>
                  <a:pt x="1844" y="248"/>
                </a:cubicBezTo>
                <a:cubicBezTo>
                  <a:pt x="1844" y="248"/>
                  <a:pt x="1843" y="248"/>
                  <a:pt x="1843" y="247"/>
                </a:cubicBezTo>
                <a:cubicBezTo>
                  <a:pt x="1843" y="247"/>
                  <a:pt x="1843" y="247"/>
                  <a:pt x="1843" y="246"/>
                </a:cubicBezTo>
                <a:cubicBezTo>
                  <a:pt x="1842" y="245"/>
                  <a:pt x="1841" y="245"/>
                  <a:pt x="1840" y="245"/>
                </a:cubicBezTo>
                <a:cubicBezTo>
                  <a:pt x="1839" y="245"/>
                  <a:pt x="1837" y="245"/>
                  <a:pt x="1836" y="245"/>
                </a:cubicBezTo>
                <a:cubicBezTo>
                  <a:pt x="1835" y="244"/>
                  <a:pt x="1835" y="244"/>
                  <a:pt x="1835" y="244"/>
                </a:cubicBezTo>
                <a:cubicBezTo>
                  <a:pt x="1834" y="243"/>
                  <a:pt x="1834" y="243"/>
                  <a:pt x="1833" y="242"/>
                </a:cubicBezTo>
                <a:cubicBezTo>
                  <a:pt x="1833" y="242"/>
                  <a:pt x="1833" y="242"/>
                  <a:pt x="1832" y="241"/>
                </a:cubicBezTo>
                <a:cubicBezTo>
                  <a:pt x="1832" y="241"/>
                  <a:pt x="1830" y="241"/>
                  <a:pt x="1831" y="242"/>
                </a:cubicBezTo>
                <a:cubicBezTo>
                  <a:pt x="1831" y="242"/>
                  <a:pt x="1832" y="242"/>
                  <a:pt x="1832" y="243"/>
                </a:cubicBezTo>
                <a:cubicBezTo>
                  <a:pt x="1831" y="244"/>
                  <a:pt x="1830" y="244"/>
                  <a:pt x="1830" y="244"/>
                </a:cubicBezTo>
                <a:cubicBezTo>
                  <a:pt x="1829" y="244"/>
                  <a:pt x="1828" y="244"/>
                  <a:pt x="1827" y="246"/>
                </a:cubicBezTo>
                <a:cubicBezTo>
                  <a:pt x="1826" y="246"/>
                  <a:pt x="1825" y="248"/>
                  <a:pt x="1825" y="249"/>
                </a:cubicBezTo>
                <a:cubicBezTo>
                  <a:pt x="1826" y="249"/>
                  <a:pt x="1826" y="249"/>
                  <a:pt x="1827" y="249"/>
                </a:cubicBezTo>
                <a:cubicBezTo>
                  <a:pt x="1828" y="249"/>
                  <a:pt x="1828" y="249"/>
                  <a:pt x="1829" y="249"/>
                </a:cubicBezTo>
                <a:cubicBezTo>
                  <a:pt x="1830" y="249"/>
                  <a:pt x="1830" y="249"/>
                  <a:pt x="1831" y="248"/>
                </a:cubicBezTo>
                <a:cubicBezTo>
                  <a:pt x="1832" y="248"/>
                  <a:pt x="1832" y="248"/>
                  <a:pt x="1832" y="249"/>
                </a:cubicBezTo>
                <a:cubicBezTo>
                  <a:pt x="1833" y="249"/>
                  <a:pt x="1834" y="249"/>
                  <a:pt x="1834" y="249"/>
                </a:cubicBezTo>
                <a:cubicBezTo>
                  <a:pt x="1835" y="249"/>
                  <a:pt x="1836" y="249"/>
                  <a:pt x="1836" y="249"/>
                </a:cubicBezTo>
                <a:cubicBezTo>
                  <a:pt x="1837" y="249"/>
                  <a:pt x="1837" y="250"/>
                  <a:pt x="1838" y="250"/>
                </a:cubicBezTo>
                <a:cubicBezTo>
                  <a:pt x="1838" y="251"/>
                  <a:pt x="1839" y="250"/>
                  <a:pt x="1840" y="251"/>
                </a:cubicBezTo>
                <a:cubicBezTo>
                  <a:pt x="1840" y="251"/>
                  <a:pt x="1841" y="251"/>
                  <a:pt x="1841" y="251"/>
                </a:cubicBezTo>
                <a:cubicBezTo>
                  <a:pt x="1842" y="252"/>
                  <a:pt x="1843" y="251"/>
                  <a:pt x="1843" y="252"/>
                </a:cubicBezTo>
                <a:cubicBezTo>
                  <a:pt x="1842" y="252"/>
                  <a:pt x="1839" y="253"/>
                  <a:pt x="1841" y="254"/>
                </a:cubicBezTo>
                <a:cubicBezTo>
                  <a:pt x="1841" y="254"/>
                  <a:pt x="1842" y="253"/>
                  <a:pt x="1843" y="254"/>
                </a:cubicBezTo>
                <a:cubicBezTo>
                  <a:pt x="1843" y="254"/>
                  <a:pt x="1843" y="255"/>
                  <a:pt x="1844" y="255"/>
                </a:cubicBezTo>
                <a:cubicBezTo>
                  <a:pt x="1844" y="255"/>
                  <a:pt x="1845" y="255"/>
                  <a:pt x="1845" y="256"/>
                </a:cubicBezTo>
                <a:cubicBezTo>
                  <a:pt x="1845" y="256"/>
                  <a:pt x="1845" y="257"/>
                  <a:pt x="1846" y="257"/>
                </a:cubicBezTo>
                <a:cubicBezTo>
                  <a:pt x="1848" y="257"/>
                  <a:pt x="1848" y="256"/>
                  <a:pt x="1849" y="256"/>
                </a:cubicBezTo>
                <a:cubicBezTo>
                  <a:pt x="1850" y="256"/>
                  <a:pt x="1851" y="255"/>
                  <a:pt x="1851" y="256"/>
                </a:cubicBezTo>
                <a:cubicBezTo>
                  <a:pt x="1851" y="257"/>
                  <a:pt x="1850" y="257"/>
                  <a:pt x="1850" y="258"/>
                </a:cubicBezTo>
                <a:cubicBezTo>
                  <a:pt x="1850" y="258"/>
                  <a:pt x="1851" y="258"/>
                  <a:pt x="1851" y="259"/>
                </a:cubicBezTo>
                <a:cubicBezTo>
                  <a:pt x="1851" y="259"/>
                  <a:pt x="1851" y="259"/>
                  <a:pt x="1851" y="260"/>
                </a:cubicBezTo>
                <a:cubicBezTo>
                  <a:pt x="1850" y="260"/>
                  <a:pt x="1850" y="261"/>
                  <a:pt x="1849" y="261"/>
                </a:cubicBezTo>
                <a:cubicBezTo>
                  <a:pt x="1849" y="261"/>
                  <a:pt x="1848" y="260"/>
                  <a:pt x="1847" y="261"/>
                </a:cubicBezTo>
                <a:cubicBezTo>
                  <a:pt x="1847" y="261"/>
                  <a:pt x="1846" y="261"/>
                  <a:pt x="1846" y="261"/>
                </a:cubicBezTo>
                <a:cubicBezTo>
                  <a:pt x="1844" y="261"/>
                  <a:pt x="1845" y="261"/>
                  <a:pt x="1846" y="260"/>
                </a:cubicBezTo>
                <a:cubicBezTo>
                  <a:pt x="1847" y="260"/>
                  <a:pt x="1847" y="260"/>
                  <a:pt x="1847" y="259"/>
                </a:cubicBezTo>
                <a:cubicBezTo>
                  <a:pt x="1848" y="259"/>
                  <a:pt x="1848" y="259"/>
                  <a:pt x="1849" y="259"/>
                </a:cubicBezTo>
                <a:cubicBezTo>
                  <a:pt x="1850" y="258"/>
                  <a:pt x="1847" y="258"/>
                  <a:pt x="1847" y="258"/>
                </a:cubicBezTo>
                <a:cubicBezTo>
                  <a:pt x="1846" y="258"/>
                  <a:pt x="1845" y="257"/>
                  <a:pt x="1844" y="257"/>
                </a:cubicBezTo>
                <a:cubicBezTo>
                  <a:pt x="1841" y="257"/>
                  <a:pt x="1839" y="257"/>
                  <a:pt x="1837" y="257"/>
                </a:cubicBezTo>
                <a:cubicBezTo>
                  <a:pt x="1836" y="257"/>
                  <a:pt x="1836" y="257"/>
                  <a:pt x="1835" y="257"/>
                </a:cubicBezTo>
                <a:cubicBezTo>
                  <a:pt x="1835" y="257"/>
                  <a:pt x="1834" y="257"/>
                  <a:pt x="1834" y="257"/>
                </a:cubicBezTo>
                <a:cubicBezTo>
                  <a:pt x="1833" y="257"/>
                  <a:pt x="1832" y="257"/>
                  <a:pt x="1831" y="257"/>
                </a:cubicBezTo>
                <a:cubicBezTo>
                  <a:pt x="1830" y="258"/>
                  <a:pt x="1828" y="259"/>
                  <a:pt x="1828" y="260"/>
                </a:cubicBezTo>
                <a:cubicBezTo>
                  <a:pt x="1829" y="261"/>
                  <a:pt x="1829" y="261"/>
                  <a:pt x="1830" y="262"/>
                </a:cubicBezTo>
                <a:cubicBezTo>
                  <a:pt x="1830" y="262"/>
                  <a:pt x="1830" y="263"/>
                  <a:pt x="1831" y="263"/>
                </a:cubicBezTo>
                <a:cubicBezTo>
                  <a:pt x="1832" y="264"/>
                  <a:pt x="1834" y="263"/>
                  <a:pt x="1836" y="263"/>
                </a:cubicBezTo>
                <a:cubicBezTo>
                  <a:pt x="1837" y="263"/>
                  <a:pt x="1838" y="263"/>
                  <a:pt x="1840" y="263"/>
                </a:cubicBezTo>
                <a:cubicBezTo>
                  <a:pt x="1842" y="263"/>
                  <a:pt x="1842" y="263"/>
                  <a:pt x="1844" y="264"/>
                </a:cubicBezTo>
                <a:cubicBezTo>
                  <a:pt x="1844" y="265"/>
                  <a:pt x="1845" y="265"/>
                  <a:pt x="1845" y="266"/>
                </a:cubicBezTo>
                <a:cubicBezTo>
                  <a:pt x="1845" y="266"/>
                  <a:pt x="1844" y="267"/>
                  <a:pt x="1844" y="267"/>
                </a:cubicBezTo>
                <a:cubicBezTo>
                  <a:pt x="1844" y="269"/>
                  <a:pt x="1846" y="268"/>
                  <a:pt x="1846" y="268"/>
                </a:cubicBezTo>
                <a:cubicBezTo>
                  <a:pt x="1847" y="269"/>
                  <a:pt x="1847" y="270"/>
                  <a:pt x="1848" y="271"/>
                </a:cubicBezTo>
                <a:cubicBezTo>
                  <a:pt x="1849" y="271"/>
                  <a:pt x="1851" y="271"/>
                  <a:pt x="1852" y="271"/>
                </a:cubicBezTo>
                <a:cubicBezTo>
                  <a:pt x="1852" y="270"/>
                  <a:pt x="1853" y="270"/>
                  <a:pt x="1853" y="271"/>
                </a:cubicBezTo>
                <a:cubicBezTo>
                  <a:pt x="1854" y="272"/>
                  <a:pt x="1853" y="272"/>
                  <a:pt x="1852" y="272"/>
                </a:cubicBezTo>
                <a:cubicBezTo>
                  <a:pt x="1851" y="272"/>
                  <a:pt x="1849" y="271"/>
                  <a:pt x="1848" y="272"/>
                </a:cubicBezTo>
                <a:cubicBezTo>
                  <a:pt x="1848" y="273"/>
                  <a:pt x="1850" y="273"/>
                  <a:pt x="1850" y="273"/>
                </a:cubicBezTo>
                <a:cubicBezTo>
                  <a:pt x="1851" y="274"/>
                  <a:pt x="1851" y="275"/>
                  <a:pt x="1851" y="275"/>
                </a:cubicBezTo>
                <a:cubicBezTo>
                  <a:pt x="1852" y="276"/>
                  <a:pt x="1853" y="277"/>
                  <a:pt x="1852" y="277"/>
                </a:cubicBezTo>
                <a:cubicBezTo>
                  <a:pt x="1851" y="277"/>
                  <a:pt x="1850" y="277"/>
                  <a:pt x="1850" y="278"/>
                </a:cubicBezTo>
                <a:cubicBezTo>
                  <a:pt x="1849" y="278"/>
                  <a:pt x="1848" y="278"/>
                  <a:pt x="1847" y="278"/>
                </a:cubicBezTo>
                <a:cubicBezTo>
                  <a:pt x="1846" y="278"/>
                  <a:pt x="1844" y="278"/>
                  <a:pt x="1843" y="278"/>
                </a:cubicBezTo>
                <a:cubicBezTo>
                  <a:pt x="1840" y="279"/>
                  <a:pt x="1836" y="279"/>
                  <a:pt x="1833" y="279"/>
                </a:cubicBezTo>
                <a:cubicBezTo>
                  <a:pt x="1830" y="279"/>
                  <a:pt x="1828" y="279"/>
                  <a:pt x="1826" y="280"/>
                </a:cubicBezTo>
                <a:cubicBezTo>
                  <a:pt x="1823" y="280"/>
                  <a:pt x="1821" y="280"/>
                  <a:pt x="1818" y="280"/>
                </a:cubicBezTo>
                <a:cubicBezTo>
                  <a:pt x="1816" y="281"/>
                  <a:pt x="1814" y="281"/>
                  <a:pt x="1811" y="281"/>
                </a:cubicBezTo>
                <a:cubicBezTo>
                  <a:pt x="1809" y="282"/>
                  <a:pt x="1807" y="282"/>
                  <a:pt x="1805" y="282"/>
                </a:cubicBezTo>
                <a:cubicBezTo>
                  <a:pt x="1796" y="283"/>
                  <a:pt x="1787" y="283"/>
                  <a:pt x="1778" y="284"/>
                </a:cubicBezTo>
                <a:cubicBezTo>
                  <a:pt x="1775" y="284"/>
                  <a:pt x="1772" y="284"/>
                  <a:pt x="1769" y="285"/>
                </a:cubicBezTo>
                <a:cubicBezTo>
                  <a:pt x="1764" y="285"/>
                  <a:pt x="1760" y="286"/>
                  <a:pt x="1756" y="286"/>
                </a:cubicBezTo>
                <a:cubicBezTo>
                  <a:pt x="1753" y="287"/>
                  <a:pt x="1750" y="287"/>
                  <a:pt x="1747" y="287"/>
                </a:cubicBezTo>
                <a:cubicBezTo>
                  <a:pt x="1743" y="287"/>
                  <a:pt x="1739" y="287"/>
                  <a:pt x="1734" y="288"/>
                </a:cubicBezTo>
                <a:cubicBezTo>
                  <a:pt x="1731" y="289"/>
                  <a:pt x="1728" y="288"/>
                  <a:pt x="1725" y="288"/>
                </a:cubicBezTo>
                <a:cubicBezTo>
                  <a:pt x="1724" y="288"/>
                  <a:pt x="1724" y="288"/>
                  <a:pt x="1723" y="289"/>
                </a:cubicBezTo>
                <a:cubicBezTo>
                  <a:pt x="1723" y="289"/>
                  <a:pt x="1723" y="289"/>
                  <a:pt x="1722" y="290"/>
                </a:cubicBezTo>
                <a:cubicBezTo>
                  <a:pt x="1722" y="290"/>
                  <a:pt x="1722" y="291"/>
                  <a:pt x="1722" y="291"/>
                </a:cubicBezTo>
                <a:cubicBezTo>
                  <a:pt x="1722" y="292"/>
                  <a:pt x="1723" y="292"/>
                  <a:pt x="1724" y="292"/>
                </a:cubicBezTo>
                <a:cubicBezTo>
                  <a:pt x="1725" y="294"/>
                  <a:pt x="1722" y="294"/>
                  <a:pt x="1721" y="295"/>
                </a:cubicBezTo>
                <a:cubicBezTo>
                  <a:pt x="1721" y="295"/>
                  <a:pt x="1721" y="296"/>
                  <a:pt x="1720" y="296"/>
                </a:cubicBezTo>
                <a:cubicBezTo>
                  <a:pt x="1719" y="296"/>
                  <a:pt x="1719" y="297"/>
                  <a:pt x="1718" y="297"/>
                </a:cubicBezTo>
                <a:cubicBezTo>
                  <a:pt x="1718" y="297"/>
                  <a:pt x="1717" y="297"/>
                  <a:pt x="1716" y="298"/>
                </a:cubicBezTo>
                <a:cubicBezTo>
                  <a:pt x="1716" y="299"/>
                  <a:pt x="1717" y="299"/>
                  <a:pt x="1717" y="299"/>
                </a:cubicBezTo>
                <a:cubicBezTo>
                  <a:pt x="1718" y="299"/>
                  <a:pt x="1718" y="300"/>
                  <a:pt x="1719" y="300"/>
                </a:cubicBezTo>
                <a:cubicBezTo>
                  <a:pt x="1719" y="300"/>
                  <a:pt x="1720" y="300"/>
                  <a:pt x="1721" y="300"/>
                </a:cubicBezTo>
                <a:cubicBezTo>
                  <a:pt x="1723" y="301"/>
                  <a:pt x="1716" y="304"/>
                  <a:pt x="1716" y="304"/>
                </a:cubicBezTo>
                <a:cubicBezTo>
                  <a:pt x="1717" y="305"/>
                  <a:pt x="1720" y="304"/>
                  <a:pt x="1720" y="305"/>
                </a:cubicBezTo>
                <a:cubicBezTo>
                  <a:pt x="1721" y="305"/>
                  <a:pt x="1722" y="305"/>
                  <a:pt x="1722" y="306"/>
                </a:cubicBezTo>
                <a:cubicBezTo>
                  <a:pt x="1722" y="307"/>
                  <a:pt x="1720" y="307"/>
                  <a:pt x="1721" y="307"/>
                </a:cubicBezTo>
                <a:cubicBezTo>
                  <a:pt x="1721" y="308"/>
                  <a:pt x="1722" y="308"/>
                  <a:pt x="1722" y="308"/>
                </a:cubicBezTo>
                <a:cubicBezTo>
                  <a:pt x="1723" y="308"/>
                  <a:pt x="1723" y="308"/>
                  <a:pt x="1723" y="309"/>
                </a:cubicBezTo>
                <a:cubicBezTo>
                  <a:pt x="1725" y="309"/>
                  <a:pt x="1726" y="308"/>
                  <a:pt x="1727" y="309"/>
                </a:cubicBezTo>
                <a:cubicBezTo>
                  <a:pt x="1728" y="310"/>
                  <a:pt x="1727" y="312"/>
                  <a:pt x="1728" y="312"/>
                </a:cubicBezTo>
                <a:cubicBezTo>
                  <a:pt x="1728" y="313"/>
                  <a:pt x="1728" y="313"/>
                  <a:pt x="1728" y="314"/>
                </a:cubicBezTo>
                <a:cubicBezTo>
                  <a:pt x="1729" y="315"/>
                  <a:pt x="1727" y="316"/>
                  <a:pt x="1727" y="317"/>
                </a:cubicBezTo>
                <a:cubicBezTo>
                  <a:pt x="1726" y="318"/>
                  <a:pt x="1726" y="319"/>
                  <a:pt x="1725" y="320"/>
                </a:cubicBezTo>
                <a:cubicBezTo>
                  <a:pt x="1724" y="320"/>
                  <a:pt x="1723" y="322"/>
                  <a:pt x="1724" y="323"/>
                </a:cubicBezTo>
                <a:cubicBezTo>
                  <a:pt x="1724" y="323"/>
                  <a:pt x="1725" y="324"/>
                  <a:pt x="1725" y="324"/>
                </a:cubicBezTo>
                <a:cubicBezTo>
                  <a:pt x="1725" y="324"/>
                  <a:pt x="1725" y="324"/>
                  <a:pt x="1725" y="324"/>
                </a:cubicBezTo>
                <a:cubicBezTo>
                  <a:pt x="1726" y="325"/>
                  <a:pt x="1727" y="324"/>
                  <a:pt x="1727" y="325"/>
                </a:cubicBezTo>
                <a:cubicBezTo>
                  <a:pt x="1728" y="326"/>
                  <a:pt x="1725" y="327"/>
                  <a:pt x="1726" y="328"/>
                </a:cubicBezTo>
                <a:cubicBezTo>
                  <a:pt x="1726" y="329"/>
                  <a:pt x="1728" y="330"/>
                  <a:pt x="1729" y="331"/>
                </a:cubicBezTo>
                <a:cubicBezTo>
                  <a:pt x="1730" y="332"/>
                  <a:pt x="1731" y="332"/>
                  <a:pt x="1733" y="333"/>
                </a:cubicBezTo>
                <a:cubicBezTo>
                  <a:pt x="1734" y="333"/>
                  <a:pt x="1736" y="333"/>
                  <a:pt x="1737" y="333"/>
                </a:cubicBezTo>
                <a:cubicBezTo>
                  <a:pt x="1738" y="334"/>
                  <a:pt x="1739" y="334"/>
                  <a:pt x="1739" y="335"/>
                </a:cubicBezTo>
                <a:cubicBezTo>
                  <a:pt x="1741" y="336"/>
                  <a:pt x="1744" y="335"/>
                  <a:pt x="1746" y="336"/>
                </a:cubicBezTo>
                <a:cubicBezTo>
                  <a:pt x="1748" y="336"/>
                  <a:pt x="1749" y="337"/>
                  <a:pt x="1751" y="337"/>
                </a:cubicBezTo>
                <a:cubicBezTo>
                  <a:pt x="1753" y="338"/>
                  <a:pt x="1754" y="337"/>
                  <a:pt x="1754" y="339"/>
                </a:cubicBezTo>
                <a:cubicBezTo>
                  <a:pt x="1755" y="340"/>
                  <a:pt x="1755" y="342"/>
                  <a:pt x="1755" y="343"/>
                </a:cubicBezTo>
                <a:cubicBezTo>
                  <a:pt x="1755" y="345"/>
                  <a:pt x="1756" y="345"/>
                  <a:pt x="1757" y="346"/>
                </a:cubicBezTo>
                <a:cubicBezTo>
                  <a:pt x="1758" y="347"/>
                  <a:pt x="1759" y="348"/>
                  <a:pt x="1760" y="349"/>
                </a:cubicBezTo>
                <a:cubicBezTo>
                  <a:pt x="1761" y="350"/>
                  <a:pt x="1763" y="351"/>
                  <a:pt x="1763" y="352"/>
                </a:cubicBezTo>
                <a:cubicBezTo>
                  <a:pt x="1764" y="353"/>
                  <a:pt x="1765" y="355"/>
                  <a:pt x="1763" y="356"/>
                </a:cubicBezTo>
                <a:cubicBezTo>
                  <a:pt x="1762" y="357"/>
                  <a:pt x="1760" y="357"/>
                  <a:pt x="1759" y="357"/>
                </a:cubicBezTo>
                <a:cubicBezTo>
                  <a:pt x="1758" y="357"/>
                  <a:pt x="1757" y="357"/>
                  <a:pt x="1757" y="357"/>
                </a:cubicBezTo>
                <a:cubicBezTo>
                  <a:pt x="1756" y="358"/>
                  <a:pt x="1755" y="359"/>
                  <a:pt x="1754" y="359"/>
                </a:cubicBezTo>
                <a:cubicBezTo>
                  <a:pt x="1752" y="359"/>
                  <a:pt x="1751" y="359"/>
                  <a:pt x="1750" y="359"/>
                </a:cubicBezTo>
                <a:cubicBezTo>
                  <a:pt x="1749" y="359"/>
                  <a:pt x="1748" y="358"/>
                  <a:pt x="1748" y="358"/>
                </a:cubicBezTo>
                <a:cubicBezTo>
                  <a:pt x="1747" y="358"/>
                  <a:pt x="1746" y="358"/>
                  <a:pt x="1745" y="358"/>
                </a:cubicBezTo>
                <a:cubicBezTo>
                  <a:pt x="1744" y="358"/>
                  <a:pt x="1743" y="357"/>
                  <a:pt x="1742" y="356"/>
                </a:cubicBezTo>
                <a:cubicBezTo>
                  <a:pt x="1740" y="354"/>
                  <a:pt x="1738" y="352"/>
                  <a:pt x="1735" y="350"/>
                </a:cubicBezTo>
                <a:cubicBezTo>
                  <a:pt x="1732" y="349"/>
                  <a:pt x="1730" y="346"/>
                  <a:pt x="1727" y="345"/>
                </a:cubicBezTo>
                <a:cubicBezTo>
                  <a:pt x="1723" y="343"/>
                  <a:pt x="1720" y="343"/>
                  <a:pt x="1717" y="341"/>
                </a:cubicBezTo>
                <a:cubicBezTo>
                  <a:pt x="1714" y="340"/>
                  <a:pt x="1711" y="339"/>
                  <a:pt x="1708" y="339"/>
                </a:cubicBezTo>
                <a:cubicBezTo>
                  <a:pt x="1706" y="339"/>
                  <a:pt x="1705" y="339"/>
                  <a:pt x="1703" y="338"/>
                </a:cubicBezTo>
                <a:cubicBezTo>
                  <a:pt x="1702" y="338"/>
                  <a:pt x="1700" y="337"/>
                  <a:pt x="1699" y="337"/>
                </a:cubicBezTo>
                <a:cubicBezTo>
                  <a:pt x="1697" y="337"/>
                  <a:pt x="1695" y="337"/>
                  <a:pt x="1694" y="336"/>
                </a:cubicBezTo>
                <a:cubicBezTo>
                  <a:pt x="1692" y="336"/>
                  <a:pt x="1691" y="336"/>
                  <a:pt x="1689" y="335"/>
                </a:cubicBezTo>
                <a:cubicBezTo>
                  <a:pt x="1686" y="334"/>
                  <a:pt x="1684" y="333"/>
                  <a:pt x="1681" y="334"/>
                </a:cubicBezTo>
                <a:cubicBezTo>
                  <a:pt x="1680" y="334"/>
                  <a:pt x="1679" y="334"/>
                  <a:pt x="1678" y="335"/>
                </a:cubicBezTo>
                <a:cubicBezTo>
                  <a:pt x="1677" y="335"/>
                  <a:pt x="1676" y="335"/>
                  <a:pt x="1675" y="336"/>
                </a:cubicBezTo>
                <a:cubicBezTo>
                  <a:pt x="1674" y="337"/>
                  <a:pt x="1673" y="337"/>
                  <a:pt x="1671" y="337"/>
                </a:cubicBezTo>
                <a:cubicBezTo>
                  <a:pt x="1670" y="337"/>
                  <a:pt x="1669" y="338"/>
                  <a:pt x="1667" y="339"/>
                </a:cubicBezTo>
                <a:cubicBezTo>
                  <a:pt x="1665" y="340"/>
                  <a:pt x="1661" y="339"/>
                  <a:pt x="1660" y="343"/>
                </a:cubicBezTo>
                <a:cubicBezTo>
                  <a:pt x="1660" y="344"/>
                  <a:pt x="1659" y="345"/>
                  <a:pt x="1661" y="346"/>
                </a:cubicBezTo>
                <a:cubicBezTo>
                  <a:pt x="1662" y="346"/>
                  <a:pt x="1664" y="346"/>
                  <a:pt x="1665" y="345"/>
                </a:cubicBezTo>
                <a:cubicBezTo>
                  <a:pt x="1667" y="344"/>
                  <a:pt x="1668" y="344"/>
                  <a:pt x="1669" y="344"/>
                </a:cubicBezTo>
                <a:cubicBezTo>
                  <a:pt x="1672" y="344"/>
                  <a:pt x="1675" y="346"/>
                  <a:pt x="1675" y="349"/>
                </a:cubicBezTo>
                <a:cubicBezTo>
                  <a:pt x="1675" y="351"/>
                  <a:pt x="1674" y="352"/>
                  <a:pt x="1673" y="353"/>
                </a:cubicBezTo>
                <a:cubicBezTo>
                  <a:pt x="1672" y="353"/>
                  <a:pt x="1671" y="353"/>
                  <a:pt x="1671" y="353"/>
                </a:cubicBezTo>
                <a:cubicBezTo>
                  <a:pt x="1670" y="353"/>
                  <a:pt x="1669" y="353"/>
                  <a:pt x="1669" y="354"/>
                </a:cubicBezTo>
                <a:cubicBezTo>
                  <a:pt x="1667" y="354"/>
                  <a:pt x="1666" y="355"/>
                  <a:pt x="1664" y="354"/>
                </a:cubicBezTo>
                <a:cubicBezTo>
                  <a:pt x="1663" y="354"/>
                  <a:pt x="1662" y="353"/>
                  <a:pt x="1661" y="352"/>
                </a:cubicBezTo>
                <a:cubicBezTo>
                  <a:pt x="1660" y="352"/>
                  <a:pt x="1660" y="352"/>
                  <a:pt x="1659" y="351"/>
                </a:cubicBezTo>
                <a:cubicBezTo>
                  <a:pt x="1658" y="351"/>
                  <a:pt x="1658" y="350"/>
                  <a:pt x="1657" y="350"/>
                </a:cubicBezTo>
                <a:cubicBezTo>
                  <a:pt x="1656" y="349"/>
                  <a:pt x="1655" y="348"/>
                  <a:pt x="1654" y="348"/>
                </a:cubicBezTo>
                <a:cubicBezTo>
                  <a:pt x="1653" y="348"/>
                  <a:pt x="1652" y="349"/>
                  <a:pt x="1650" y="349"/>
                </a:cubicBezTo>
                <a:cubicBezTo>
                  <a:pt x="1649" y="349"/>
                  <a:pt x="1647" y="349"/>
                  <a:pt x="1645" y="349"/>
                </a:cubicBezTo>
                <a:cubicBezTo>
                  <a:pt x="1643" y="349"/>
                  <a:pt x="1642" y="350"/>
                  <a:pt x="1641" y="350"/>
                </a:cubicBezTo>
                <a:cubicBezTo>
                  <a:pt x="1639" y="350"/>
                  <a:pt x="1637" y="351"/>
                  <a:pt x="1636" y="351"/>
                </a:cubicBezTo>
                <a:cubicBezTo>
                  <a:pt x="1635" y="351"/>
                  <a:pt x="1631" y="350"/>
                  <a:pt x="1632" y="352"/>
                </a:cubicBezTo>
                <a:cubicBezTo>
                  <a:pt x="1633" y="352"/>
                  <a:pt x="1634" y="352"/>
                  <a:pt x="1634" y="353"/>
                </a:cubicBezTo>
                <a:cubicBezTo>
                  <a:pt x="1635" y="353"/>
                  <a:pt x="1635" y="354"/>
                  <a:pt x="1635" y="355"/>
                </a:cubicBezTo>
                <a:cubicBezTo>
                  <a:pt x="1636" y="356"/>
                  <a:pt x="1636" y="358"/>
                  <a:pt x="1637" y="359"/>
                </a:cubicBezTo>
                <a:cubicBezTo>
                  <a:pt x="1637" y="359"/>
                  <a:pt x="1638" y="360"/>
                  <a:pt x="1638" y="361"/>
                </a:cubicBezTo>
                <a:cubicBezTo>
                  <a:pt x="1638" y="362"/>
                  <a:pt x="1638" y="362"/>
                  <a:pt x="1638" y="363"/>
                </a:cubicBezTo>
                <a:cubicBezTo>
                  <a:pt x="1639" y="365"/>
                  <a:pt x="1640" y="365"/>
                  <a:pt x="1642" y="365"/>
                </a:cubicBezTo>
                <a:cubicBezTo>
                  <a:pt x="1642" y="365"/>
                  <a:pt x="1643" y="365"/>
                  <a:pt x="1644" y="366"/>
                </a:cubicBezTo>
                <a:cubicBezTo>
                  <a:pt x="1645" y="366"/>
                  <a:pt x="1646" y="367"/>
                  <a:pt x="1646" y="367"/>
                </a:cubicBezTo>
                <a:cubicBezTo>
                  <a:pt x="1648" y="369"/>
                  <a:pt x="1649" y="369"/>
                  <a:pt x="1651" y="369"/>
                </a:cubicBezTo>
                <a:cubicBezTo>
                  <a:pt x="1652" y="369"/>
                  <a:pt x="1653" y="369"/>
                  <a:pt x="1654" y="369"/>
                </a:cubicBezTo>
                <a:cubicBezTo>
                  <a:pt x="1655" y="369"/>
                  <a:pt x="1655" y="370"/>
                  <a:pt x="1656" y="370"/>
                </a:cubicBezTo>
                <a:cubicBezTo>
                  <a:pt x="1657" y="371"/>
                  <a:pt x="1658" y="372"/>
                  <a:pt x="1660" y="373"/>
                </a:cubicBezTo>
                <a:cubicBezTo>
                  <a:pt x="1660" y="373"/>
                  <a:pt x="1661" y="373"/>
                  <a:pt x="1661" y="373"/>
                </a:cubicBezTo>
                <a:cubicBezTo>
                  <a:pt x="1662" y="373"/>
                  <a:pt x="1662" y="372"/>
                  <a:pt x="1663" y="372"/>
                </a:cubicBezTo>
                <a:cubicBezTo>
                  <a:pt x="1664" y="373"/>
                  <a:pt x="1664" y="373"/>
                  <a:pt x="1664" y="374"/>
                </a:cubicBezTo>
                <a:cubicBezTo>
                  <a:pt x="1666" y="375"/>
                  <a:pt x="1667" y="374"/>
                  <a:pt x="1669" y="373"/>
                </a:cubicBezTo>
                <a:cubicBezTo>
                  <a:pt x="1669" y="373"/>
                  <a:pt x="1670" y="373"/>
                  <a:pt x="1670" y="372"/>
                </a:cubicBezTo>
                <a:cubicBezTo>
                  <a:pt x="1671" y="372"/>
                  <a:pt x="1671" y="371"/>
                  <a:pt x="1672" y="372"/>
                </a:cubicBezTo>
                <a:cubicBezTo>
                  <a:pt x="1673" y="372"/>
                  <a:pt x="1670" y="375"/>
                  <a:pt x="1672" y="375"/>
                </a:cubicBezTo>
                <a:cubicBezTo>
                  <a:pt x="1673" y="375"/>
                  <a:pt x="1673" y="374"/>
                  <a:pt x="1674" y="374"/>
                </a:cubicBezTo>
                <a:cubicBezTo>
                  <a:pt x="1675" y="374"/>
                  <a:pt x="1676" y="375"/>
                  <a:pt x="1676" y="375"/>
                </a:cubicBezTo>
                <a:cubicBezTo>
                  <a:pt x="1677" y="375"/>
                  <a:pt x="1678" y="375"/>
                  <a:pt x="1679" y="376"/>
                </a:cubicBezTo>
                <a:cubicBezTo>
                  <a:pt x="1679" y="377"/>
                  <a:pt x="1677" y="379"/>
                  <a:pt x="1677" y="380"/>
                </a:cubicBezTo>
                <a:cubicBezTo>
                  <a:pt x="1678" y="381"/>
                  <a:pt x="1679" y="382"/>
                  <a:pt x="1679" y="382"/>
                </a:cubicBezTo>
                <a:cubicBezTo>
                  <a:pt x="1680" y="383"/>
                  <a:pt x="1680" y="383"/>
                  <a:pt x="1680" y="383"/>
                </a:cubicBezTo>
                <a:cubicBezTo>
                  <a:pt x="1681" y="383"/>
                  <a:pt x="1681" y="383"/>
                  <a:pt x="1681" y="382"/>
                </a:cubicBezTo>
                <a:cubicBezTo>
                  <a:pt x="1682" y="382"/>
                  <a:pt x="1683" y="381"/>
                  <a:pt x="1683" y="382"/>
                </a:cubicBezTo>
                <a:cubicBezTo>
                  <a:pt x="1683" y="383"/>
                  <a:pt x="1682" y="383"/>
                  <a:pt x="1682" y="384"/>
                </a:cubicBezTo>
                <a:cubicBezTo>
                  <a:pt x="1682" y="384"/>
                  <a:pt x="1682" y="385"/>
                  <a:pt x="1682" y="386"/>
                </a:cubicBezTo>
                <a:cubicBezTo>
                  <a:pt x="1682" y="386"/>
                  <a:pt x="1681" y="386"/>
                  <a:pt x="1681" y="387"/>
                </a:cubicBezTo>
                <a:cubicBezTo>
                  <a:pt x="1682" y="387"/>
                  <a:pt x="1683" y="387"/>
                  <a:pt x="1683" y="387"/>
                </a:cubicBezTo>
                <a:cubicBezTo>
                  <a:pt x="1684" y="386"/>
                  <a:pt x="1684" y="386"/>
                  <a:pt x="1685" y="386"/>
                </a:cubicBezTo>
                <a:cubicBezTo>
                  <a:pt x="1685" y="386"/>
                  <a:pt x="1686" y="386"/>
                  <a:pt x="1686" y="387"/>
                </a:cubicBezTo>
                <a:cubicBezTo>
                  <a:pt x="1686" y="387"/>
                  <a:pt x="1686" y="387"/>
                  <a:pt x="1685" y="387"/>
                </a:cubicBezTo>
                <a:cubicBezTo>
                  <a:pt x="1685" y="387"/>
                  <a:pt x="1684" y="387"/>
                  <a:pt x="1684" y="388"/>
                </a:cubicBezTo>
                <a:cubicBezTo>
                  <a:pt x="1683" y="389"/>
                  <a:pt x="1681" y="389"/>
                  <a:pt x="1680" y="388"/>
                </a:cubicBezTo>
                <a:cubicBezTo>
                  <a:pt x="1679" y="387"/>
                  <a:pt x="1679" y="386"/>
                  <a:pt x="1677" y="386"/>
                </a:cubicBezTo>
                <a:cubicBezTo>
                  <a:pt x="1676" y="386"/>
                  <a:pt x="1674" y="386"/>
                  <a:pt x="1673" y="386"/>
                </a:cubicBezTo>
                <a:cubicBezTo>
                  <a:pt x="1672" y="385"/>
                  <a:pt x="1672" y="385"/>
                  <a:pt x="1671" y="384"/>
                </a:cubicBezTo>
                <a:cubicBezTo>
                  <a:pt x="1671" y="384"/>
                  <a:pt x="1670" y="384"/>
                  <a:pt x="1670" y="383"/>
                </a:cubicBezTo>
                <a:cubicBezTo>
                  <a:pt x="1670" y="382"/>
                  <a:pt x="1670" y="381"/>
                  <a:pt x="1670" y="380"/>
                </a:cubicBezTo>
                <a:cubicBezTo>
                  <a:pt x="1669" y="379"/>
                  <a:pt x="1668" y="379"/>
                  <a:pt x="1667" y="379"/>
                </a:cubicBezTo>
                <a:cubicBezTo>
                  <a:pt x="1665" y="378"/>
                  <a:pt x="1663" y="378"/>
                  <a:pt x="1661" y="378"/>
                </a:cubicBezTo>
                <a:cubicBezTo>
                  <a:pt x="1659" y="378"/>
                  <a:pt x="1657" y="379"/>
                  <a:pt x="1655" y="378"/>
                </a:cubicBezTo>
                <a:cubicBezTo>
                  <a:pt x="1654" y="378"/>
                  <a:pt x="1654" y="378"/>
                  <a:pt x="1653" y="379"/>
                </a:cubicBezTo>
                <a:cubicBezTo>
                  <a:pt x="1653" y="379"/>
                  <a:pt x="1652" y="380"/>
                  <a:pt x="1652" y="380"/>
                </a:cubicBezTo>
                <a:cubicBezTo>
                  <a:pt x="1651" y="380"/>
                  <a:pt x="1650" y="380"/>
                  <a:pt x="1650" y="379"/>
                </a:cubicBezTo>
                <a:cubicBezTo>
                  <a:pt x="1650" y="379"/>
                  <a:pt x="1652" y="378"/>
                  <a:pt x="1651" y="378"/>
                </a:cubicBezTo>
                <a:cubicBezTo>
                  <a:pt x="1650" y="377"/>
                  <a:pt x="1649" y="378"/>
                  <a:pt x="1649" y="378"/>
                </a:cubicBezTo>
                <a:cubicBezTo>
                  <a:pt x="1648" y="378"/>
                  <a:pt x="1648" y="377"/>
                  <a:pt x="1647" y="377"/>
                </a:cubicBezTo>
                <a:cubicBezTo>
                  <a:pt x="1646" y="377"/>
                  <a:pt x="1644" y="376"/>
                  <a:pt x="1643" y="376"/>
                </a:cubicBezTo>
                <a:cubicBezTo>
                  <a:pt x="1641" y="376"/>
                  <a:pt x="1639" y="376"/>
                  <a:pt x="1638" y="376"/>
                </a:cubicBezTo>
                <a:cubicBezTo>
                  <a:pt x="1636" y="377"/>
                  <a:pt x="1635" y="377"/>
                  <a:pt x="1634" y="376"/>
                </a:cubicBezTo>
                <a:cubicBezTo>
                  <a:pt x="1632" y="375"/>
                  <a:pt x="1631" y="375"/>
                  <a:pt x="1629" y="374"/>
                </a:cubicBezTo>
                <a:cubicBezTo>
                  <a:pt x="1629" y="374"/>
                  <a:pt x="1628" y="374"/>
                  <a:pt x="1628" y="374"/>
                </a:cubicBezTo>
                <a:cubicBezTo>
                  <a:pt x="1627" y="374"/>
                  <a:pt x="1627" y="374"/>
                  <a:pt x="1626" y="374"/>
                </a:cubicBezTo>
                <a:cubicBezTo>
                  <a:pt x="1625" y="374"/>
                  <a:pt x="1625" y="374"/>
                  <a:pt x="1624" y="373"/>
                </a:cubicBezTo>
                <a:cubicBezTo>
                  <a:pt x="1623" y="373"/>
                  <a:pt x="1621" y="373"/>
                  <a:pt x="1619" y="372"/>
                </a:cubicBezTo>
                <a:cubicBezTo>
                  <a:pt x="1619" y="371"/>
                  <a:pt x="1618" y="368"/>
                  <a:pt x="1619" y="368"/>
                </a:cubicBezTo>
                <a:cubicBezTo>
                  <a:pt x="1620" y="367"/>
                  <a:pt x="1621" y="370"/>
                  <a:pt x="1622" y="369"/>
                </a:cubicBezTo>
                <a:cubicBezTo>
                  <a:pt x="1623" y="368"/>
                  <a:pt x="1622" y="367"/>
                  <a:pt x="1622" y="367"/>
                </a:cubicBezTo>
                <a:cubicBezTo>
                  <a:pt x="1623" y="366"/>
                  <a:pt x="1623" y="366"/>
                  <a:pt x="1624" y="366"/>
                </a:cubicBezTo>
                <a:cubicBezTo>
                  <a:pt x="1626" y="364"/>
                  <a:pt x="1623" y="364"/>
                  <a:pt x="1622" y="363"/>
                </a:cubicBezTo>
                <a:cubicBezTo>
                  <a:pt x="1621" y="362"/>
                  <a:pt x="1623" y="361"/>
                  <a:pt x="1623" y="360"/>
                </a:cubicBezTo>
                <a:cubicBezTo>
                  <a:pt x="1622" y="360"/>
                  <a:pt x="1621" y="359"/>
                  <a:pt x="1621" y="359"/>
                </a:cubicBezTo>
                <a:cubicBezTo>
                  <a:pt x="1621" y="358"/>
                  <a:pt x="1620" y="358"/>
                  <a:pt x="1620" y="357"/>
                </a:cubicBezTo>
                <a:cubicBezTo>
                  <a:pt x="1618" y="356"/>
                  <a:pt x="1618" y="355"/>
                  <a:pt x="1618" y="353"/>
                </a:cubicBezTo>
                <a:cubicBezTo>
                  <a:pt x="1618" y="351"/>
                  <a:pt x="1619" y="350"/>
                  <a:pt x="1621" y="349"/>
                </a:cubicBezTo>
                <a:cubicBezTo>
                  <a:pt x="1621" y="349"/>
                  <a:pt x="1622" y="349"/>
                  <a:pt x="1622" y="348"/>
                </a:cubicBezTo>
                <a:cubicBezTo>
                  <a:pt x="1622" y="348"/>
                  <a:pt x="1622" y="347"/>
                  <a:pt x="1623" y="346"/>
                </a:cubicBezTo>
                <a:cubicBezTo>
                  <a:pt x="1623" y="346"/>
                  <a:pt x="1624" y="345"/>
                  <a:pt x="1624" y="344"/>
                </a:cubicBezTo>
                <a:cubicBezTo>
                  <a:pt x="1624" y="344"/>
                  <a:pt x="1624" y="343"/>
                  <a:pt x="1624" y="342"/>
                </a:cubicBezTo>
                <a:cubicBezTo>
                  <a:pt x="1624" y="341"/>
                  <a:pt x="1625" y="341"/>
                  <a:pt x="1625" y="340"/>
                </a:cubicBezTo>
                <a:cubicBezTo>
                  <a:pt x="1626" y="340"/>
                  <a:pt x="1626" y="340"/>
                  <a:pt x="1627" y="339"/>
                </a:cubicBezTo>
                <a:cubicBezTo>
                  <a:pt x="1629" y="338"/>
                  <a:pt x="1627" y="337"/>
                  <a:pt x="1627" y="336"/>
                </a:cubicBezTo>
                <a:cubicBezTo>
                  <a:pt x="1626" y="334"/>
                  <a:pt x="1626" y="333"/>
                  <a:pt x="1625" y="331"/>
                </a:cubicBezTo>
                <a:cubicBezTo>
                  <a:pt x="1624" y="329"/>
                  <a:pt x="1623" y="327"/>
                  <a:pt x="1622" y="325"/>
                </a:cubicBezTo>
                <a:cubicBezTo>
                  <a:pt x="1621" y="324"/>
                  <a:pt x="1620" y="323"/>
                  <a:pt x="1619" y="322"/>
                </a:cubicBezTo>
                <a:cubicBezTo>
                  <a:pt x="1618" y="321"/>
                  <a:pt x="1617" y="320"/>
                  <a:pt x="1616" y="319"/>
                </a:cubicBezTo>
                <a:cubicBezTo>
                  <a:pt x="1615" y="318"/>
                  <a:pt x="1614" y="316"/>
                  <a:pt x="1613" y="316"/>
                </a:cubicBezTo>
                <a:cubicBezTo>
                  <a:pt x="1611" y="315"/>
                  <a:pt x="1611" y="317"/>
                  <a:pt x="1609" y="317"/>
                </a:cubicBezTo>
                <a:cubicBezTo>
                  <a:pt x="1609" y="318"/>
                  <a:pt x="1608" y="318"/>
                  <a:pt x="1608" y="319"/>
                </a:cubicBezTo>
                <a:cubicBezTo>
                  <a:pt x="1608" y="319"/>
                  <a:pt x="1609" y="319"/>
                  <a:pt x="1609" y="320"/>
                </a:cubicBezTo>
                <a:cubicBezTo>
                  <a:pt x="1611" y="320"/>
                  <a:pt x="1611" y="321"/>
                  <a:pt x="1612" y="323"/>
                </a:cubicBezTo>
                <a:cubicBezTo>
                  <a:pt x="1613" y="324"/>
                  <a:pt x="1614" y="325"/>
                  <a:pt x="1615" y="327"/>
                </a:cubicBezTo>
                <a:cubicBezTo>
                  <a:pt x="1615" y="329"/>
                  <a:pt x="1615" y="331"/>
                  <a:pt x="1615" y="333"/>
                </a:cubicBezTo>
                <a:cubicBezTo>
                  <a:pt x="1615" y="336"/>
                  <a:pt x="1615" y="338"/>
                  <a:pt x="1614" y="340"/>
                </a:cubicBezTo>
                <a:cubicBezTo>
                  <a:pt x="1614" y="342"/>
                  <a:pt x="1613" y="343"/>
                  <a:pt x="1612" y="344"/>
                </a:cubicBezTo>
                <a:cubicBezTo>
                  <a:pt x="1610" y="345"/>
                  <a:pt x="1608" y="346"/>
                  <a:pt x="1607" y="347"/>
                </a:cubicBezTo>
                <a:cubicBezTo>
                  <a:pt x="1605" y="348"/>
                  <a:pt x="1602" y="348"/>
                  <a:pt x="1601" y="348"/>
                </a:cubicBezTo>
                <a:cubicBezTo>
                  <a:pt x="1599" y="349"/>
                  <a:pt x="1597" y="350"/>
                  <a:pt x="1595" y="351"/>
                </a:cubicBezTo>
                <a:cubicBezTo>
                  <a:pt x="1592" y="352"/>
                  <a:pt x="1589" y="352"/>
                  <a:pt x="1586" y="354"/>
                </a:cubicBezTo>
                <a:cubicBezTo>
                  <a:pt x="1585" y="354"/>
                  <a:pt x="1584" y="355"/>
                  <a:pt x="1583" y="356"/>
                </a:cubicBezTo>
                <a:cubicBezTo>
                  <a:pt x="1583" y="357"/>
                  <a:pt x="1584" y="358"/>
                  <a:pt x="1584" y="360"/>
                </a:cubicBezTo>
                <a:cubicBezTo>
                  <a:pt x="1583" y="360"/>
                  <a:pt x="1583" y="361"/>
                  <a:pt x="1582" y="361"/>
                </a:cubicBezTo>
                <a:cubicBezTo>
                  <a:pt x="1581" y="362"/>
                  <a:pt x="1580" y="363"/>
                  <a:pt x="1579" y="364"/>
                </a:cubicBezTo>
                <a:cubicBezTo>
                  <a:pt x="1578" y="366"/>
                  <a:pt x="1577" y="366"/>
                  <a:pt x="1576" y="367"/>
                </a:cubicBezTo>
                <a:cubicBezTo>
                  <a:pt x="1575" y="368"/>
                  <a:pt x="1573" y="370"/>
                  <a:pt x="1575" y="370"/>
                </a:cubicBezTo>
                <a:cubicBezTo>
                  <a:pt x="1577" y="370"/>
                  <a:pt x="1578" y="371"/>
                  <a:pt x="1579" y="372"/>
                </a:cubicBezTo>
                <a:cubicBezTo>
                  <a:pt x="1581" y="372"/>
                  <a:pt x="1582" y="373"/>
                  <a:pt x="1583" y="374"/>
                </a:cubicBezTo>
                <a:cubicBezTo>
                  <a:pt x="1584" y="375"/>
                  <a:pt x="1585" y="376"/>
                  <a:pt x="1586" y="377"/>
                </a:cubicBezTo>
                <a:cubicBezTo>
                  <a:pt x="1587" y="379"/>
                  <a:pt x="1587" y="381"/>
                  <a:pt x="1588" y="382"/>
                </a:cubicBezTo>
                <a:cubicBezTo>
                  <a:pt x="1588" y="383"/>
                  <a:pt x="1589" y="384"/>
                  <a:pt x="1590" y="384"/>
                </a:cubicBezTo>
                <a:cubicBezTo>
                  <a:pt x="1591" y="385"/>
                  <a:pt x="1592" y="385"/>
                  <a:pt x="1592" y="387"/>
                </a:cubicBezTo>
                <a:cubicBezTo>
                  <a:pt x="1592" y="388"/>
                  <a:pt x="1592" y="389"/>
                  <a:pt x="1592" y="390"/>
                </a:cubicBezTo>
                <a:cubicBezTo>
                  <a:pt x="1593" y="392"/>
                  <a:pt x="1596" y="393"/>
                  <a:pt x="1598" y="394"/>
                </a:cubicBezTo>
                <a:cubicBezTo>
                  <a:pt x="1599" y="395"/>
                  <a:pt x="1600" y="397"/>
                  <a:pt x="1600" y="398"/>
                </a:cubicBezTo>
                <a:cubicBezTo>
                  <a:pt x="1600" y="401"/>
                  <a:pt x="1597" y="404"/>
                  <a:pt x="1595" y="406"/>
                </a:cubicBezTo>
                <a:cubicBezTo>
                  <a:pt x="1594" y="407"/>
                  <a:pt x="1593" y="408"/>
                  <a:pt x="1592" y="409"/>
                </a:cubicBezTo>
                <a:cubicBezTo>
                  <a:pt x="1591" y="411"/>
                  <a:pt x="1589" y="412"/>
                  <a:pt x="1588" y="413"/>
                </a:cubicBezTo>
                <a:cubicBezTo>
                  <a:pt x="1588" y="413"/>
                  <a:pt x="1587" y="414"/>
                  <a:pt x="1587" y="414"/>
                </a:cubicBezTo>
                <a:cubicBezTo>
                  <a:pt x="1587" y="415"/>
                  <a:pt x="1587" y="415"/>
                  <a:pt x="1588" y="416"/>
                </a:cubicBezTo>
                <a:cubicBezTo>
                  <a:pt x="1589" y="417"/>
                  <a:pt x="1588" y="418"/>
                  <a:pt x="1588" y="420"/>
                </a:cubicBezTo>
                <a:cubicBezTo>
                  <a:pt x="1587" y="421"/>
                  <a:pt x="1586" y="422"/>
                  <a:pt x="1586" y="424"/>
                </a:cubicBezTo>
                <a:cubicBezTo>
                  <a:pt x="1586" y="425"/>
                  <a:pt x="1585" y="426"/>
                  <a:pt x="1584" y="428"/>
                </a:cubicBezTo>
                <a:cubicBezTo>
                  <a:pt x="1584" y="428"/>
                  <a:pt x="1584" y="429"/>
                  <a:pt x="1584" y="430"/>
                </a:cubicBezTo>
                <a:cubicBezTo>
                  <a:pt x="1584" y="431"/>
                  <a:pt x="1585" y="431"/>
                  <a:pt x="1585" y="432"/>
                </a:cubicBezTo>
                <a:cubicBezTo>
                  <a:pt x="1587" y="432"/>
                  <a:pt x="1587" y="434"/>
                  <a:pt x="1588" y="435"/>
                </a:cubicBezTo>
                <a:cubicBezTo>
                  <a:pt x="1589" y="437"/>
                  <a:pt x="1591" y="438"/>
                  <a:pt x="1591" y="440"/>
                </a:cubicBezTo>
                <a:cubicBezTo>
                  <a:pt x="1591" y="442"/>
                  <a:pt x="1590" y="444"/>
                  <a:pt x="1589" y="446"/>
                </a:cubicBezTo>
                <a:cubicBezTo>
                  <a:pt x="1589" y="447"/>
                  <a:pt x="1588" y="449"/>
                  <a:pt x="1589" y="450"/>
                </a:cubicBezTo>
                <a:cubicBezTo>
                  <a:pt x="1590" y="450"/>
                  <a:pt x="1591" y="451"/>
                  <a:pt x="1591" y="451"/>
                </a:cubicBezTo>
                <a:cubicBezTo>
                  <a:pt x="1592" y="451"/>
                  <a:pt x="1592" y="452"/>
                  <a:pt x="1592" y="453"/>
                </a:cubicBezTo>
                <a:cubicBezTo>
                  <a:pt x="1594" y="454"/>
                  <a:pt x="1595" y="452"/>
                  <a:pt x="1596" y="451"/>
                </a:cubicBezTo>
                <a:cubicBezTo>
                  <a:pt x="1597" y="450"/>
                  <a:pt x="1598" y="450"/>
                  <a:pt x="1600" y="450"/>
                </a:cubicBezTo>
                <a:cubicBezTo>
                  <a:pt x="1600" y="450"/>
                  <a:pt x="1601" y="450"/>
                  <a:pt x="1602" y="450"/>
                </a:cubicBezTo>
                <a:cubicBezTo>
                  <a:pt x="1603" y="450"/>
                  <a:pt x="1603" y="451"/>
                  <a:pt x="1604" y="451"/>
                </a:cubicBezTo>
                <a:cubicBezTo>
                  <a:pt x="1605" y="452"/>
                  <a:pt x="1607" y="452"/>
                  <a:pt x="1608" y="452"/>
                </a:cubicBezTo>
                <a:cubicBezTo>
                  <a:pt x="1611" y="452"/>
                  <a:pt x="1613" y="453"/>
                  <a:pt x="1615" y="451"/>
                </a:cubicBezTo>
                <a:cubicBezTo>
                  <a:pt x="1617" y="450"/>
                  <a:pt x="1617" y="449"/>
                  <a:pt x="1619" y="448"/>
                </a:cubicBezTo>
                <a:cubicBezTo>
                  <a:pt x="1620" y="448"/>
                  <a:pt x="1622" y="447"/>
                  <a:pt x="1623" y="447"/>
                </a:cubicBezTo>
                <a:cubicBezTo>
                  <a:pt x="1625" y="446"/>
                  <a:pt x="1627" y="446"/>
                  <a:pt x="1629" y="446"/>
                </a:cubicBezTo>
                <a:cubicBezTo>
                  <a:pt x="1630" y="446"/>
                  <a:pt x="1632" y="447"/>
                  <a:pt x="1634" y="447"/>
                </a:cubicBezTo>
                <a:cubicBezTo>
                  <a:pt x="1636" y="447"/>
                  <a:pt x="1637" y="448"/>
                  <a:pt x="1638" y="449"/>
                </a:cubicBezTo>
                <a:cubicBezTo>
                  <a:pt x="1640" y="450"/>
                  <a:pt x="1641" y="450"/>
                  <a:pt x="1642" y="450"/>
                </a:cubicBezTo>
                <a:cubicBezTo>
                  <a:pt x="1644" y="450"/>
                  <a:pt x="1645" y="450"/>
                  <a:pt x="1647" y="451"/>
                </a:cubicBezTo>
                <a:cubicBezTo>
                  <a:pt x="1648" y="451"/>
                  <a:pt x="1649" y="453"/>
                  <a:pt x="1650" y="454"/>
                </a:cubicBezTo>
                <a:cubicBezTo>
                  <a:pt x="1651" y="455"/>
                  <a:pt x="1652" y="455"/>
                  <a:pt x="1654" y="455"/>
                </a:cubicBezTo>
                <a:cubicBezTo>
                  <a:pt x="1655" y="455"/>
                  <a:pt x="1657" y="455"/>
                  <a:pt x="1658" y="456"/>
                </a:cubicBezTo>
                <a:cubicBezTo>
                  <a:pt x="1659" y="457"/>
                  <a:pt x="1660" y="458"/>
                  <a:pt x="1661" y="458"/>
                </a:cubicBezTo>
                <a:cubicBezTo>
                  <a:pt x="1663" y="458"/>
                  <a:pt x="1664" y="458"/>
                  <a:pt x="1665" y="459"/>
                </a:cubicBezTo>
                <a:cubicBezTo>
                  <a:pt x="1666" y="461"/>
                  <a:pt x="1666" y="462"/>
                  <a:pt x="1666" y="464"/>
                </a:cubicBezTo>
                <a:cubicBezTo>
                  <a:pt x="1665" y="466"/>
                  <a:pt x="1666" y="467"/>
                  <a:pt x="1667" y="469"/>
                </a:cubicBezTo>
                <a:cubicBezTo>
                  <a:pt x="1667" y="470"/>
                  <a:pt x="1668" y="471"/>
                  <a:pt x="1668" y="472"/>
                </a:cubicBezTo>
                <a:cubicBezTo>
                  <a:pt x="1669" y="472"/>
                  <a:pt x="1670" y="473"/>
                  <a:pt x="1671" y="474"/>
                </a:cubicBezTo>
                <a:cubicBezTo>
                  <a:pt x="1671" y="475"/>
                  <a:pt x="1671" y="475"/>
                  <a:pt x="1671" y="476"/>
                </a:cubicBezTo>
                <a:cubicBezTo>
                  <a:pt x="1672" y="477"/>
                  <a:pt x="1672" y="477"/>
                  <a:pt x="1673" y="477"/>
                </a:cubicBezTo>
                <a:cubicBezTo>
                  <a:pt x="1674" y="478"/>
                  <a:pt x="1676" y="479"/>
                  <a:pt x="1674" y="480"/>
                </a:cubicBezTo>
                <a:cubicBezTo>
                  <a:pt x="1674" y="481"/>
                  <a:pt x="1671" y="481"/>
                  <a:pt x="1670" y="481"/>
                </a:cubicBezTo>
                <a:cubicBezTo>
                  <a:pt x="1669" y="481"/>
                  <a:pt x="1667" y="481"/>
                  <a:pt x="1666" y="482"/>
                </a:cubicBezTo>
                <a:cubicBezTo>
                  <a:pt x="1665" y="483"/>
                  <a:pt x="1664" y="484"/>
                  <a:pt x="1663" y="485"/>
                </a:cubicBezTo>
                <a:cubicBezTo>
                  <a:pt x="1662" y="486"/>
                  <a:pt x="1662" y="488"/>
                  <a:pt x="1662" y="489"/>
                </a:cubicBezTo>
                <a:cubicBezTo>
                  <a:pt x="1662" y="490"/>
                  <a:pt x="1662" y="490"/>
                  <a:pt x="1663" y="491"/>
                </a:cubicBezTo>
                <a:cubicBezTo>
                  <a:pt x="1664" y="491"/>
                  <a:pt x="1664" y="491"/>
                  <a:pt x="1664" y="492"/>
                </a:cubicBezTo>
                <a:cubicBezTo>
                  <a:pt x="1664" y="493"/>
                  <a:pt x="1663" y="493"/>
                  <a:pt x="1663" y="494"/>
                </a:cubicBezTo>
                <a:cubicBezTo>
                  <a:pt x="1662" y="494"/>
                  <a:pt x="1662" y="495"/>
                  <a:pt x="1662" y="495"/>
                </a:cubicBezTo>
                <a:cubicBezTo>
                  <a:pt x="1662" y="496"/>
                  <a:pt x="1661" y="497"/>
                  <a:pt x="1662" y="497"/>
                </a:cubicBezTo>
                <a:cubicBezTo>
                  <a:pt x="1662" y="498"/>
                  <a:pt x="1663" y="498"/>
                  <a:pt x="1663" y="498"/>
                </a:cubicBezTo>
                <a:cubicBezTo>
                  <a:pt x="1665" y="498"/>
                  <a:pt x="1666" y="500"/>
                  <a:pt x="1667" y="499"/>
                </a:cubicBezTo>
                <a:cubicBezTo>
                  <a:pt x="1668" y="498"/>
                  <a:pt x="1668" y="497"/>
                  <a:pt x="1669" y="498"/>
                </a:cubicBezTo>
                <a:cubicBezTo>
                  <a:pt x="1670" y="498"/>
                  <a:pt x="1670" y="498"/>
                  <a:pt x="1670" y="499"/>
                </a:cubicBezTo>
                <a:cubicBezTo>
                  <a:pt x="1671" y="500"/>
                  <a:pt x="1672" y="500"/>
                  <a:pt x="1673" y="500"/>
                </a:cubicBezTo>
                <a:cubicBezTo>
                  <a:pt x="1675" y="500"/>
                  <a:pt x="1676" y="501"/>
                  <a:pt x="1677" y="501"/>
                </a:cubicBezTo>
                <a:cubicBezTo>
                  <a:pt x="1678" y="501"/>
                  <a:pt x="1678" y="500"/>
                  <a:pt x="1679" y="500"/>
                </a:cubicBezTo>
                <a:cubicBezTo>
                  <a:pt x="1680" y="500"/>
                  <a:pt x="1680" y="501"/>
                  <a:pt x="1681" y="501"/>
                </a:cubicBezTo>
                <a:cubicBezTo>
                  <a:pt x="1682" y="501"/>
                  <a:pt x="1682" y="500"/>
                  <a:pt x="1683" y="500"/>
                </a:cubicBezTo>
                <a:cubicBezTo>
                  <a:pt x="1684" y="500"/>
                  <a:pt x="1684" y="501"/>
                  <a:pt x="1683" y="502"/>
                </a:cubicBezTo>
                <a:cubicBezTo>
                  <a:pt x="1683" y="502"/>
                  <a:pt x="1683" y="502"/>
                  <a:pt x="1682" y="502"/>
                </a:cubicBezTo>
                <a:cubicBezTo>
                  <a:pt x="1682" y="503"/>
                  <a:pt x="1684" y="503"/>
                  <a:pt x="1684" y="503"/>
                </a:cubicBezTo>
                <a:cubicBezTo>
                  <a:pt x="1685" y="503"/>
                  <a:pt x="1686" y="502"/>
                  <a:pt x="1687" y="502"/>
                </a:cubicBezTo>
                <a:cubicBezTo>
                  <a:pt x="1689" y="501"/>
                  <a:pt x="1690" y="503"/>
                  <a:pt x="1691" y="503"/>
                </a:cubicBezTo>
                <a:cubicBezTo>
                  <a:pt x="1691" y="504"/>
                  <a:pt x="1689" y="503"/>
                  <a:pt x="1688" y="503"/>
                </a:cubicBezTo>
                <a:cubicBezTo>
                  <a:pt x="1687" y="503"/>
                  <a:pt x="1686" y="503"/>
                  <a:pt x="1685" y="503"/>
                </a:cubicBezTo>
                <a:cubicBezTo>
                  <a:pt x="1684" y="504"/>
                  <a:pt x="1683" y="504"/>
                  <a:pt x="1682" y="504"/>
                </a:cubicBezTo>
                <a:cubicBezTo>
                  <a:pt x="1681" y="504"/>
                  <a:pt x="1681" y="503"/>
                  <a:pt x="1680" y="504"/>
                </a:cubicBezTo>
                <a:cubicBezTo>
                  <a:pt x="1679" y="504"/>
                  <a:pt x="1678" y="504"/>
                  <a:pt x="1677" y="504"/>
                </a:cubicBezTo>
                <a:cubicBezTo>
                  <a:pt x="1677" y="504"/>
                  <a:pt x="1676" y="504"/>
                  <a:pt x="1675" y="503"/>
                </a:cubicBezTo>
                <a:cubicBezTo>
                  <a:pt x="1673" y="503"/>
                  <a:pt x="1673" y="504"/>
                  <a:pt x="1671" y="504"/>
                </a:cubicBezTo>
                <a:cubicBezTo>
                  <a:pt x="1670" y="505"/>
                  <a:pt x="1668" y="505"/>
                  <a:pt x="1667" y="504"/>
                </a:cubicBezTo>
                <a:cubicBezTo>
                  <a:pt x="1666" y="504"/>
                  <a:pt x="1665" y="503"/>
                  <a:pt x="1664" y="502"/>
                </a:cubicBezTo>
                <a:cubicBezTo>
                  <a:pt x="1663" y="501"/>
                  <a:pt x="1662" y="501"/>
                  <a:pt x="1661" y="500"/>
                </a:cubicBezTo>
                <a:cubicBezTo>
                  <a:pt x="1660" y="499"/>
                  <a:pt x="1660" y="498"/>
                  <a:pt x="1659" y="498"/>
                </a:cubicBezTo>
                <a:cubicBezTo>
                  <a:pt x="1658" y="497"/>
                  <a:pt x="1657" y="497"/>
                  <a:pt x="1656" y="496"/>
                </a:cubicBezTo>
                <a:cubicBezTo>
                  <a:pt x="1656" y="496"/>
                  <a:pt x="1655" y="496"/>
                  <a:pt x="1655" y="496"/>
                </a:cubicBezTo>
                <a:cubicBezTo>
                  <a:pt x="1655" y="495"/>
                  <a:pt x="1654" y="494"/>
                  <a:pt x="1655" y="494"/>
                </a:cubicBezTo>
                <a:cubicBezTo>
                  <a:pt x="1656" y="495"/>
                  <a:pt x="1657" y="496"/>
                  <a:pt x="1658" y="494"/>
                </a:cubicBezTo>
                <a:cubicBezTo>
                  <a:pt x="1658" y="494"/>
                  <a:pt x="1658" y="493"/>
                  <a:pt x="1658" y="493"/>
                </a:cubicBezTo>
                <a:cubicBezTo>
                  <a:pt x="1658" y="493"/>
                  <a:pt x="1658" y="493"/>
                  <a:pt x="1658" y="492"/>
                </a:cubicBezTo>
                <a:cubicBezTo>
                  <a:pt x="1659" y="492"/>
                  <a:pt x="1659" y="491"/>
                  <a:pt x="1658" y="490"/>
                </a:cubicBezTo>
                <a:cubicBezTo>
                  <a:pt x="1658" y="489"/>
                  <a:pt x="1657" y="487"/>
                  <a:pt x="1657" y="486"/>
                </a:cubicBezTo>
                <a:cubicBezTo>
                  <a:pt x="1658" y="484"/>
                  <a:pt x="1659" y="484"/>
                  <a:pt x="1659" y="482"/>
                </a:cubicBezTo>
                <a:cubicBezTo>
                  <a:pt x="1659" y="480"/>
                  <a:pt x="1657" y="480"/>
                  <a:pt x="1656" y="479"/>
                </a:cubicBezTo>
                <a:cubicBezTo>
                  <a:pt x="1656" y="478"/>
                  <a:pt x="1657" y="476"/>
                  <a:pt x="1657" y="475"/>
                </a:cubicBezTo>
                <a:cubicBezTo>
                  <a:pt x="1658" y="473"/>
                  <a:pt x="1659" y="471"/>
                  <a:pt x="1657" y="469"/>
                </a:cubicBezTo>
                <a:cubicBezTo>
                  <a:pt x="1656" y="469"/>
                  <a:pt x="1656" y="469"/>
                  <a:pt x="1655" y="469"/>
                </a:cubicBezTo>
                <a:cubicBezTo>
                  <a:pt x="1655" y="469"/>
                  <a:pt x="1655" y="469"/>
                  <a:pt x="1654" y="468"/>
                </a:cubicBezTo>
                <a:cubicBezTo>
                  <a:pt x="1653" y="468"/>
                  <a:pt x="1652" y="466"/>
                  <a:pt x="1651" y="465"/>
                </a:cubicBezTo>
                <a:cubicBezTo>
                  <a:pt x="1650" y="465"/>
                  <a:pt x="1650" y="464"/>
                  <a:pt x="1649" y="464"/>
                </a:cubicBezTo>
                <a:cubicBezTo>
                  <a:pt x="1649" y="462"/>
                  <a:pt x="1648" y="461"/>
                  <a:pt x="1647" y="460"/>
                </a:cubicBezTo>
                <a:cubicBezTo>
                  <a:pt x="1647" y="459"/>
                  <a:pt x="1646" y="457"/>
                  <a:pt x="1645" y="456"/>
                </a:cubicBezTo>
                <a:cubicBezTo>
                  <a:pt x="1644" y="455"/>
                  <a:pt x="1642" y="455"/>
                  <a:pt x="1641" y="455"/>
                </a:cubicBezTo>
                <a:cubicBezTo>
                  <a:pt x="1638" y="455"/>
                  <a:pt x="1635" y="455"/>
                  <a:pt x="1632" y="456"/>
                </a:cubicBezTo>
                <a:cubicBezTo>
                  <a:pt x="1629" y="457"/>
                  <a:pt x="1625" y="458"/>
                  <a:pt x="1622" y="459"/>
                </a:cubicBezTo>
                <a:cubicBezTo>
                  <a:pt x="1618" y="460"/>
                  <a:pt x="1615" y="462"/>
                  <a:pt x="1611" y="463"/>
                </a:cubicBezTo>
                <a:cubicBezTo>
                  <a:pt x="1610" y="463"/>
                  <a:pt x="1609" y="463"/>
                  <a:pt x="1608" y="463"/>
                </a:cubicBezTo>
                <a:cubicBezTo>
                  <a:pt x="1607" y="463"/>
                  <a:pt x="1607" y="464"/>
                  <a:pt x="1606" y="464"/>
                </a:cubicBezTo>
                <a:cubicBezTo>
                  <a:pt x="1606" y="464"/>
                  <a:pt x="1605" y="464"/>
                  <a:pt x="1605" y="464"/>
                </a:cubicBezTo>
                <a:cubicBezTo>
                  <a:pt x="1604" y="464"/>
                  <a:pt x="1603" y="464"/>
                  <a:pt x="1603" y="465"/>
                </a:cubicBezTo>
                <a:cubicBezTo>
                  <a:pt x="1602" y="466"/>
                  <a:pt x="1602" y="466"/>
                  <a:pt x="1602" y="467"/>
                </a:cubicBezTo>
                <a:cubicBezTo>
                  <a:pt x="1602" y="467"/>
                  <a:pt x="1602" y="468"/>
                  <a:pt x="1602" y="468"/>
                </a:cubicBezTo>
                <a:cubicBezTo>
                  <a:pt x="1601" y="469"/>
                  <a:pt x="1603" y="470"/>
                  <a:pt x="1602" y="471"/>
                </a:cubicBezTo>
                <a:cubicBezTo>
                  <a:pt x="1602" y="472"/>
                  <a:pt x="1601" y="473"/>
                  <a:pt x="1601" y="474"/>
                </a:cubicBezTo>
                <a:cubicBezTo>
                  <a:pt x="1600" y="475"/>
                  <a:pt x="1600" y="475"/>
                  <a:pt x="1600" y="476"/>
                </a:cubicBezTo>
                <a:cubicBezTo>
                  <a:pt x="1600" y="477"/>
                  <a:pt x="1600" y="477"/>
                  <a:pt x="1601" y="477"/>
                </a:cubicBezTo>
                <a:cubicBezTo>
                  <a:pt x="1602" y="478"/>
                  <a:pt x="1603" y="479"/>
                  <a:pt x="1604" y="480"/>
                </a:cubicBezTo>
                <a:cubicBezTo>
                  <a:pt x="1605" y="481"/>
                  <a:pt x="1606" y="481"/>
                  <a:pt x="1607" y="483"/>
                </a:cubicBezTo>
                <a:cubicBezTo>
                  <a:pt x="1608" y="484"/>
                  <a:pt x="1607" y="486"/>
                  <a:pt x="1609" y="488"/>
                </a:cubicBezTo>
                <a:cubicBezTo>
                  <a:pt x="1609" y="489"/>
                  <a:pt x="1610" y="489"/>
                  <a:pt x="1610" y="490"/>
                </a:cubicBezTo>
                <a:cubicBezTo>
                  <a:pt x="1610" y="490"/>
                  <a:pt x="1610" y="491"/>
                  <a:pt x="1610" y="491"/>
                </a:cubicBezTo>
                <a:cubicBezTo>
                  <a:pt x="1610" y="492"/>
                  <a:pt x="1609" y="493"/>
                  <a:pt x="1608" y="494"/>
                </a:cubicBezTo>
                <a:cubicBezTo>
                  <a:pt x="1608" y="495"/>
                  <a:pt x="1608" y="496"/>
                  <a:pt x="1608" y="497"/>
                </a:cubicBezTo>
                <a:cubicBezTo>
                  <a:pt x="1608" y="499"/>
                  <a:pt x="1607" y="500"/>
                  <a:pt x="1606" y="501"/>
                </a:cubicBezTo>
                <a:cubicBezTo>
                  <a:pt x="1604" y="503"/>
                  <a:pt x="1602" y="504"/>
                  <a:pt x="1600" y="505"/>
                </a:cubicBezTo>
                <a:cubicBezTo>
                  <a:pt x="1599" y="506"/>
                  <a:pt x="1597" y="507"/>
                  <a:pt x="1596" y="508"/>
                </a:cubicBezTo>
                <a:cubicBezTo>
                  <a:pt x="1594" y="509"/>
                  <a:pt x="1594" y="510"/>
                  <a:pt x="1593" y="512"/>
                </a:cubicBezTo>
                <a:cubicBezTo>
                  <a:pt x="1593" y="512"/>
                  <a:pt x="1592" y="512"/>
                  <a:pt x="1592" y="513"/>
                </a:cubicBezTo>
                <a:cubicBezTo>
                  <a:pt x="1592" y="514"/>
                  <a:pt x="1592" y="514"/>
                  <a:pt x="1592" y="515"/>
                </a:cubicBezTo>
                <a:cubicBezTo>
                  <a:pt x="1593" y="518"/>
                  <a:pt x="1591" y="521"/>
                  <a:pt x="1589" y="524"/>
                </a:cubicBezTo>
                <a:cubicBezTo>
                  <a:pt x="1589" y="525"/>
                  <a:pt x="1588" y="525"/>
                  <a:pt x="1587" y="525"/>
                </a:cubicBezTo>
                <a:cubicBezTo>
                  <a:pt x="1587" y="526"/>
                  <a:pt x="1586" y="526"/>
                  <a:pt x="1585" y="526"/>
                </a:cubicBezTo>
                <a:cubicBezTo>
                  <a:pt x="1584" y="527"/>
                  <a:pt x="1584" y="528"/>
                  <a:pt x="1583" y="528"/>
                </a:cubicBezTo>
                <a:cubicBezTo>
                  <a:pt x="1582" y="529"/>
                  <a:pt x="1580" y="529"/>
                  <a:pt x="1578" y="530"/>
                </a:cubicBezTo>
                <a:cubicBezTo>
                  <a:pt x="1577" y="530"/>
                  <a:pt x="1575" y="531"/>
                  <a:pt x="1574" y="533"/>
                </a:cubicBezTo>
                <a:cubicBezTo>
                  <a:pt x="1572" y="534"/>
                  <a:pt x="1571" y="535"/>
                  <a:pt x="1570" y="535"/>
                </a:cubicBezTo>
                <a:cubicBezTo>
                  <a:pt x="1568" y="535"/>
                  <a:pt x="1566" y="535"/>
                  <a:pt x="1565" y="535"/>
                </a:cubicBezTo>
                <a:cubicBezTo>
                  <a:pt x="1564" y="536"/>
                  <a:pt x="1563" y="537"/>
                  <a:pt x="1561" y="538"/>
                </a:cubicBezTo>
                <a:cubicBezTo>
                  <a:pt x="1561" y="538"/>
                  <a:pt x="1559" y="539"/>
                  <a:pt x="1560" y="540"/>
                </a:cubicBezTo>
                <a:cubicBezTo>
                  <a:pt x="1560" y="540"/>
                  <a:pt x="1561" y="540"/>
                  <a:pt x="1561" y="540"/>
                </a:cubicBezTo>
                <a:cubicBezTo>
                  <a:pt x="1562" y="541"/>
                  <a:pt x="1562" y="543"/>
                  <a:pt x="1561" y="544"/>
                </a:cubicBezTo>
                <a:cubicBezTo>
                  <a:pt x="1560" y="545"/>
                  <a:pt x="1559" y="546"/>
                  <a:pt x="1557" y="547"/>
                </a:cubicBezTo>
                <a:cubicBezTo>
                  <a:pt x="1557" y="547"/>
                  <a:pt x="1556" y="548"/>
                  <a:pt x="1555" y="548"/>
                </a:cubicBezTo>
                <a:cubicBezTo>
                  <a:pt x="1555" y="548"/>
                  <a:pt x="1554" y="548"/>
                  <a:pt x="1553" y="548"/>
                </a:cubicBezTo>
                <a:cubicBezTo>
                  <a:pt x="1552" y="547"/>
                  <a:pt x="1551" y="548"/>
                  <a:pt x="1550" y="547"/>
                </a:cubicBezTo>
                <a:cubicBezTo>
                  <a:pt x="1548" y="547"/>
                  <a:pt x="1548" y="545"/>
                  <a:pt x="1546" y="544"/>
                </a:cubicBezTo>
                <a:cubicBezTo>
                  <a:pt x="1546" y="544"/>
                  <a:pt x="1545" y="544"/>
                  <a:pt x="1544" y="544"/>
                </a:cubicBezTo>
                <a:cubicBezTo>
                  <a:pt x="1544" y="544"/>
                  <a:pt x="1543" y="544"/>
                  <a:pt x="1542" y="544"/>
                </a:cubicBezTo>
                <a:cubicBezTo>
                  <a:pt x="1540" y="543"/>
                  <a:pt x="1538" y="543"/>
                  <a:pt x="1536" y="543"/>
                </a:cubicBezTo>
                <a:cubicBezTo>
                  <a:pt x="1534" y="543"/>
                  <a:pt x="1532" y="543"/>
                  <a:pt x="1531" y="544"/>
                </a:cubicBezTo>
                <a:cubicBezTo>
                  <a:pt x="1528" y="544"/>
                  <a:pt x="1524" y="545"/>
                  <a:pt x="1522" y="545"/>
                </a:cubicBezTo>
                <a:cubicBezTo>
                  <a:pt x="1520" y="544"/>
                  <a:pt x="1519" y="544"/>
                  <a:pt x="1517" y="543"/>
                </a:cubicBezTo>
                <a:cubicBezTo>
                  <a:pt x="1516" y="543"/>
                  <a:pt x="1514" y="543"/>
                  <a:pt x="1513" y="542"/>
                </a:cubicBezTo>
                <a:cubicBezTo>
                  <a:pt x="1511" y="540"/>
                  <a:pt x="1510" y="539"/>
                  <a:pt x="1507" y="539"/>
                </a:cubicBezTo>
                <a:cubicBezTo>
                  <a:pt x="1506" y="539"/>
                  <a:pt x="1504" y="539"/>
                  <a:pt x="1503" y="539"/>
                </a:cubicBezTo>
                <a:cubicBezTo>
                  <a:pt x="1501" y="538"/>
                  <a:pt x="1501" y="537"/>
                  <a:pt x="1499" y="537"/>
                </a:cubicBezTo>
                <a:cubicBezTo>
                  <a:pt x="1498" y="536"/>
                  <a:pt x="1497" y="535"/>
                  <a:pt x="1497" y="534"/>
                </a:cubicBezTo>
                <a:cubicBezTo>
                  <a:pt x="1496" y="533"/>
                  <a:pt x="1496" y="532"/>
                  <a:pt x="1496" y="531"/>
                </a:cubicBezTo>
                <a:cubicBezTo>
                  <a:pt x="1496" y="530"/>
                  <a:pt x="1495" y="530"/>
                  <a:pt x="1495" y="529"/>
                </a:cubicBezTo>
                <a:cubicBezTo>
                  <a:pt x="1498" y="530"/>
                  <a:pt x="1501" y="529"/>
                  <a:pt x="1504" y="529"/>
                </a:cubicBezTo>
                <a:cubicBezTo>
                  <a:pt x="1507" y="528"/>
                  <a:pt x="1511" y="527"/>
                  <a:pt x="1513" y="528"/>
                </a:cubicBezTo>
                <a:cubicBezTo>
                  <a:pt x="1515" y="529"/>
                  <a:pt x="1516" y="529"/>
                  <a:pt x="1518" y="531"/>
                </a:cubicBezTo>
                <a:cubicBezTo>
                  <a:pt x="1519" y="532"/>
                  <a:pt x="1519" y="533"/>
                  <a:pt x="1521" y="533"/>
                </a:cubicBezTo>
                <a:cubicBezTo>
                  <a:pt x="1524" y="534"/>
                  <a:pt x="1527" y="531"/>
                  <a:pt x="1530" y="530"/>
                </a:cubicBezTo>
                <a:cubicBezTo>
                  <a:pt x="1532" y="530"/>
                  <a:pt x="1533" y="529"/>
                  <a:pt x="1535" y="529"/>
                </a:cubicBezTo>
                <a:cubicBezTo>
                  <a:pt x="1537" y="529"/>
                  <a:pt x="1539" y="529"/>
                  <a:pt x="1541" y="528"/>
                </a:cubicBezTo>
                <a:cubicBezTo>
                  <a:pt x="1543" y="527"/>
                  <a:pt x="1546" y="527"/>
                  <a:pt x="1548" y="526"/>
                </a:cubicBezTo>
                <a:cubicBezTo>
                  <a:pt x="1550" y="526"/>
                  <a:pt x="1551" y="525"/>
                  <a:pt x="1552" y="523"/>
                </a:cubicBezTo>
                <a:cubicBezTo>
                  <a:pt x="1553" y="522"/>
                  <a:pt x="1554" y="521"/>
                  <a:pt x="1555" y="520"/>
                </a:cubicBezTo>
                <a:cubicBezTo>
                  <a:pt x="1556" y="520"/>
                  <a:pt x="1556" y="519"/>
                  <a:pt x="1557" y="519"/>
                </a:cubicBezTo>
                <a:cubicBezTo>
                  <a:pt x="1557" y="518"/>
                  <a:pt x="1558" y="518"/>
                  <a:pt x="1559" y="518"/>
                </a:cubicBezTo>
                <a:cubicBezTo>
                  <a:pt x="1560" y="517"/>
                  <a:pt x="1559" y="515"/>
                  <a:pt x="1560" y="513"/>
                </a:cubicBezTo>
                <a:cubicBezTo>
                  <a:pt x="1561" y="512"/>
                  <a:pt x="1563" y="512"/>
                  <a:pt x="1563" y="510"/>
                </a:cubicBezTo>
                <a:cubicBezTo>
                  <a:pt x="1564" y="509"/>
                  <a:pt x="1564" y="509"/>
                  <a:pt x="1564" y="508"/>
                </a:cubicBezTo>
                <a:cubicBezTo>
                  <a:pt x="1565" y="507"/>
                  <a:pt x="1565" y="507"/>
                  <a:pt x="1566" y="506"/>
                </a:cubicBezTo>
                <a:cubicBezTo>
                  <a:pt x="1569" y="504"/>
                  <a:pt x="1571" y="502"/>
                  <a:pt x="1574" y="501"/>
                </a:cubicBezTo>
                <a:cubicBezTo>
                  <a:pt x="1576" y="500"/>
                  <a:pt x="1577" y="499"/>
                  <a:pt x="1577" y="497"/>
                </a:cubicBezTo>
                <a:cubicBezTo>
                  <a:pt x="1576" y="497"/>
                  <a:pt x="1576" y="496"/>
                  <a:pt x="1577" y="495"/>
                </a:cubicBezTo>
                <a:cubicBezTo>
                  <a:pt x="1577" y="495"/>
                  <a:pt x="1578" y="495"/>
                  <a:pt x="1578" y="494"/>
                </a:cubicBezTo>
                <a:cubicBezTo>
                  <a:pt x="1579" y="492"/>
                  <a:pt x="1578" y="488"/>
                  <a:pt x="1576" y="487"/>
                </a:cubicBezTo>
                <a:cubicBezTo>
                  <a:pt x="1575" y="485"/>
                  <a:pt x="1576" y="485"/>
                  <a:pt x="1577" y="484"/>
                </a:cubicBezTo>
                <a:cubicBezTo>
                  <a:pt x="1579" y="483"/>
                  <a:pt x="1580" y="482"/>
                  <a:pt x="1581" y="480"/>
                </a:cubicBezTo>
                <a:cubicBezTo>
                  <a:pt x="1582" y="479"/>
                  <a:pt x="1582" y="477"/>
                  <a:pt x="1584" y="476"/>
                </a:cubicBezTo>
                <a:cubicBezTo>
                  <a:pt x="1585" y="475"/>
                  <a:pt x="1587" y="475"/>
                  <a:pt x="1587" y="473"/>
                </a:cubicBezTo>
                <a:cubicBezTo>
                  <a:pt x="1587" y="472"/>
                  <a:pt x="1587" y="472"/>
                  <a:pt x="1586" y="471"/>
                </a:cubicBezTo>
                <a:cubicBezTo>
                  <a:pt x="1585" y="470"/>
                  <a:pt x="1584" y="469"/>
                  <a:pt x="1583" y="468"/>
                </a:cubicBezTo>
                <a:cubicBezTo>
                  <a:pt x="1581" y="467"/>
                  <a:pt x="1580" y="467"/>
                  <a:pt x="1579" y="465"/>
                </a:cubicBezTo>
                <a:cubicBezTo>
                  <a:pt x="1578" y="465"/>
                  <a:pt x="1576" y="464"/>
                  <a:pt x="1575" y="463"/>
                </a:cubicBezTo>
                <a:cubicBezTo>
                  <a:pt x="1574" y="463"/>
                  <a:pt x="1572" y="463"/>
                  <a:pt x="1571" y="462"/>
                </a:cubicBezTo>
                <a:cubicBezTo>
                  <a:pt x="1570" y="461"/>
                  <a:pt x="1569" y="460"/>
                  <a:pt x="1568" y="459"/>
                </a:cubicBezTo>
                <a:cubicBezTo>
                  <a:pt x="1567" y="458"/>
                  <a:pt x="1566" y="458"/>
                  <a:pt x="1565" y="457"/>
                </a:cubicBezTo>
                <a:cubicBezTo>
                  <a:pt x="1565" y="455"/>
                  <a:pt x="1565" y="454"/>
                  <a:pt x="1565" y="452"/>
                </a:cubicBezTo>
                <a:cubicBezTo>
                  <a:pt x="1565" y="451"/>
                  <a:pt x="1565" y="450"/>
                  <a:pt x="1565" y="449"/>
                </a:cubicBezTo>
                <a:cubicBezTo>
                  <a:pt x="1566" y="448"/>
                  <a:pt x="1567" y="447"/>
                  <a:pt x="1567" y="446"/>
                </a:cubicBezTo>
                <a:cubicBezTo>
                  <a:pt x="1567" y="445"/>
                  <a:pt x="1567" y="444"/>
                  <a:pt x="1566" y="443"/>
                </a:cubicBezTo>
                <a:cubicBezTo>
                  <a:pt x="1566" y="442"/>
                  <a:pt x="1566" y="441"/>
                  <a:pt x="1566" y="440"/>
                </a:cubicBezTo>
                <a:cubicBezTo>
                  <a:pt x="1567" y="438"/>
                  <a:pt x="1566" y="437"/>
                  <a:pt x="1566" y="436"/>
                </a:cubicBezTo>
                <a:cubicBezTo>
                  <a:pt x="1565" y="435"/>
                  <a:pt x="1565" y="433"/>
                  <a:pt x="1566" y="432"/>
                </a:cubicBezTo>
                <a:cubicBezTo>
                  <a:pt x="1567" y="431"/>
                  <a:pt x="1567" y="429"/>
                  <a:pt x="1567" y="428"/>
                </a:cubicBezTo>
                <a:cubicBezTo>
                  <a:pt x="1567" y="427"/>
                  <a:pt x="1568" y="427"/>
                  <a:pt x="1568" y="426"/>
                </a:cubicBezTo>
                <a:cubicBezTo>
                  <a:pt x="1568" y="425"/>
                  <a:pt x="1567" y="424"/>
                  <a:pt x="1567" y="424"/>
                </a:cubicBezTo>
                <a:cubicBezTo>
                  <a:pt x="1566" y="422"/>
                  <a:pt x="1564" y="421"/>
                  <a:pt x="1565" y="419"/>
                </a:cubicBezTo>
                <a:cubicBezTo>
                  <a:pt x="1565" y="418"/>
                  <a:pt x="1566" y="417"/>
                  <a:pt x="1566" y="415"/>
                </a:cubicBezTo>
                <a:cubicBezTo>
                  <a:pt x="1567" y="414"/>
                  <a:pt x="1566" y="413"/>
                  <a:pt x="1565" y="411"/>
                </a:cubicBezTo>
                <a:cubicBezTo>
                  <a:pt x="1563" y="410"/>
                  <a:pt x="1563" y="409"/>
                  <a:pt x="1564" y="408"/>
                </a:cubicBezTo>
                <a:cubicBezTo>
                  <a:pt x="1566" y="406"/>
                  <a:pt x="1571" y="406"/>
                  <a:pt x="1570" y="402"/>
                </a:cubicBezTo>
                <a:cubicBezTo>
                  <a:pt x="1570" y="401"/>
                  <a:pt x="1569" y="401"/>
                  <a:pt x="1569" y="400"/>
                </a:cubicBezTo>
                <a:cubicBezTo>
                  <a:pt x="1568" y="400"/>
                  <a:pt x="1568" y="398"/>
                  <a:pt x="1569" y="398"/>
                </a:cubicBezTo>
                <a:cubicBezTo>
                  <a:pt x="1569" y="397"/>
                  <a:pt x="1569" y="397"/>
                  <a:pt x="1569" y="396"/>
                </a:cubicBezTo>
                <a:cubicBezTo>
                  <a:pt x="1569" y="395"/>
                  <a:pt x="1569" y="395"/>
                  <a:pt x="1569" y="394"/>
                </a:cubicBezTo>
                <a:cubicBezTo>
                  <a:pt x="1569" y="394"/>
                  <a:pt x="1570" y="393"/>
                  <a:pt x="1570" y="393"/>
                </a:cubicBezTo>
                <a:cubicBezTo>
                  <a:pt x="1570" y="392"/>
                  <a:pt x="1571" y="392"/>
                  <a:pt x="1571" y="391"/>
                </a:cubicBezTo>
                <a:cubicBezTo>
                  <a:pt x="1571" y="389"/>
                  <a:pt x="1570" y="388"/>
                  <a:pt x="1569" y="387"/>
                </a:cubicBezTo>
                <a:cubicBezTo>
                  <a:pt x="1568" y="386"/>
                  <a:pt x="1566" y="385"/>
                  <a:pt x="1566" y="384"/>
                </a:cubicBezTo>
                <a:cubicBezTo>
                  <a:pt x="1566" y="383"/>
                  <a:pt x="1567" y="381"/>
                  <a:pt x="1567" y="380"/>
                </a:cubicBezTo>
                <a:cubicBezTo>
                  <a:pt x="1567" y="380"/>
                  <a:pt x="1566" y="379"/>
                  <a:pt x="1566" y="379"/>
                </a:cubicBezTo>
                <a:cubicBezTo>
                  <a:pt x="1565" y="377"/>
                  <a:pt x="1563" y="378"/>
                  <a:pt x="1561" y="377"/>
                </a:cubicBezTo>
                <a:cubicBezTo>
                  <a:pt x="1560" y="377"/>
                  <a:pt x="1559" y="375"/>
                  <a:pt x="1558" y="374"/>
                </a:cubicBezTo>
                <a:cubicBezTo>
                  <a:pt x="1556" y="374"/>
                  <a:pt x="1555" y="373"/>
                  <a:pt x="1554" y="372"/>
                </a:cubicBezTo>
                <a:cubicBezTo>
                  <a:pt x="1553" y="371"/>
                  <a:pt x="1553" y="369"/>
                  <a:pt x="1552" y="368"/>
                </a:cubicBezTo>
                <a:cubicBezTo>
                  <a:pt x="1551" y="367"/>
                  <a:pt x="1550" y="366"/>
                  <a:pt x="1552" y="365"/>
                </a:cubicBezTo>
                <a:cubicBezTo>
                  <a:pt x="1553" y="364"/>
                  <a:pt x="1555" y="364"/>
                  <a:pt x="1556" y="363"/>
                </a:cubicBezTo>
                <a:cubicBezTo>
                  <a:pt x="1558" y="363"/>
                  <a:pt x="1559" y="362"/>
                  <a:pt x="1559" y="361"/>
                </a:cubicBezTo>
                <a:cubicBezTo>
                  <a:pt x="1560" y="358"/>
                  <a:pt x="1559" y="355"/>
                  <a:pt x="1562" y="353"/>
                </a:cubicBezTo>
                <a:cubicBezTo>
                  <a:pt x="1564" y="352"/>
                  <a:pt x="1564" y="351"/>
                  <a:pt x="1565" y="349"/>
                </a:cubicBezTo>
                <a:cubicBezTo>
                  <a:pt x="1565" y="347"/>
                  <a:pt x="1567" y="346"/>
                  <a:pt x="1568" y="344"/>
                </a:cubicBezTo>
                <a:cubicBezTo>
                  <a:pt x="1568" y="344"/>
                  <a:pt x="1568" y="343"/>
                  <a:pt x="1568" y="342"/>
                </a:cubicBezTo>
                <a:cubicBezTo>
                  <a:pt x="1569" y="342"/>
                  <a:pt x="1569" y="341"/>
                  <a:pt x="1570" y="340"/>
                </a:cubicBezTo>
                <a:cubicBezTo>
                  <a:pt x="1570" y="339"/>
                  <a:pt x="1571" y="339"/>
                  <a:pt x="1572" y="338"/>
                </a:cubicBezTo>
                <a:cubicBezTo>
                  <a:pt x="1572" y="336"/>
                  <a:pt x="1570" y="335"/>
                  <a:pt x="1570" y="334"/>
                </a:cubicBezTo>
                <a:cubicBezTo>
                  <a:pt x="1570" y="333"/>
                  <a:pt x="1570" y="331"/>
                  <a:pt x="1570" y="330"/>
                </a:cubicBezTo>
                <a:cubicBezTo>
                  <a:pt x="1570" y="328"/>
                  <a:pt x="1570" y="326"/>
                  <a:pt x="1570" y="325"/>
                </a:cubicBezTo>
                <a:cubicBezTo>
                  <a:pt x="1570" y="323"/>
                  <a:pt x="1570" y="322"/>
                  <a:pt x="1569" y="321"/>
                </a:cubicBezTo>
                <a:cubicBezTo>
                  <a:pt x="1568" y="320"/>
                  <a:pt x="1566" y="320"/>
                  <a:pt x="1565" y="320"/>
                </a:cubicBezTo>
                <a:cubicBezTo>
                  <a:pt x="1563" y="320"/>
                  <a:pt x="1561" y="318"/>
                  <a:pt x="1559" y="318"/>
                </a:cubicBezTo>
                <a:cubicBezTo>
                  <a:pt x="1557" y="318"/>
                  <a:pt x="1556" y="317"/>
                  <a:pt x="1555" y="318"/>
                </a:cubicBezTo>
                <a:cubicBezTo>
                  <a:pt x="1554" y="318"/>
                  <a:pt x="1553" y="318"/>
                  <a:pt x="1553" y="318"/>
                </a:cubicBezTo>
                <a:cubicBezTo>
                  <a:pt x="1553" y="317"/>
                  <a:pt x="1554" y="317"/>
                  <a:pt x="1553" y="316"/>
                </a:cubicBezTo>
                <a:cubicBezTo>
                  <a:pt x="1553" y="315"/>
                  <a:pt x="1552" y="316"/>
                  <a:pt x="1551" y="316"/>
                </a:cubicBezTo>
                <a:cubicBezTo>
                  <a:pt x="1550" y="316"/>
                  <a:pt x="1549" y="316"/>
                  <a:pt x="1548" y="315"/>
                </a:cubicBezTo>
                <a:cubicBezTo>
                  <a:pt x="1547" y="314"/>
                  <a:pt x="1546" y="314"/>
                  <a:pt x="1544" y="314"/>
                </a:cubicBezTo>
                <a:cubicBezTo>
                  <a:pt x="1542" y="314"/>
                  <a:pt x="1541" y="315"/>
                  <a:pt x="1539" y="315"/>
                </a:cubicBezTo>
                <a:cubicBezTo>
                  <a:pt x="1538" y="315"/>
                  <a:pt x="1537" y="314"/>
                  <a:pt x="1535" y="314"/>
                </a:cubicBezTo>
                <a:cubicBezTo>
                  <a:pt x="1534" y="315"/>
                  <a:pt x="1533" y="315"/>
                  <a:pt x="1532" y="315"/>
                </a:cubicBezTo>
                <a:cubicBezTo>
                  <a:pt x="1531" y="315"/>
                  <a:pt x="1530" y="315"/>
                  <a:pt x="1529" y="315"/>
                </a:cubicBezTo>
                <a:cubicBezTo>
                  <a:pt x="1528" y="315"/>
                  <a:pt x="1527" y="315"/>
                  <a:pt x="1526" y="315"/>
                </a:cubicBezTo>
                <a:cubicBezTo>
                  <a:pt x="1525" y="315"/>
                  <a:pt x="1524" y="315"/>
                  <a:pt x="1523" y="315"/>
                </a:cubicBezTo>
                <a:cubicBezTo>
                  <a:pt x="1522" y="315"/>
                  <a:pt x="1521" y="315"/>
                  <a:pt x="1520" y="315"/>
                </a:cubicBezTo>
                <a:cubicBezTo>
                  <a:pt x="1518" y="314"/>
                  <a:pt x="1517" y="314"/>
                  <a:pt x="1515" y="314"/>
                </a:cubicBezTo>
                <a:cubicBezTo>
                  <a:pt x="1513" y="314"/>
                  <a:pt x="1512" y="315"/>
                  <a:pt x="1510" y="315"/>
                </a:cubicBezTo>
                <a:cubicBezTo>
                  <a:pt x="1510" y="315"/>
                  <a:pt x="1506" y="315"/>
                  <a:pt x="1507" y="314"/>
                </a:cubicBezTo>
                <a:cubicBezTo>
                  <a:pt x="1508" y="314"/>
                  <a:pt x="1508" y="314"/>
                  <a:pt x="1509" y="313"/>
                </a:cubicBezTo>
                <a:cubicBezTo>
                  <a:pt x="1509" y="313"/>
                  <a:pt x="1510" y="313"/>
                  <a:pt x="1510" y="312"/>
                </a:cubicBezTo>
                <a:cubicBezTo>
                  <a:pt x="1511" y="311"/>
                  <a:pt x="1508" y="312"/>
                  <a:pt x="1507" y="312"/>
                </a:cubicBezTo>
                <a:cubicBezTo>
                  <a:pt x="1506" y="312"/>
                  <a:pt x="1504" y="312"/>
                  <a:pt x="1503" y="312"/>
                </a:cubicBezTo>
                <a:cubicBezTo>
                  <a:pt x="1501" y="313"/>
                  <a:pt x="1501" y="314"/>
                  <a:pt x="1501" y="315"/>
                </a:cubicBezTo>
                <a:cubicBezTo>
                  <a:pt x="1500" y="317"/>
                  <a:pt x="1499" y="319"/>
                  <a:pt x="1498" y="320"/>
                </a:cubicBezTo>
                <a:cubicBezTo>
                  <a:pt x="1497" y="321"/>
                  <a:pt x="1496" y="321"/>
                  <a:pt x="1495" y="323"/>
                </a:cubicBezTo>
                <a:cubicBezTo>
                  <a:pt x="1494" y="325"/>
                  <a:pt x="1494" y="327"/>
                  <a:pt x="1494" y="328"/>
                </a:cubicBezTo>
                <a:cubicBezTo>
                  <a:pt x="1493" y="330"/>
                  <a:pt x="1493" y="332"/>
                  <a:pt x="1492" y="334"/>
                </a:cubicBezTo>
                <a:cubicBezTo>
                  <a:pt x="1491" y="336"/>
                  <a:pt x="1490" y="339"/>
                  <a:pt x="1490" y="341"/>
                </a:cubicBezTo>
                <a:cubicBezTo>
                  <a:pt x="1489" y="344"/>
                  <a:pt x="1488" y="346"/>
                  <a:pt x="1487" y="348"/>
                </a:cubicBezTo>
                <a:cubicBezTo>
                  <a:pt x="1487" y="350"/>
                  <a:pt x="1486" y="350"/>
                  <a:pt x="1486" y="351"/>
                </a:cubicBezTo>
                <a:cubicBezTo>
                  <a:pt x="1484" y="353"/>
                  <a:pt x="1484" y="355"/>
                  <a:pt x="1483" y="357"/>
                </a:cubicBezTo>
                <a:cubicBezTo>
                  <a:pt x="1480" y="361"/>
                  <a:pt x="1476" y="364"/>
                  <a:pt x="1473" y="367"/>
                </a:cubicBezTo>
                <a:cubicBezTo>
                  <a:pt x="1470" y="369"/>
                  <a:pt x="1466" y="370"/>
                  <a:pt x="1463" y="371"/>
                </a:cubicBezTo>
                <a:cubicBezTo>
                  <a:pt x="1461" y="372"/>
                  <a:pt x="1460" y="373"/>
                  <a:pt x="1459" y="373"/>
                </a:cubicBezTo>
                <a:cubicBezTo>
                  <a:pt x="1457" y="374"/>
                  <a:pt x="1456" y="373"/>
                  <a:pt x="1455" y="374"/>
                </a:cubicBezTo>
                <a:cubicBezTo>
                  <a:pt x="1453" y="375"/>
                  <a:pt x="1453" y="376"/>
                  <a:pt x="1452" y="377"/>
                </a:cubicBezTo>
                <a:cubicBezTo>
                  <a:pt x="1452" y="379"/>
                  <a:pt x="1451" y="380"/>
                  <a:pt x="1450" y="381"/>
                </a:cubicBezTo>
                <a:cubicBezTo>
                  <a:pt x="1449" y="382"/>
                  <a:pt x="1447" y="384"/>
                  <a:pt x="1449" y="384"/>
                </a:cubicBezTo>
                <a:cubicBezTo>
                  <a:pt x="1451" y="385"/>
                  <a:pt x="1451" y="382"/>
                  <a:pt x="1452" y="382"/>
                </a:cubicBezTo>
                <a:cubicBezTo>
                  <a:pt x="1453" y="382"/>
                  <a:pt x="1452" y="384"/>
                  <a:pt x="1452" y="385"/>
                </a:cubicBezTo>
                <a:cubicBezTo>
                  <a:pt x="1451" y="385"/>
                  <a:pt x="1451" y="386"/>
                  <a:pt x="1450" y="387"/>
                </a:cubicBezTo>
                <a:cubicBezTo>
                  <a:pt x="1449" y="388"/>
                  <a:pt x="1448" y="388"/>
                  <a:pt x="1448" y="390"/>
                </a:cubicBezTo>
                <a:cubicBezTo>
                  <a:pt x="1449" y="391"/>
                  <a:pt x="1449" y="393"/>
                  <a:pt x="1450" y="393"/>
                </a:cubicBezTo>
                <a:cubicBezTo>
                  <a:pt x="1451" y="393"/>
                  <a:pt x="1452" y="393"/>
                  <a:pt x="1454" y="392"/>
                </a:cubicBezTo>
                <a:cubicBezTo>
                  <a:pt x="1454" y="392"/>
                  <a:pt x="1455" y="392"/>
                  <a:pt x="1456" y="391"/>
                </a:cubicBezTo>
                <a:cubicBezTo>
                  <a:pt x="1456" y="391"/>
                  <a:pt x="1457" y="390"/>
                  <a:pt x="1457" y="390"/>
                </a:cubicBezTo>
                <a:cubicBezTo>
                  <a:pt x="1458" y="390"/>
                  <a:pt x="1459" y="391"/>
                  <a:pt x="1460" y="392"/>
                </a:cubicBezTo>
                <a:cubicBezTo>
                  <a:pt x="1461" y="393"/>
                  <a:pt x="1462" y="393"/>
                  <a:pt x="1462" y="394"/>
                </a:cubicBezTo>
                <a:cubicBezTo>
                  <a:pt x="1462" y="396"/>
                  <a:pt x="1460" y="397"/>
                  <a:pt x="1460" y="398"/>
                </a:cubicBezTo>
                <a:cubicBezTo>
                  <a:pt x="1459" y="401"/>
                  <a:pt x="1462" y="404"/>
                  <a:pt x="1460" y="406"/>
                </a:cubicBezTo>
                <a:cubicBezTo>
                  <a:pt x="1459" y="407"/>
                  <a:pt x="1458" y="408"/>
                  <a:pt x="1458" y="410"/>
                </a:cubicBezTo>
                <a:cubicBezTo>
                  <a:pt x="1458" y="411"/>
                  <a:pt x="1457" y="413"/>
                  <a:pt x="1458" y="414"/>
                </a:cubicBezTo>
                <a:cubicBezTo>
                  <a:pt x="1459" y="414"/>
                  <a:pt x="1460" y="414"/>
                  <a:pt x="1461" y="414"/>
                </a:cubicBezTo>
                <a:cubicBezTo>
                  <a:pt x="1461" y="415"/>
                  <a:pt x="1461" y="415"/>
                  <a:pt x="1461" y="416"/>
                </a:cubicBezTo>
                <a:cubicBezTo>
                  <a:pt x="1462" y="417"/>
                  <a:pt x="1461" y="418"/>
                  <a:pt x="1460" y="419"/>
                </a:cubicBezTo>
                <a:cubicBezTo>
                  <a:pt x="1459" y="420"/>
                  <a:pt x="1458" y="422"/>
                  <a:pt x="1457" y="420"/>
                </a:cubicBezTo>
                <a:cubicBezTo>
                  <a:pt x="1457" y="420"/>
                  <a:pt x="1457" y="420"/>
                  <a:pt x="1456" y="419"/>
                </a:cubicBezTo>
                <a:cubicBezTo>
                  <a:pt x="1456" y="419"/>
                  <a:pt x="1456" y="418"/>
                  <a:pt x="1455" y="418"/>
                </a:cubicBezTo>
                <a:cubicBezTo>
                  <a:pt x="1453" y="417"/>
                  <a:pt x="1454" y="419"/>
                  <a:pt x="1454" y="420"/>
                </a:cubicBezTo>
                <a:cubicBezTo>
                  <a:pt x="1453" y="422"/>
                  <a:pt x="1452" y="422"/>
                  <a:pt x="1452" y="424"/>
                </a:cubicBezTo>
                <a:cubicBezTo>
                  <a:pt x="1451" y="425"/>
                  <a:pt x="1451" y="427"/>
                  <a:pt x="1451" y="429"/>
                </a:cubicBezTo>
                <a:cubicBezTo>
                  <a:pt x="1451" y="430"/>
                  <a:pt x="1451" y="432"/>
                  <a:pt x="1451" y="433"/>
                </a:cubicBezTo>
                <a:cubicBezTo>
                  <a:pt x="1451" y="434"/>
                  <a:pt x="1452" y="437"/>
                  <a:pt x="1453" y="436"/>
                </a:cubicBezTo>
                <a:cubicBezTo>
                  <a:pt x="1454" y="435"/>
                  <a:pt x="1453" y="434"/>
                  <a:pt x="1454" y="433"/>
                </a:cubicBezTo>
                <a:cubicBezTo>
                  <a:pt x="1454" y="433"/>
                  <a:pt x="1455" y="433"/>
                  <a:pt x="1455" y="433"/>
                </a:cubicBezTo>
                <a:cubicBezTo>
                  <a:pt x="1456" y="432"/>
                  <a:pt x="1455" y="431"/>
                  <a:pt x="1456" y="431"/>
                </a:cubicBezTo>
                <a:cubicBezTo>
                  <a:pt x="1457" y="430"/>
                  <a:pt x="1457" y="431"/>
                  <a:pt x="1458" y="431"/>
                </a:cubicBezTo>
                <a:cubicBezTo>
                  <a:pt x="1459" y="432"/>
                  <a:pt x="1460" y="432"/>
                  <a:pt x="1462" y="432"/>
                </a:cubicBezTo>
                <a:cubicBezTo>
                  <a:pt x="1463" y="433"/>
                  <a:pt x="1465" y="433"/>
                  <a:pt x="1466" y="434"/>
                </a:cubicBezTo>
                <a:cubicBezTo>
                  <a:pt x="1468" y="434"/>
                  <a:pt x="1468" y="436"/>
                  <a:pt x="1470" y="437"/>
                </a:cubicBezTo>
                <a:cubicBezTo>
                  <a:pt x="1471" y="437"/>
                  <a:pt x="1472" y="437"/>
                  <a:pt x="1474" y="438"/>
                </a:cubicBezTo>
                <a:cubicBezTo>
                  <a:pt x="1474" y="438"/>
                  <a:pt x="1475" y="439"/>
                  <a:pt x="1475" y="439"/>
                </a:cubicBezTo>
                <a:cubicBezTo>
                  <a:pt x="1476" y="438"/>
                  <a:pt x="1476" y="437"/>
                  <a:pt x="1477" y="437"/>
                </a:cubicBezTo>
                <a:cubicBezTo>
                  <a:pt x="1478" y="437"/>
                  <a:pt x="1477" y="440"/>
                  <a:pt x="1477" y="441"/>
                </a:cubicBezTo>
                <a:cubicBezTo>
                  <a:pt x="1477" y="442"/>
                  <a:pt x="1476" y="443"/>
                  <a:pt x="1476" y="444"/>
                </a:cubicBezTo>
                <a:cubicBezTo>
                  <a:pt x="1476" y="446"/>
                  <a:pt x="1477" y="447"/>
                  <a:pt x="1478" y="448"/>
                </a:cubicBezTo>
                <a:cubicBezTo>
                  <a:pt x="1478" y="448"/>
                  <a:pt x="1478" y="449"/>
                  <a:pt x="1479" y="449"/>
                </a:cubicBezTo>
                <a:cubicBezTo>
                  <a:pt x="1479" y="450"/>
                  <a:pt x="1480" y="450"/>
                  <a:pt x="1481" y="451"/>
                </a:cubicBezTo>
                <a:cubicBezTo>
                  <a:pt x="1481" y="451"/>
                  <a:pt x="1482" y="452"/>
                  <a:pt x="1482" y="452"/>
                </a:cubicBezTo>
                <a:cubicBezTo>
                  <a:pt x="1483" y="453"/>
                  <a:pt x="1483" y="455"/>
                  <a:pt x="1484" y="456"/>
                </a:cubicBezTo>
                <a:cubicBezTo>
                  <a:pt x="1485" y="456"/>
                  <a:pt x="1486" y="456"/>
                  <a:pt x="1487" y="456"/>
                </a:cubicBezTo>
                <a:cubicBezTo>
                  <a:pt x="1488" y="457"/>
                  <a:pt x="1488" y="457"/>
                  <a:pt x="1489" y="458"/>
                </a:cubicBezTo>
                <a:cubicBezTo>
                  <a:pt x="1490" y="458"/>
                  <a:pt x="1492" y="457"/>
                  <a:pt x="1493" y="457"/>
                </a:cubicBezTo>
                <a:cubicBezTo>
                  <a:pt x="1494" y="457"/>
                  <a:pt x="1496" y="457"/>
                  <a:pt x="1497" y="458"/>
                </a:cubicBezTo>
                <a:cubicBezTo>
                  <a:pt x="1497" y="459"/>
                  <a:pt x="1495" y="458"/>
                  <a:pt x="1495" y="458"/>
                </a:cubicBezTo>
                <a:cubicBezTo>
                  <a:pt x="1494" y="459"/>
                  <a:pt x="1494" y="459"/>
                  <a:pt x="1494" y="460"/>
                </a:cubicBezTo>
                <a:cubicBezTo>
                  <a:pt x="1495" y="460"/>
                  <a:pt x="1496" y="460"/>
                  <a:pt x="1496" y="461"/>
                </a:cubicBezTo>
                <a:cubicBezTo>
                  <a:pt x="1496" y="462"/>
                  <a:pt x="1495" y="462"/>
                  <a:pt x="1495" y="463"/>
                </a:cubicBezTo>
                <a:cubicBezTo>
                  <a:pt x="1493" y="464"/>
                  <a:pt x="1494" y="465"/>
                  <a:pt x="1494" y="467"/>
                </a:cubicBezTo>
                <a:cubicBezTo>
                  <a:pt x="1493" y="469"/>
                  <a:pt x="1490" y="471"/>
                  <a:pt x="1489" y="473"/>
                </a:cubicBezTo>
                <a:cubicBezTo>
                  <a:pt x="1488" y="474"/>
                  <a:pt x="1487" y="474"/>
                  <a:pt x="1487" y="475"/>
                </a:cubicBezTo>
                <a:cubicBezTo>
                  <a:pt x="1487" y="477"/>
                  <a:pt x="1487" y="478"/>
                  <a:pt x="1485" y="479"/>
                </a:cubicBezTo>
                <a:cubicBezTo>
                  <a:pt x="1484" y="480"/>
                  <a:pt x="1483" y="482"/>
                  <a:pt x="1482" y="481"/>
                </a:cubicBezTo>
                <a:cubicBezTo>
                  <a:pt x="1481" y="480"/>
                  <a:pt x="1480" y="479"/>
                  <a:pt x="1479" y="478"/>
                </a:cubicBezTo>
                <a:cubicBezTo>
                  <a:pt x="1478" y="478"/>
                  <a:pt x="1478" y="477"/>
                  <a:pt x="1477" y="477"/>
                </a:cubicBezTo>
                <a:cubicBezTo>
                  <a:pt x="1477" y="476"/>
                  <a:pt x="1476" y="476"/>
                  <a:pt x="1476" y="475"/>
                </a:cubicBezTo>
                <a:cubicBezTo>
                  <a:pt x="1474" y="474"/>
                  <a:pt x="1474" y="473"/>
                  <a:pt x="1473" y="472"/>
                </a:cubicBezTo>
                <a:cubicBezTo>
                  <a:pt x="1471" y="471"/>
                  <a:pt x="1470" y="470"/>
                  <a:pt x="1469" y="469"/>
                </a:cubicBezTo>
                <a:cubicBezTo>
                  <a:pt x="1468" y="469"/>
                  <a:pt x="1467" y="468"/>
                  <a:pt x="1467" y="468"/>
                </a:cubicBezTo>
                <a:cubicBezTo>
                  <a:pt x="1466" y="467"/>
                  <a:pt x="1466" y="467"/>
                  <a:pt x="1465" y="466"/>
                </a:cubicBezTo>
                <a:cubicBezTo>
                  <a:pt x="1464" y="465"/>
                  <a:pt x="1463" y="464"/>
                  <a:pt x="1462" y="463"/>
                </a:cubicBezTo>
                <a:cubicBezTo>
                  <a:pt x="1461" y="462"/>
                  <a:pt x="1460" y="461"/>
                  <a:pt x="1459" y="460"/>
                </a:cubicBezTo>
                <a:cubicBezTo>
                  <a:pt x="1458" y="460"/>
                  <a:pt x="1457" y="460"/>
                  <a:pt x="1456" y="460"/>
                </a:cubicBezTo>
                <a:cubicBezTo>
                  <a:pt x="1454" y="460"/>
                  <a:pt x="1452" y="459"/>
                  <a:pt x="1449" y="459"/>
                </a:cubicBezTo>
                <a:cubicBezTo>
                  <a:pt x="1448" y="459"/>
                  <a:pt x="1446" y="458"/>
                  <a:pt x="1445" y="457"/>
                </a:cubicBezTo>
                <a:cubicBezTo>
                  <a:pt x="1443" y="456"/>
                  <a:pt x="1442" y="456"/>
                  <a:pt x="1440" y="455"/>
                </a:cubicBezTo>
                <a:cubicBezTo>
                  <a:pt x="1439" y="455"/>
                  <a:pt x="1438" y="454"/>
                  <a:pt x="1437" y="454"/>
                </a:cubicBezTo>
                <a:cubicBezTo>
                  <a:pt x="1436" y="454"/>
                  <a:pt x="1434" y="453"/>
                  <a:pt x="1433" y="452"/>
                </a:cubicBezTo>
                <a:cubicBezTo>
                  <a:pt x="1432" y="452"/>
                  <a:pt x="1431" y="450"/>
                  <a:pt x="1430" y="449"/>
                </a:cubicBezTo>
                <a:cubicBezTo>
                  <a:pt x="1429" y="449"/>
                  <a:pt x="1427" y="449"/>
                  <a:pt x="1426" y="448"/>
                </a:cubicBezTo>
                <a:cubicBezTo>
                  <a:pt x="1425" y="448"/>
                  <a:pt x="1423" y="447"/>
                  <a:pt x="1422" y="447"/>
                </a:cubicBezTo>
                <a:cubicBezTo>
                  <a:pt x="1421" y="447"/>
                  <a:pt x="1420" y="446"/>
                  <a:pt x="1418" y="446"/>
                </a:cubicBezTo>
                <a:cubicBezTo>
                  <a:pt x="1417" y="445"/>
                  <a:pt x="1416" y="446"/>
                  <a:pt x="1415" y="447"/>
                </a:cubicBezTo>
                <a:cubicBezTo>
                  <a:pt x="1414" y="448"/>
                  <a:pt x="1413" y="449"/>
                  <a:pt x="1413" y="447"/>
                </a:cubicBezTo>
                <a:cubicBezTo>
                  <a:pt x="1413" y="447"/>
                  <a:pt x="1413" y="446"/>
                  <a:pt x="1414" y="445"/>
                </a:cubicBezTo>
                <a:cubicBezTo>
                  <a:pt x="1414" y="445"/>
                  <a:pt x="1415" y="445"/>
                  <a:pt x="1416" y="445"/>
                </a:cubicBezTo>
                <a:cubicBezTo>
                  <a:pt x="1416" y="445"/>
                  <a:pt x="1417" y="445"/>
                  <a:pt x="1416" y="444"/>
                </a:cubicBezTo>
                <a:cubicBezTo>
                  <a:pt x="1416" y="444"/>
                  <a:pt x="1415" y="443"/>
                  <a:pt x="1414" y="443"/>
                </a:cubicBezTo>
                <a:cubicBezTo>
                  <a:pt x="1413" y="443"/>
                  <a:pt x="1412" y="442"/>
                  <a:pt x="1411" y="441"/>
                </a:cubicBezTo>
                <a:cubicBezTo>
                  <a:pt x="1409" y="441"/>
                  <a:pt x="1408" y="440"/>
                  <a:pt x="1407" y="439"/>
                </a:cubicBezTo>
                <a:cubicBezTo>
                  <a:pt x="1403" y="437"/>
                  <a:pt x="1400" y="435"/>
                  <a:pt x="1396" y="435"/>
                </a:cubicBezTo>
                <a:cubicBezTo>
                  <a:pt x="1394" y="434"/>
                  <a:pt x="1392" y="434"/>
                  <a:pt x="1390" y="433"/>
                </a:cubicBezTo>
                <a:cubicBezTo>
                  <a:pt x="1388" y="433"/>
                  <a:pt x="1387" y="432"/>
                  <a:pt x="1385" y="432"/>
                </a:cubicBezTo>
                <a:cubicBezTo>
                  <a:pt x="1384" y="432"/>
                  <a:pt x="1384" y="432"/>
                  <a:pt x="1383" y="431"/>
                </a:cubicBezTo>
                <a:cubicBezTo>
                  <a:pt x="1382" y="430"/>
                  <a:pt x="1380" y="430"/>
                  <a:pt x="1378" y="430"/>
                </a:cubicBezTo>
                <a:cubicBezTo>
                  <a:pt x="1376" y="430"/>
                  <a:pt x="1374" y="430"/>
                  <a:pt x="1372" y="430"/>
                </a:cubicBezTo>
                <a:cubicBezTo>
                  <a:pt x="1371" y="430"/>
                  <a:pt x="1370" y="429"/>
                  <a:pt x="1368" y="429"/>
                </a:cubicBezTo>
                <a:cubicBezTo>
                  <a:pt x="1366" y="428"/>
                  <a:pt x="1365" y="429"/>
                  <a:pt x="1363" y="428"/>
                </a:cubicBezTo>
                <a:cubicBezTo>
                  <a:pt x="1361" y="428"/>
                  <a:pt x="1360" y="428"/>
                  <a:pt x="1358" y="428"/>
                </a:cubicBezTo>
                <a:cubicBezTo>
                  <a:pt x="1355" y="427"/>
                  <a:pt x="1352" y="427"/>
                  <a:pt x="1349" y="427"/>
                </a:cubicBezTo>
                <a:cubicBezTo>
                  <a:pt x="1347" y="427"/>
                  <a:pt x="1346" y="426"/>
                  <a:pt x="1344" y="426"/>
                </a:cubicBezTo>
                <a:cubicBezTo>
                  <a:pt x="1343" y="425"/>
                  <a:pt x="1342" y="425"/>
                  <a:pt x="1340" y="425"/>
                </a:cubicBezTo>
                <a:cubicBezTo>
                  <a:pt x="1339" y="425"/>
                  <a:pt x="1339" y="425"/>
                  <a:pt x="1338" y="425"/>
                </a:cubicBezTo>
                <a:cubicBezTo>
                  <a:pt x="1337" y="425"/>
                  <a:pt x="1337" y="426"/>
                  <a:pt x="1336" y="426"/>
                </a:cubicBezTo>
                <a:cubicBezTo>
                  <a:pt x="1335" y="427"/>
                  <a:pt x="1334" y="428"/>
                  <a:pt x="1332" y="428"/>
                </a:cubicBezTo>
                <a:cubicBezTo>
                  <a:pt x="1330" y="430"/>
                  <a:pt x="1328" y="431"/>
                  <a:pt x="1325" y="431"/>
                </a:cubicBezTo>
                <a:cubicBezTo>
                  <a:pt x="1324" y="432"/>
                  <a:pt x="1322" y="431"/>
                  <a:pt x="1321" y="432"/>
                </a:cubicBezTo>
                <a:cubicBezTo>
                  <a:pt x="1321" y="432"/>
                  <a:pt x="1321" y="434"/>
                  <a:pt x="1321" y="434"/>
                </a:cubicBezTo>
                <a:cubicBezTo>
                  <a:pt x="1321" y="435"/>
                  <a:pt x="1322" y="435"/>
                  <a:pt x="1322" y="435"/>
                </a:cubicBezTo>
                <a:cubicBezTo>
                  <a:pt x="1324" y="437"/>
                  <a:pt x="1323" y="439"/>
                  <a:pt x="1325" y="440"/>
                </a:cubicBezTo>
                <a:cubicBezTo>
                  <a:pt x="1326" y="441"/>
                  <a:pt x="1327" y="442"/>
                  <a:pt x="1328" y="443"/>
                </a:cubicBezTo>
                <a:cubicBezTo>
                  <a:pt x="1328" y="444"/>
                  <a:pt x="1329" y="446"/>
                  <a:pt x="1329" y="447"/>
                </a:cubicBezTo>
                <a:cubicBezTo>
                  <a:pt x="1329" y="448"/>
                  <a:pt x="1329" y="449"/>
                  <a:pt x="1329" y="449"/>
                </a:cubicBezTo>
                <a:cubicBezTo>
                  <a:pt x="1330" y="450"/>
                  <a:pt x="1330" y="450"/>
                  <a:pt x="1330" y="451"/>
                </a:cubicBezTo>
                <a:cubicBezTo>
                  <a:pt x="1331" y="451"/>
                  <a:pt x="1331" y="452"/>
                  <a:pt x="1332" y="452"/>
                </a:cubicBezTo>
                <a:cubicBezTo>
                  <a:pt x="1332" y="452"/>
                  <a:pt x="1333" y="451"/>
                  <a:pt x="1333" y="451"/>
                </a:cubicBezTo>
                <a:cubicBezTo>
                  <a:pt x="1334" y="449"/>
                  <a:pt x="1335" y="450"/>
                  <a:pt x="1335" y="452"/>
                </a:cubicBezTo>
                <a:cubicBezTo>
                  <a:pt x="1335" y="453"/>
                  <a:pt x="1336" y="455"/>
                  <a:pt x="1336" y="456"/>
                </a:cubicBezTo>
                <a:cubicBezTo>
                  <a:pt x="1335" y="457"/>
                  <a:pt x="1335" y="457"/>
                  <a:pt x="1334" y="458"/>
                </a:cubicBezTo>
                <a:cubicBezTo>
                  <a:pt x="1334" y="458"/>
                  <a:pt x="1333" y="459"/>
                  <a:pt x="1333" y="459"/>
                </a:cubicBezTo>
                <a:cubicBezTo>
                  <a:pt x="1332" y="460"/>
                  <a:pt x="1331" y="461"/>
                  <a:pt x="1331" y="461"/>
                </a:cubicBezTo>
                <a:cubicBezTo>
                  <a:pt x="1330" y="461"/>
                  <a:pt x="1329" y="461"/>
                  <a:pt x="1328" y="462"/>
                </a:cubicBezTo>
                <a:cubicBezTo>
                  <a:pt x="1326" y="462"/>
                  <a:pt x="1324" y="463"/>
                  <a:pt x="1321" y="464"/>
                </a:cubicBezTo>
                <a:cubicBezTo>
                  <a:pt x="1320" y="464"/>
                  <a:pt x="1318" y="465"/>
                  <a:pt x="1317" y="466"/>
                </a:cubicBezTo>
                <a:cubicBezTo>
                  <a:pt x="1316" y="467"/>
                  <a:pt x="1315" y="469"/>
                  <a:pt x="1316" y="470"/>
                </a:cubicBezTo>
                <a:cubicBezTo>
                  <a:pt x="1316" y="471"/>
                  <a:pt x="1317" y="473"/>
                  <a:pt x="1316" y="474"/>
                </a:cubicBezTo>
                <a:cubicBezTo>
                  <a:pt x="1316" y="475"/>
                  <a:pt x="1314" y="477"/>
                  <a:pt x="1313" y="477"/>
                </a:cubicBezTo>
                <a:cubicBezTo>
                  <a:pt x="1311" y="477"/>
                  <a:pt x="1309" y="478"/>
                  <a:pt x="1307" y="477"/>
                </a:cubicBezTo>
                <a:cubicBezTo>
                  <a:pt x="1306" y="477"/>
                  <a:pt x="1305" y="476"/>
                  <a:pt x="1303" y="475"/>
                </a:cubicBezTo>
                <a:cubicBezTo>
                  <a:pt x="1302" y="475"/>
                  <a:pt x="1301" y="475"/>
                  <a:pt x="1300" y="474"/>
                </a:cubicBezTo>
                <a:cubicBezTo>
                  <a:pt x="1299" y="473"/>
                  <a:pt x="1301" y="472"/>
                  <a:pt x="1301" y="470"/>
                </a:cubicBezTo>
                <a:cubicBezTo>
                  <a:pt x="1300" y="469"/>
                  <a:pt x="1298" y="468"/>
                  <a:pt x="1300" y="467"/>
                </a:cubicBezTo>
                <a:cubicBezTo>
                  <a:pt x="1301" y="467"/>
                  <a:pt x="1301" y="467"/>
                  <a:pt x="1301" y="467"/>
                </a:cubicBezTo>
                <a:cubicBezTo>
                  <a:pt x="1301" y="466"/>
                  <a:pt x="1301" y="466"/>
                  <a:pt x="1302" y="465"/>
                </a:cubicBezTo>
                <a:cubicBezTo>
                  <a:pt x="1302" y="465"/>
                  <a:pt x="1303" y="465"/>
                  <a:pt x="1304" y="465"/>
                </a:cubicBezTo>
                <a:cubicBezTo>
                  <a:pt x="1305" y="465"/>
                  <a:pt x="1305" y="465"/>
                  <a:pt x="1306" y="465"/>
                </a:cubicBezTo>
                <a:cubicBezTo>
                  <a:pt x="1306" y="464"/>
                  <a:pt x="1306" y="464"/>
                  <a:pt x="1306" y="463"/>
                </a:cubicBezTo>
                <a:cubicBezTo>
                  <a:pt x="1306" y="461"/>
                  <a:pt x="1304" y="461"/>
                  <a:pt x="1303" y="460"/>
                </a:cubicBezTo>
                <a:cubicBezTo>
                  <a:pt x="1302" y="459"/>
                  <a:pt x="1301" y="459"/>
                  <a:pt x="1300" y="459"/>
                </a:cubicBezTo>
                <a:cubicBezTo>
                  <a:pt x="1299" y="458"/>
                  <a:pt x="1298" y="459"/>
                  <a:pt x="1298" y="458"/>
                </a:cubicBezTo>
                <a:cubicBezTo>
                  <a:pt x="1297" y="457"/>
                  <a:pt x="1299" y="456"/>
                  <a:pt x="1299" y="456"/>
                </a:cubicBezTo>
                <a:cubicBezTo>
                  <a:pt x="1300" y="457"/>
                  <a:pt x="1302" y="457"/>
                  <a:pt x="1302" y="456"/>
                </a:cubicBezTo>
                <a:cubicBezTo>
                  <a:pt x="1301" y="455"/>
                  <a:pt x="1300" y="455"/>
                  <a:pt x="1299" y="455"/>
                </a:cubicBezTo>
                <a:cubicBezTo>
                  <a:pt x="1297" y="455"/>
                  <a:pt x="1295" y="455"/>
                  <a:pt x="1293" y="456"/>
                </a:cubicBezTo>
                <a:cubicBezTo>
                  <a:pt x="1292" y="456"/>
                  <a:pt x="1292" y="457"/>
                  <a:pt x="1291" y="457"/>
                </a:cubicBezTo>
                <a:cubicBezTo>
                  <a:pt x="1289" y="458"/>
                  <a:pt x="1287" y="459"/>
                  <a:pt x="1286" y="460"/>
                </a:cubicBezTo>
                <a:cubicBezTo>
                  <a:pt x="1285" y="461"/>
                  <a:pt x="1283" y="463"/>
                  <a:pt x="1283" y="461"/>
                </a:cubicBezTo>
                <a:cubicBezTo>
                  <a:pt x="1283" y="461"/>
                  <a:pt x="1284" y="458"/>
                  <a:pt x="1282" y="458"/>
                </a:cubicBezTo>
                <a:cubicBezTo>
                  <a:pt x="1282" y="459"/>
                  <a:pt x="1282" y="459"/>
                  <a:pt x="1281" y="459"/>
                </a:cubicBezTo>
                <a:cubicBezTo>
                  <a:pt x="1280" y="460"/>
                  <a:pt x="1280" y="460"/>
                  <a:pt x="1279" y="460"/>
                </a:cubicBezTo>
                <a:cubicBezTo>
                  <a:pt x="1277" y="460"/>
                  <a:pt x="1276" y="462"/>
                  <a:pt x="1274" y="463"/>
                </a:cubicBezTo>
                <a:cubicBezTo>
                  <a:pt x="1273" y="464"/>
                  <a:pt x="1272" y="464"/>
                  <a:pt x="1271" y="464"/>
                </a:cubicBezTo>
                <a:cubicBezTo>
                  <a:pt x="1269" y="465"/>
                  <a:pt x="1268" y="466"/>
                  <a:pt x="1267" y="468"/>
                </a:cubicBezTo>
                <a:cubicBezTo>
                  <a:pt x="1266" y="469"/>
                  <a:pt x="1265" y="469"/>
                  <a:pt x="1263" y="469"/>
                </a:cubicBezTo>
                <a:cubicBezTo>
                  <a:pt x="1260" y="470"/>
                  <a:pt x="1258" y="468"/>
                  <a:pt x="1255" y="468"/>
                </a:cubicBezTo>
                <a:cubicBezTo>
                  <a:pt x="1253" y="468"/>
                  <a:pt x="1252" y="468"/>
                  <a:pt x="1250" y="468"/>
                </a:cubicBezTo>
                <a:cubicBezTo>
                  <a:pt x="1248" y="468"/>
                  <a:pt x="1247" y="468"/>
                  <a:pt x="1245" y="468"/>
                </a:cubicBezTo>
                <a:cubicBezTo>
                  <a:pt x="1244" y="468"/>
                  <a:pt x="1243" y="467"/>
                  <a:pt x="1241" y="467"/>
                </a:cubicBezTo>
                <a:cubicBezTo>
                  <a:pt x="1240" y="466"/>
                  <a:pt x="1238" y="467"/>
                  <a:pt x="1237" y="467"/>
                </a:cubicBezTo>
                <a:cubicBezTo>
                  <a:pt x="1234" y="467"/>
                  <a:pt x="1232" y="469"/>
                  <a:pt x="1230" y="471"/>
                </a:cubicBezTo>
                <a:cubicBezTo>
                  <a:pt x="1229" y="472"/>
                  <a:pt x="1228" y="473"/>
                  <a:pt x="1227" y="473"/>
                </a:cubicBezTo>
                <a:cubicBezTo>
                  <a:pt x="1225" y="474"/>
                  <a:pt x="1225" y="474"/>
                  <a:pt x="1224" y="475"/>
                </a:cubicBezTo>
                <a:cubicBezTo>
                  <a:pt x="1222" y="476"/>
                  <a:pt x="1221" y="477"/>
                  <a:pt x="1220" y="477"/>
                </a:cubicBezTo>
                <a:cubicBezTo>
                  <a:pt x="1219" y="478"/>
                  <a:pt x="1218" y="478"/>
                  <a:pt x="1218" y="479"/>
                </a:cubicBezTo>
                <a:cubicBezTo>
                  <a:pt x="1217" y="481"/>
                  <a:pt x="1215" y="484"/>
                  <a:pt x="1214" y="482"/>
                </a:cubicBezTo>
                <a:cubicBezTo>
                  <a:pt x="1214" y="481"/>
                  <a:pt x="1213" y="481"/>
                  <a:pt x="1213" y="480"/>
                </a:cubicBezTo>
                <a:cubicBezTo>
                  <a:pt x="1211" y="480"/>
                  <a:pt x="1210" y="478"/>
                  <a:pt x="1209" y="479"/>
                </a:cubicBezTo>
                <a:cubicBezTo>
                  <a:pt x="1208" y="479"/>
                  <a:pt x="1207" y="480"/>
                  <a:pt x="1206" y="481"/>
                </a:cubicBezTo>
                <a:cubicBezTo>
                  <a:pt x="1205" y="481"/>
                  <a:pt x="1204" y="482"/>
                  <a:pt x="1204" y="481"/>
                </a:cubicBezTo>
                <a:cubicBezTo>
                  <a:pt x="1203" y="481"/>
                  <a:pt x="1204" y="479"/>
                  <a:pt x="1204" y="479"/>
                </a:cubicBezTo>
                <a:cubicBezTo>
                  <a:pt x="1203" y="479"/>
                  <a:pt x="1201" y="479"/>
                  <a:pt x="1201" y="480"/>
                </a:cubicBezTo>
                <a:cubicBezTo>
                  <a:pt x="1200" y="480"/>
                  <a:pt x="1200" y="481"/>
                  <a:pt x="1199" y="481"/>
                </a:cubicBezTo>
                <a:cubicBezTo>
                  <a:pt x="1198" y="482"/>
                  <a:pt x="1196" y="482"/>
                  <a:pt x="1195" y="481"/>
                </a:cubicBezTo>
                <a:cubicBezTo>
                  <a:pt x="1194" y="480"/>
                  <a:pt x="1193" y="480"/>
                  <a:pt x="1192" y="479"/>
                </a:cubicBezTo>
                <a:cubicBezTo>
                  <a:pt x="1191" y="479"/>
                  <a:pt x="1191" y="479"/>
                  <a:pt x="1190" y="478"/>
                </a:cubicBezTo>
                <a:cubicBezTo>
                  <a:pt x="1189" y="478"/>
                  <a:pt x="1188" y="478"/>
                  <a:pt x="1188" y="478"/>
                </a:cubicBezTo>
                <a:cubicBezTo>
                  <a:pt x="1188" y="476"/>
                  <a:pt x="1191" y="477"/>
                  <a:pt x="1191" y="477"/>
                </a:cubicBezTo>
                <a:cubicBezTo>
                  <a:pt x="1193" y="477"/>
                  <a:pt x="1192" y="476"/>
                  <a:pt x="1193" y="476"/>
                </a:cubicBezTo>
                <a:cubicBezTo>
                  <a:pt x="1193" y="475"/>
                  <a:pt x="1194" y="475"/>
                  <a:pt x="1195" y="475"/>
                </a:cubicBezTo>
                <a:cubicBezTo>
                  <a:pt x="1196" y="475"/>
                  <a:pt x="1198" y="476"/>
                  <a:pt x="1198" y="474"/>
                </a:cubicBezTo>
                <a:cubicBezTo>
                  <a:pt x="1198" y="472"/>
                  <a:pt x="1197" y="471"/>
                  <a:pt x="1196" y="470"/>
                </a:cubicBezTo>
                <a:cubicBezTo>
                  <a:pt x="1195" y="469"/>
                  <a:pt x="1194" y="468"/>
                  <a:pt x="1194" y="467"/>
                </a:cubicBezTo>
                <a:cubicBezTo>
                  <a:pt x="1195" y="465"/>
                  <a:pt x="1196" y="465"/>
                  <a:pt x="1197" y="464"/>
                </a:cubicBezTo>
                <a:cubicBezTo>
                  <a:pt x="1197" y="463"/>
                  <a:pt x="1197" y="462"/>
                  <a:pt x="1197" y="462"/>
                </a:cubicBezTo>
                <a:cubicBezTo>
                  <a:pt x="1198" y="461"/>
                  <a:pt x="1200" y="462"/>
                  <a:pt x="1200" y="460"/>
                </a:cubicBezTo>
                <a:cubicBezTo>
                  <a:pt x="1200" y="458"/>
                  <a:pt x="1197" y="459"/>
                  <a:pt x="1196" y="459"/>
                </a:cubicBezTo>
                <a:cubicBezTo>
                  <a:pt x="1195" y="459"/>
                  <a:pt x="1194" y="459"/>
                  <a:pt x="1194" y="459"/>
                </a:cubicBezTo>
                <a:cubicBezTo>
                  <a:pt x="1193" y="458"/>
                  <a:pt x="1194" y="458"/>
                  <a:pt x="1194" y="457"/>
                </a:cubicBezTo>
                <a:cubicBezTo>
                  <a:pt x="1194" y="457"/>
                  <a:pt x="1193" y="457"/>
                  <a:pt x="1192" y="457"/>
                </a:cubicBezTo>
                <a:cubicBezTo>
                  <a:pt x="1191" y="458"/>
                  <a:pt x="1191" y="458"/>
                  <a:pt x="1190" y="458"/>
                </a:cubicBezTo>
                <a:cubicBezTo>
                  <a:pt x="1188" y="458"/>
                  <a:pt x="1186" y="458"/>
                  <a:pt x="1185" y="459"/>
                </a:cubicBezTo>
                <a:cubicBezTo>
                  <a:pt x="1183" y="460"/>
                  <a:pt x="1182" y="461"/>
                  <a:pt x="1180" y="461"/>
                </a:cubicBezTo>
                <a:cubicBezTo>
                  <a:pt x="1178" y="462"/>
                  <a:pt x="1176" y="462"/>
                  <a:pt x="1175" y="463"/>
                </a:cubicBezTo>
                <a:cubicBezTo>
                  <a:pt x="1173" y="463"/>
                  <a:pt x="1172" y="465"/>
                  <a:pt x="1170" y="466"/>
                </a:cubicBezTo>
                <a:cubicBezTo>
                  <a:pt x="1169" y="467"/>
                  <a:pt x="1166" y="467"/>
                  <a:pt x="1166" y="468"/>
                </a:cubicBezTo>
                <a:cubicBezTo>
                  <a:pt x="1166" y="469"/>
                  <a:pt x="1167" y="469"/>
                  <a:pt x="1168" y="469"/>
                </a:cubicBezTo>
                <a:cubicBezTo>
                  <a:pt x="1168" y="470"/>
                  <a:pt x="1168" y="470"/>
                  <a:pt x="1169" y="470"/>
                </a:cubicBezTo>
                <a:cubicBezTo>
                  <a:pt x="1171" y="470"/>
                  <a:pt x="1172" y="471"/>
                  <a:pt x="1173" y="472"/>
                </a:cubicBezTo>
                <a:cubicBezTo>
                  <a:pt x="1173" y="473"/>
                  <a:pt x="1174" y="473"/>
                  <a:pt x="1174" y="474"/>
                </a:cubicBezTo>
                <a:cubicBezTo>
                  <a:pt x="1174" y="475"/>
                  <a:pt x="1172" y="475"/>
                  <a:pt x="1172" y="475"/>
                </a:cubicBezTo>
                <a:cubicBezTo>
                  <a:pt x="1170" y="475"/>
                  <a:pt x="1169" y="477"/>
                  <a:pt x="1167" y="478"/>
                </a:cubicBezTo>
                <a:cubicBezTo>
                  <a:pt x="1166" y="479"/>
                  <a:pt x="1165" y="477"/>
                  <a:pt x="1166" y="476"/>
                </a:cubicBezTo>
                <a:cubicBezTo>
                  <a:pt x="1166" y="475"/>
                  <a:pt x="1166" y="474"/>
                  <a:pt x="1166" y="474"/>
                </a:cubicBezTo>
                <a:cubicBezTo>
                  <a:pt x="1166" y="473"/>
                  <a:pt x="1167" y="473"/>
                  <a:pt x="1167" y="472"/>
                </a:cubicBezTo>
                <a:cubicBezTo>
                  <a:pt x="1167" y="471"/>
                  <a:pt x="1164" y="472"/>
                  <a:pt x="1163" y="471"/>
                </a:cubicBezTo>
                <a:cubicBezTo>
                  <a:pt x="1163" y="470"/>
                  <a:pt x="1164" y="470"/>
                  <a:pt x="1164" y="470"/>
                </a:cubicBezTo>
                <a:cubicBezTo>
                  <a:pt x="1165" y="469"/>
                  <a:pt x="1164" y="469"/>
                  <a:pt x="1163" y="469"/>
                </a:cubicBezTo>
                <a:cubicBezTo>
                  <a:pt x="1163" y="470"/>
                  <a:pt x="1162" y="470"/>
                  <a:pt x="1162" y="470"/>
                </a:cubicBezTo>
                <a:cubicBezTo>
                  <a:pt x="1161" y="470"/>
                  <a:pt x="1160" y="470"/>
                  <a:pt x="1159" y="470"/>
                </a:cubicBezTo>
                <a:cubicBezTo>
                  <a:pt x="1158" y="470"/>
                  <a:pt x="1157" y="470"/>
                  <a:pt x="1155" y="471"/>
                </a:cubicBezTo>
                <a:cubicBezTo>
                  <a:pt x="1154" y="471"/>
                  <a:pt x="1153" y="471"/>
                  <a:pt x="1152" y="472"/>
                </a:cubicBezTo>
                <a:cubicBezTo>
                  <a:pt x="1151" y="473"/>
                  <a:pt x="1151" y="474"/>
                  <a:pt x="1150" y="475"/>
                </a:cubicBezTo>
                <a:cubicBezTo>
                  <a:pt x="1150" y="475"/>
                  <a:pt x="1149" y="475"/>
                  <a:pt x="1149" y="475"/>
                </a:cubicBezTo>
                <a:cubicBezTo>
                  <a:pt x="1147" y="475"/>
                  <a:pt x="1145" y="476"/>
                  <a:pt x="1143" y="477"/>
                </a:cubicBezTo>
                <a:cubicBezTo>
                  <a:pt x="1142" y="477"/>
                  <a:pt x="1140" y="477"/>
                  <a:pt x="1138" y="477"/>
                </a:cubicBezTo>
                <a:cubicBezTo>
                  <a:pt x="1137" y="477"/>
                  <a:pt x="1136" y="478"/>
                  <a:pt x="1134" y="478"/>
                </a:cubicBezTo>
                <a:cubicBezTo>
                  <a:pt x="1133" y="478"/>
                  <a:pt x="1132" y="479"/>
                  <a:pt x="1131" y="480"/>
                </a:cubicBezTo>
                <a:cubicBezTo>
                  <a:pt x="1130" y="480"/>
                  <a:pt x="1129" y="481"/>
                  <a:pt x="1128" y="482"/>
                </a:cubicBezTo>
                <a:cubicBezTo>
                  <a:pt x="1127" y="482"/>
                  <a:pt x="1127" y="483"/>
                  <a:pt x="1126" y="483"/>
                </a:cubicBezTo>
                <a:cubicBezTo>
                  <a:pt x="1124" y="484"/>
                  <a:pt x="1123" y="485"/>
                  <a:pt x="1122" y="486"/>
                </a:cubicBezTo>
                <a:cubicBezTo>
                  <a:pt x="1119" y="488"/>
                  <a:pt x="1116" y="489"/>
                  <a:pt x="1113" y="489"/>
                </a:cubicBezTo>
                <a:cubicBezTo>
                  <a:pt x="1110" y="490"/>
                  <a:pt x="1108" y="492"/>
                  <a:pt x="1105" y="493"/>
                </a:cubicBezTo>
                <a:cubicBezTo>
                  <a:pt x="1103" y="493"/>
                  <a:pt x="1102" y="494"/>
                  <a:pt x="1101" y="494"/>
                </a:cubicBezTo>
                <a:cubicBezTo>
                  <a:pt x="1100" y="494"/>
                  <a:pt x="1098" y="493"/>
                  <a:pt x="1097" y="495"/>
                </a:cubicBezTo>
                <a:cubicBezTo>
                  <a:pt x="1097" y="496"/>
                  <a:pt x="1097" y="496"/>
                  <a:pt x="1097" y="497"/>
                </a:cubicBezTo>
                <a:cubicBezTo>
                  <a:pt x="1098" y="497"/>
                  <a:pt x="1097" y="498"/>
                  <a:pt x="1098" y="499"/>
                </a:cubicBezTo>
                <a:cubicBezTo>
                  <a:pt x="1099" y="499"/>
                  <a:pt x="1101" y="498"/>
                  <a:pt x="1101" y="500"/>
                </a:cubicBezTo>
                <a:cubicBezTo>
                  <a:pt x="1102" y="502"/>
                  <a:pt x="1099" y="502"/>
                  <a:pt x="1098" y="501"/>
                </a:cubicBezTo>
                <a:cubicBezTo>
                  <a:pt x="1097" y="501"/>
                  <a:pt x="1097" y="500"/>
                  <a:pt x="1096" y="500"/>
                </a:cubicBezTo>
                <a:cubicBezTo>
                  <a:pt x="1096" y="500"/>
                  <a:pt x="1095" y="500"/>
                  <a:pt x="1094" y="500"/>
                </a:cubicBezTo>
                <a:cubicBezTo>
                  <a:pt x="1092" y="500"/>
                  <a:pt x="1091" y="500"/>
                  <a:pt x="1090" y="500"/>
                </a:cubicBezTo>
                <a:cubicBezTo>
                  <a:pt x="1089" y="499"/>
                  <a:pt x="1087" y="500"/>
                  <a:pt x="1086" y="500"/>
                </a:cubicBezTo>
                <a:cubicBezTo>
                  <a:pt x="1085" y="501"/>
                  <a:pt x="1084" y="502"/>
                  <a:pt x="1083" y="502"/>
                </a:cubicBezTo>
                <a:cubicBezTo>
                  <a:pt x="1082" y="502"/>
                  <a:pt x="1081" y="502"/>
                  <a:pt x="1080" y="502"/>
                </a:cubicBezTo>
                <a:cubicBezTo>
                  <a:pt x="1079" y="502"/>
                  <a:pt x="1078" y="502"/>
                  <a:pt x="1078" y="502"/>
                </a:cubicBezTo>
                <a:cubicBezTo>
                  <a:pt x="1077" y="503"/>
                  <a:pt x="1078" y="503"/>
                  <a:pt x="1078" y="504"/>
                </a:cubicBezTo>
                <a:cubicBezTo>
                  <a:pt x="1079" y="504"/>
                  <a:pt x="1079" y="505"/>
                  <a:pt x="1079" y="506"/>
                </a:cubicBezTo>
                <a:cubicBezTo>
                  <a:pt x="1079" y="507"/>
                  <a:pt x="1080" y="507"/>
                  <a:pt x="1080" y="508"/>
                </a:cubicBezTo>
                <a:cubicBezTo>
                  <a:pt x="1080" y="508"/>
                  <a:pt x="1079" y="509"/>
                  <a:pt x="1079" y="510"/>
                </a:cubicBezTo>
                <a:cubicBezTo>
                  <a:pt x="1078" y="510"/>
                  <a:pt x="1078" y="510"/>
                  <a:pt x="1077" y="511"/>
                </a:cubicBezTo>
                <a:cubicBezTo>
                  <a:pt x="1076" y="512"/>
                  <a:pt x="1077" y="514"/>
                  <a:pt x="1076" y="515"/>
                </a:cubicBezTo>
                <a:cubicBezTo>
                  <a:pt x="1075" y="516"/>
                  <a:pt x="1075" y="517"/>
                  <a:pt x="1076" y="518"/>
                </a:cubicBezTo>
                <a:cubicBezTo>
                  <a:pt x="1076" y="519"/>
                  <a:pt x="1076" y="520"/>
                  <a:pt x="1076" y="521"/>
                </a:cubicBezTo>
                <a:cubicBezTo>
                  <a:pt x="1075" y="522"/>
                  <a:pt x="1075" y="523"/>
                  <a:pt x="1074" y="524"/>
                </a:cubicBezTo>
                <a:cubicBezTo>
                  <a:pt x="1073" y="524"/>
                  <a:pt x="1073" y="524"/>
                  <a:pt x="1073" y="525"/>
                </a:cubicBezTo>
                <a:cubicBezTo>
                  <a:pt x="1072" y="525"/>
                  <a:pt x="1073" y="526"/>
                  <a:pt x="1072" y="526"/>
                </a:cubicBezTo>
                <a:cubicBezTo>
                  <a:pt x="1071" y="527"/>
                  <a:pt x="1070" y="527"/>
                  <a:pt x="1070" y="527"/>
                </a:cubicBezTo>
                <a:cubicBezTo>
                  <a:pt x="1068" y="527"/>
                  <a:pt x="1066" y="527"/>
                  <a:pt x="1064" y="527"/>
                </a:cubicBezTo>
                <a:cubicBezTo>
                  <a:pt x="1062" y="527"/>
                  <a:pt x="1060" y="527"/>
                  <a:pt x="1059" y="527"/>
                </a:cubicBezTo>
                <a:cubicBezTo>
                  <a:pt x="1057" y="527"/>
                  <a:pt x="1056" y="528"/>
                  <a:pt x="1054" y="528"/>
                </a:cubicBezTo>
                <a:cubicBezTo>
                  <a:pt x="1054" y="528"/>
                  <a:pt x="1053" y="528"/>
                  <a:pt x="1053" y="528"/>
                </a:cubicBezTo>
                <a:cubicBezTo>
                  <a:pt x="1052" y="527"/>
                  <a:pt x="1051" y="527"/>
                  <a:pt x="1051" y="527"/>
                </a:cubicBezTo>
                <a:cubicBezTo>
                  <a:pt x="1049" y="527"/>
                  <a:pt x="1048" y="527"/>
                  <a:pt x="1047" y="528"/>
                </a:cubicBezTo>
                <a:cubicBezTo>
                  <a:pt x="1045" y="528"/>
                  <a:pt x="1044" y="529"/>
                  <a:pt x="1043" y="529"/>
                </a:cubicBezTo>
                <a:cubicBezTo>
                  <a:pt x="1041" y="528"/>
                  <a:pt x="1040" y="527"/>
                  <a:pt x="1039" y="526"/>
                </a:cubicBezTo>
                <a:cubicBezTo>
                  <a:pt x="1036" y="524"/>
                  <a:pt x="1035" y="521"/>
                  <a:pt x="1033" y="519"/>
                </a:cubicBezTo>
                <a:cubicBezTo>
                  <a:pt x="1031" y="516"/>
                  <a:pt x="1028" y="514"/>
                  <a:pt x="1025" y="513"/>
                </a:cubicBezTo>
                <a:cubicBezTo>
                  <a:pt x="1023" y="512"/>
                  <a:pt x="1019" y="510"/>
                  <a:pt x="1021" y="507"/>
                </a:cubicBezTo>
                <a:cubicBezTo>
                  <a:pt x="1022" y="506"/>
                  <a:pt x="1023" y="505"/>
                  <a:pt x="1024" y="504"/>
                </a:cubicBezTo>
                <a:cubicBezTo>
                  <a:pt x="1026" y="503"/>
                  <a:pt x="1027" y="503"/>
                  <a:pt x="1028" y="503"/>
                </a:cubicBezTo>
                <a:cubicBezTo>
                  <a:pt x="1030" y="502"/>
                  <a:pt x="1029" y="501"/>
                  <a:pt x="1030" y="499"/>
                </a:cubicBezTo>
                <a:cubicBezTo>
                  <a:pt x="1030" y="498"/>
                  <a:pt x="1031" y="497"/>
                  <a:pt x="1033" y="497"/>
                </a:cubicBezTo>
                <a:cubicBezTo>
                  <a:pt x="1034" y="497"/>
                  <a:pt x="1036" y="497"/>
                  <a:pt x="1037" y="497"/>
                </a:cubicBezTo>
                <a:cubicBezTo>
                  <a:pt x="1039" y="497"/>
                  <a:pt x="1040" y="496"/>
                  <a:pt x="1041" y="496"/>
                </a:cubicBezTo>
                <a:cubicBezTo>
                  <a:pt x="1043" y="496"/>
                  <a:pt x="1044" y="497"/>
                  <a:pt x="1046" y="496"/>
                </a:cubicBezTo>
                <a:cubicBezTo>
                  <a:pt x="1047" y="496"/>
                  <a:pt x="1048" y="495"/>
                  <a:pt x="1050" y="495"/>
                </a:cubicBezTo>
                <a:cubicBezTo>
                  <a:pt x="1052" y="495"/>
                  <a:pt x="1057" y="497"/>
                  <a:pt x="1057" y="494"/>
                </a:cubicBezTo>
                <a:cubicBezTo>
                  <a:pt x="1057" y="492"/>
                  <a:pt x="1055" y="490"/>
                  <a:pt x="1054" y="489"/>
                </a:cubicBezTo>
                <a:cubicBezTo>
                  <a:pt x="1053" y="488"/>
                  <a:pt x="1053" y="487"/>
                  <a:pt x="1052" y="486"/>
                </a:cubicBezTo>
                <a:cubicBezTo>
                  <a:pt x="1052" y="485"/>
                  <a:pt x="1051" y="483"/>
                  <a:pt x="1050" y="482"/>
                </a:cubicBezTo>
                <a:cubicBezTo>
                  <a:pt x="1049" y="482"/>
                  <a:pt x="1049" y="481"/>
                  <a:pt x="1048" y="481"/>
                </a:cubicBezTo>
                <a:cubicBezTo>
                  <a:pt x="1046" y="480"/>
                  <a:pt x="1044" y="479"/>
                  <a:pt x="1043" y="477"/>
                </a:cubicBezTo>
                <a:cubicBezTo>
                  <a:pt x="1042" y="477"/>
                  <a:pt x="1042" y="476"/>
                  <a:pt x="1042" y="476"/>
                </a:cubicBezTo>
                <a:cubicBezTo>
                  <a:pt x="1041" y="475"/>
                  <a:pt x="1040" y="475"/>
                  <a:pt x="1041" y="474"/>
                </a:cubicBezTo>
                <a:cubicBezTo>
                  <a:pt x="1041" y="474"/>
                  <a:pt x="1043" y="473"/>
                  <a:pt x="1041" y="473"/>
                </a:cubicBezTo>
                <a:cubicBezTo>
                  <a:pt x="1040" y="473"/>
                  <a:pt x="1040" y="473"/>
                  <a:pt x="1039" y="473"/>
                </a:cubicBezTo>
                <a:cubicBezTo>
                  <a:pt x="1038" y="473"/>
                  <a:pt x="1038" y="473"/>
                  <a:pt x="1037" y="473"/>
                </a:cubicBezTo>
                <a:cubicBezTo>
                  <a:pt x="1036" y="473"/>
                  <a:pt x="1034" y="473"/>
                  <a:pt x="1033" y="472"/>
                </a:cubicBezTo>
                <a:cubicBezTo>
                  <a:pt x="1032" y="472"/>
                  <a:pt x="1031" y="472"/>
                  <a:pt x="1031" y="471"/>
                </a:cubicBezTo>
                <a:cubicBezTo>
                  <a:pt x="1029" y="471"/>
                  <a:pt x="1027" y="471"/>
                  <a:pt x="1026" y="471"/>
                </a:cubicBezTo>
                <a:cubicBezTo>
                  <a:pt x="1022" y="471"/>
                  <a:pt x="1018" y="470"/>
                  <a:pt x="1015" y="470"/>
                </a:cubicBezTo>
                <a:cubicBezTo>
                  <a:pt x="1013" y="470"/>
                  <a:pt x="1012" y="470"/>
                  <a:pt x="1010" y="469"/>
                </a:cubicBezTo>
                <a:cubicBezTo>
                  <a:pt x="1009" y="469"/>
                  <a:pt x="1007" y="469"/>
                  <a:pt x="1006" y="468"/>
                </a:cubicBezTo>
                <a:cubicBezTo>
                  <a:pt x="1003" y="468"/>
                  <a:pt x="1000" y="468"/>
                  <a:pt x="997" y="467"/>
                </a:cubicBezTo>
                <a:cubicBezTo>
                  <a:pt x="994" y="467"/>
                  <a:pt x="991" y="467"/>
                  <a:pt x="989" y="466"/>
                </a:cubicBezTo>
                <a:cubicBezTo>
                  <a:pt x="988" y="466"/>
                  <a:pt x="988" y="465"/>
                  <a:pt x="987" y="466"/>
                </a:cubicBezTo>
                <a:cubicBezTo>
                  <a:pt x="987" y="467"/>
                  <a:pt x="988" y="467"/>
                  <a:pt x="988" y="467"/>
                </a:cubicBezTo>
                <a:cubicBezTo>
                  <a:pt x="989" y="468"/>
                  <a:pt x="990" y="468"/>
                  <a:pt x="991" y="469"/>
                </a:cubicBezTo>
                <a:cubicBezTo>
                  <a:pt x="993" y="471"/>
                  <a:pt x="995" y="473"/>
                  <a:pt x="997" y="474"/>
                </a:cubicBezTo>
                <a:cubicBezTo>
                  <a:pt x="999" y="474"/>
                  <a:pt x="1000" y="474"/>
                  <a:pt x="1002" y="475"/>
                </a:cubicBezTo>
                <a:cubicBezTo>
                  <a:pt x="1003" y="476"/>
                  <a:pt x="1004" y="477"/>
                  <a:pt x="1005" y="478"/>
                </a:cubicBezTo>
                <a:cubicBezTo>
                  <a:pt x="1006" y="479"/>
                  <a:pt x="1007" y="480"/>
                  <a:pt x="1008" y="482"/>
                </a:cubicBezTo>
                <a:cubicBezTo>
                  <a:pt x="1008" y="482"/>
                  <a:pt x="1008" y="483"/>
                  <a:pt x="1008" y="483"/>
                </a:cubicBezTo>
                <a:cubicBezTo>
                  <a:pt x="1008" y="484"/>
                  <a:pt x="1009" y="485"/>
                  <a:pt x="1009" y="485"/>
                </a:cubicBezTo>
                <a:cubicBezTo>
                  <a:pt x="1010" y="487"/>
                  <a:pt x="1009" y="488"/>
                  <a:pt x="1007" y="488"/>
                </a:cubicBezTo>
                <a:cubicBezTo>
                  <a:pt x="1006" y="488"/>
                  <a:pt x="1004" y="489"/>
                  <a:pt x="1005" y="490"/>
                </a:cubicBezTo>
                <a:cubicBezTo>
                  <a:pt x="1005" y="491"/>
                  <a:pt x="1006" y="491"/>
                  <a:pt x="1006" y="492"/>
                </a:cubicBezTo>
                <a:cubicBezTo>
                  <a:pt x="1006" y="493"/>
                  <a:pt x="1006" y="493"/>
                  <a:pt x="1005" y="493"/>
                </a:cubicBezTo>
                <a:cubicBezTo>
                  <a:pt x="1004" y="494"/>
                  <a:pt x="1003" y="495"/>
                  <a:pt x="1003" y="496"/>
                </a:cubicBezTo>
                <a:cubicBezTo>
                  <a:pt x="1003" y="497"/>
                  <a:pt x="1004" y="498"/>
                  <a:pt x="1003" y="499"/>
                </a:cubicBezTo>
                <a:cubicBezTo>
                  <a:pt x="1003" y="500"/>
                  <a:pt x="1002" y="501"/>
                  <a:pt x="1001" y="503"/>
                </a:cubicBezTo>
                <a:cubicBezTo>
                  <a:pt x="1001" y="504"/>
                  <a:pt x="1000" y="505"/>
                  <a:pt x="999" y="506"/>
                </a:cubicBezTo>
                <a:cubicBezTo>
                  <a:pt x="999" y="508"/>
                  <a:pt x="998" y="509"/>
                  <a:pt x="997" y="511"/>
                </a:cubicBezTo>
                <a:cubicBezTo>
                  <a:pt x="997" y="514"/>
                  <a:pt x="1000" y="515"/>
                  <a:pt x="1002" y="516"/>
                </a:cubicBezTo>
                <a:cubicBezTo>
                  <a:pt x="1004" y="516"/>
                  <a:pt x="1005" y="517"/>
                  <a:pt x="1006" y="518"/>
                </a:cubicBezTo>
                <a:cubicBezTo>
                  <a:pt x="1007" y="520"/>
                  <a:pt x="1008" y="519"/>
                  <a:pt x="1009" y="520"/>
                </a:cubicBezTo>
                <a:cubicBezTo>
                  <a:pt x="1011" y="521"/>
                  <a:pt x="1012" y="522"/>
                  <a:pt x="1012" y="524"/>
                </a:cubicBezTo>
                <a:cubicBezTo>
                  <a:pt x="1012" y="525"/>
                  <a:pt x="1012" y="526"/>
                  <a:pt x="1012" y="526"/>
                </a:cubicBezTo>
                <a:cubicBezTo>
                  <a:pt x="1012" y="527"/>
                  <a:pt x="1012" y="528"/>
                  <a:pt x="1013" y="529"/>
                </a:cubicBezTo>
                <a:cubicBezTo>
                  <a:pt x="1013" y="531"/>
                  <a:pt x="1012" y="532"/>
                  <a:pt x="1012" y="534"/>
                </a:cubicBezTo>
                <a:cubicBezTo>
                  <a:pt x="1011" y="539"/>
                  <a:pt x="1006" y="541"/>
                  <a:pt x="1005" y="545"/>
                </a:cubicBezTo>
                <a:cubicBezTo>
                  <a:pt x="1004" y="547"/>
                  <a:pt x="1004" y="548"/>
                  <a:pt x="1004" y="549"/>
                </a:cubicBezTo>
                <a:cubicBezTo>
                  <a:pt x="1004" y="551"/>
                  <a:pt x="1004" y="552"/>
                  <a:pt x="1005" y="553"/>
                </a:cubicBezTo>
                <a:cubicBezTo>
                  <a:pt x="1005" y="555"/>
                  <a:pt x="1005" y="556"/>
                  <a:pt x="1005" y="557"/>
                </a:cubicBezTo>
                <a:cubicBezTo>
                  <a:pt x="1005" y="558"/>
                  <a:pt x="1006" y="558"/>
                  <a:pt x="1006" y="559"/>
                </a:cubicBezTo>
                <a:cubicBezTo>
                  <a:pt x="1005" y="559"/>
                  <a:pt x="1005" y="558"/>
                  <a:pt x="1005" y="558"/>
                </a:cubicBezTo>
                <a:cubicBezTo>
                  <a:pt x="1004" y="557"/>
                  <a:pt x="1004" y="557"/>
                  <a:pt x="1004" y="556"/>
                </a:cubicBezTo>
                <a:cubicBezTo>
                  <a:pt x="1004" y="556"/>
                  <a:pt x="1004" y="555"/>
                  <a:pt x="1004" y="554"/>
                </a:cubicBezTo>
                <a:cubicBezTo>
                  <a:pt x="1004" y="554"/>
                  <a:pt x="1003" y="554"/>
                  <a:pt x="1003" y="553"/>
                </a:cubicBezTo>
                <a:cubicBezTo>
                  <a:pt x="1003" y="552"/>
                  <a:pt x="1003" y="552"/>
                  <a:pt x="1002" y="551"/>
                </a:cubicBezTo>
                <a:cubicBezTo>
                  <a:pt x="1002" y="551"/>
                  <a:pt x="1001" y="551"/>
                  <a:pt x="1001" y="550"/>
                </a:cubicBezTo>
                <a:cubicBezTo>
                  <a:pt x="1000" y="550"/>
                  <a:pt x="1000" y="549"/>
                  <a:pt x="999" y="549"/>
                </a:cubicBezTo>
                <a:cubicBezTo>
                  <a:pt x="998" y="549"/>
                  <a:pt x="998" y="550"/>
                  <a:pt x="997" y="550"/>
                </a:cubicBezTo>
                <a:cubicBezTo>
                  <a:pt x="997" y="550"/>
                  <a:pt x="996" y="550"/>
                  <a:pt x="995" y="551"/>
                </a:cubicBezTo>
                <a:cubicBezTo>
                  <a:pt x="995" y="551"/>
                  <a:pt x="994" y="551"/>
                  <a:pt x="994" y="552"/>
                </a:cubicBezTo>
                <a:cubicBezTo>
                  <a:pt x="994" y="552"/>
                  <a:pt x="993" y="552"/>
                  <a:pt x="993" y="553"/>
                </a:cubicBezTo>
                <a:cubicBezTo>
                  <a:pt x="992" y="554"/>
                  <a:pt x="992" y="554"/>
                  <a:pt x="993" y="554"/>
                </a:cubicBezTo>
                <a:cubicBezTo>
                  <a:pt x="993" y="555"/>
                  <a:pt x="993" y="556"/>
                  <a:pt x="993" y="556"/>
                </a:cubicBezTo>
                <a:cubicBezTo>
                  <a:pt x="992" y="556"/>
                  <a:pt x="992" y="555"/>
                  <a:pt x="992" y="555"/>
                </a:cubicBezTo>
                <a:cubicBezTo>
                  <a:pt x="992" y="555"/>
                  <a:pt x="992" y="555"/>
                  <a:pt x="991" y="555"/>
                </a:cubicBezTo>
                <a:cubicBezTo>
                  <a:pt x="991" y="554"/>
                  <a:pt x="990" y="555"/>
                  <a:pt x="990" y="554"/>
                </a:cubicBezTo>
                <a:cubicBezTo>
                  <a:pt x="990" y="554"/>
                  <a:pt x="989" y="553"/>
                  <a:pt x="990" y="553"/>
                </a:cubicBezTo>
                <a:cubicBezTo>
                  <a:pt x="990" y="552"/>
                  <a:pt x="990" y="553"/>
                  <a:pt x="990" y="553"/>
                </a:cubicBezTo>
                <a:cubicBezTo>
                  <a:pt x="991" y="552"/>
                  <a:pt x="991" y="551"/>
                  <a:pt x="992" y="550"/>
                </a:cubicBezTo>
                <a:cubicBezTo>
                  <a:pt x="993" y="550"/>
                  <a:pt x="994" y="550"/>
                  <a:pt x="995" y="549"/>
                </a:cubicBezTo>
                <a:cubicBezTo>
                  <a:pt x="996" y="549"/>
                  <a:pt x="997" y="547"/>
                  <a:pt x="996" y="546"/>
                </a:cubicBezTo>
                <a:cubicBezTo>
                  <a:pt x="996" y="545"/>
                  <a:pt x="994" y="546"/>
                  <a:pt x="993" y="546"/>
                </a:cubicBezTo>
                <a:cubicBezTo>
                  <a:pt x="993" y="545"/>
                  <a:pt x="992" y="545"/>
                  <a:pt x="992" y="545"/>
                </a:cubicBezTo>
                <a:cubicBezTo>
                  <a:pt x="991" y="544"/>
                  <a:pt x="989" y="543"/>
                  <a:pt x="988" y="542"/>
                </a:cubicBezTo>
                <a:cubicBezTo>
                  <a:pt x="986" y="540"/>
                  <a:pt x="983" y="542"/>
                  <a:pt x="980" y="541"/>
                </a:cubicBezTo>
                <a:cubicBezTo>
                  <a:pt x="979" y="541"/>
                  <a:pt x="979" y="541"/>
                  <a:pt x="978" y="541"/>
                </a:cubicBezTo>
                <a:cubicBezTo>
                  <a:pt x="977" y="540"/>
                  <a:pt x="977" y="540"/>
                  <a:pt x="976" y="540"/>
                </a:cubicBezTo>
                <a:cubicBezTo>
                  <a:pt x="975" y="540"/>
                  <a:pt x="974" y="539"/>
                  <a:pt x="972" y="539"/>
                </a:cubicBezTo>
                <a:cubicBezTo>
                  <a:pt x="971" y="539"/>
                  <a:pt x="970" y="538"/>
                  <a:pt x="969" y="538"/>
                </a:cubicBezTo>
                <a:cubicBezTo>
                  <a:pt x="967" y="538"/>
                  <a:pt x="966" y="539"/>
                  <a:pt x="964" y="540"/>
                </a:cubicBezTo>
                <a:cubicBezTo>
                  <a:pt x="963" y="542"/>
                  <a:pt x="961" y="543"/>
                  <a:pt x="960" y="545"/>
                </a:cubicBezTo>
                <a:cubicBezTo>
                  <a:pt x="959" y="547"/>
                  <a:pt x="956" y="550"/>
                  <a:pt x="954" y="551"/>
                </a:cubicBezTo>
                <a:cubicBezTo>
                  <a:pt x="953" y="551"/>
                  <a:pt x="951" y="552"/>
                  <a:pt x="950" y="552"/>
                </a:cubicBezTo>
                <a:cubicBezTo>
                  <a:pt x="948" y="553"/>
                  <a:pt x="947" y="553"/>
                  <a:pt x="946" y="554"/>
                </a:cubicBezTo>
                <a:cubicBezTo>
                  <a:pt x="944" y="554"/>
                  <a:pt x="943" y="554"/>
                  <a:pt x="941" y="555"/>
                </a:cubicBezTo>
                <a:cubicBezTo>
                  <a:pt x="940" y="555"/>
                  <a:pt x="939" y="556"/>
                  <a:pt x="937" y="557"/>
                </a:cubicBezTo>
                <a:cubicBezTo>
                  <a:pt x="935" y="557"/>
                  <a:pt x="934" y="559"/>
                  <a:pt x="933" y="560"/>
                </a:cubicBezTo>
                <a:cubicBezTo>
                  <a:pt x="930" y="561"/>
                  <a:pt x="928" y="563"/>
                  <a:pt x="925" y="565"/>
                </a:cubicBezTo>
                <a:cubicBezTo>
                  <a:pt x="924" y="566"/>
                  <a:pt x="922" y="567"/>
                  <a:pt x="921" y="568"/>
                </a:cubicBezTo>
                <a:cubicBezTo>
                  <a:pt x="920" y="568"/>
                  <a:pt x="919" y="569"/>
                  <a:pt x="918" y="570"/>
                </a:cubicBezTo>
                <a:cubicBezTo>
                  <a:pt x="917" y="571"/>
                  <a:pt x="917" y="573"/>
                  <a:pt x="918" y="574"/>
                </a:cubicBezTo>
                <a:cubicBezTo>
                  <a:pt x="918" y="575"/>
                  <a:pt x="919" y="576"/>
                  <a:pt x="920" y="578"/>
                </a:cubicBezTo>
                <a:cubicBezTo>
                  <a:pt x="921" y="579"/>
                  <a:pt x="921" y="580"/>
                  <a:pt x="922" y="581"/>
                </a:cubicBezTo>
                <a:cubicBezTo>
                  <a:pt x="923" y="582"/>
                  <a:pt x="924" y="583"/>
                  <a:pt x="925" y="584"/>
                </a:cubicBezTo>
                <a:cubicBezTo>
                  <a:pt x="928" y="586"/>
                  <a:pt x="929" y="588"/>
                  <a:pt x="930" y="591"/>
                </a:cubicBezTo>
                <a:cubicBezTo>
                  <a:pt x="931" y="593"/>
                  <a:pt x="932" y="594"/>
                  <a:pt x="932" y="595"/>
                </a:cubicBezTo>
                <a:cubicBezTo>
                  <a:pt x="933" y="596"/>
                  <a:pt x="933" y="598"/>
                  <a:pt x="933" y="599"/>
                </a:cubicBezTo>
                <a:cubicBezTo>
                  <a:pt x="933" y="600"/>
                  <a:pt x="934" y="602"/>
                  <a:pt x="933" y="602"/>
                </a:cubicBezTo>
                <a:cubicBezTo>
                  <a:pt x="932" y="603"/>
                  <a:pt x="930" y="602"/>
                  <a:pt x="929" y="602"/>
                </a:cubicBezTo>
                <a:cubicBezTo>
                  <a:pt x="926" y="601"/>
                  <a:pt x="923" y="600"/>
                  <a:pt x="920" y="600"/>
                </a:cubicBezTo>
                <a:cubicBezTo>
                  <a:pt x="918" y="600"/>
                  <a:pt x="917" y="600"/>
                  <a:pt x="915" y="600"/>
                </a:cubicBezTo>
                <a:cubicBezTo>
                  <a:pt x="914" y="599"/>
                  <a:pt x="912" y="599"/>
                  <a:pt x="911" y="599"/>
                </a:cubicBezTo>
                <a:cubicBezTo>
                  <a:pt x="910" y="599"/>
                  <a:pt x="909" y="599"/>
                  <a:pt x="908" y="599"/>
                </a:cubicBezTo>
                <a:cubicBezTo>
                  <a:pt x="906" y="598"/>
                  <a:pt x="904" y="599"/>
                  <a:pt x="903" y="598"/>
                </a:cubicBezTo>
                <a:cubicBezTo>
                  <a:pt x="900" y="598"/>
                  <a:pt x="896" y="597"/>
                  <a:pt x="893" y="597"/>
                </a:cubicBezTo>
                <a:cubicBezTo>
                  <a:pt x="892" y="597"/>
                  <a:pt x="891" y="596"/>
                  <a:pt x="889" y="596"/>
                </a:cubicBezTo>
                <a:cubicBezTo>
                  <a:pt x="888" y="596"/>
                  <a:pt x="888" y="596"/>
                  <a:pt x="887" y="597"/>
                </a:cubicBezTo>
                <a:cubicBezTo>
                  <a:pt x="887" y="598"/>
                  <a:pt x="888" y="598"/>
                  <a:pt x="887" y="598"/>
                </a:cubicBezTo>
                <a:cubicBezTo>
                  <a:pt x="886" y="598"/>
                  <a:pt x="885" y="598"/>
                  <a:pt x="885" y="598"/>
                </a:cubicBezTo>
                <a:cubicBezTo>
                  <a:pt x="884" y="597"/>
                  <a:pt x="885" y="597"/>
                  <a:pt x="885" y="596"/>
                </a:cubicBezTo>
                <a:cubicBezTo>
                  <a:pt x="886" y="596"/>
                  <a:pt x="886" y="595"/>
                  <a:pt x="887" y="595"/>
                </a:cubicBezTo>
                <a:cubicBezTo>
                  <a:pt x="888" y="595"/>
                  <a:pt x="888" y="595"/>
                  <a:pt x="889" y="595"/>
                </a:cubicBezTo>
                <a:cubicBezTo>
                  <a:pt x="890" y="595"/>
                  <a:pt x="892" y="595"/>
                  <a:pt x="892" y="594"/>
                </a:cubicBezTo>
                <a:cubicBezTo>
                  <a:pt x="893" y="592"/>
                  <a:pt x="891" y="592"/>
                  <a:pt x="890" y="591"/>
                </a:cubicBezTo>
                <a:cubicBezTo>
                  <a:pt x="888" y="591"/>
                  <a:pt x="887" y="590"/>
                  <a:pt x="886" y="590"/>
                </a:cubicBezTo>
                <a:cubicBezTo>
                  <a:pt x="884" y="590"/>
                  <a:pt x="883" y="589"/>
                  <a:pt x="882" y="588"/>
                </a:cubicBezTo>
                <a:cubicBezTo>
                  <a:pt x="879" y="587"/>
                  <a:pt x="877" y="585"/>
                  <a:pt x="874" y="584"/>
                </a:cubicBezTo>
                <a:cubicBezTo>
                  <a:pt x="873" y="584"/>
                  <a:pt x="872" y="583"/>
                  <a:pt x="870" y="582"/>
                </a:cubicBezTo>
                <a:cubicBezTo>
                  <a:pt x="869" y="582"/>
                  <a:pt x="867" y="581"/>
                  <a:pt x="866" y="581"/>
                </a:cubicBezTo>
                <a:cubicBezTo>
                  <a:pt x="865" y="581"/>
                  <a:pt x="863" y="581"/>
                  <a:pt x="862" y="582"/>
                </a:cubicBezTo>
                <a:cubicBezTo>
                  <a:pt x="861" y="583"/>
                  <a:pt x="861" y="584"/>
                  <a:pt x="861" y="586"/>
                </a:cubicBezTo>
                <a:cubicBezTo>
                  <a:pt x="861" y="588"/>
                  <a:pt x="860" y="588"/>
                  <a:pt x="859" y="589"/>
                </a:cubicBezTo>
                <a:cubicBezTo>
                  <a:pt x="858" y="590"/>
                  <a:pt x="857" y="590"/>
                  <a:pt x="856" y="590"/>
                </a:cubicBezTo>
                <a:cubicBezTo>
                  <a:pt x="855" y="590"/>
                  <a:pt x="854" y="589"/>
                  <a:pt x="854" y="589"/>
                </a:cubicBezTo>
                <a:cubicBezTo>
                  <a:pt x="853" y="590"/>
                  <a:pt x="853" y="591"/>
                  <a:pt x="854" y="591"/>
                </a:cubicBezTo>
                <a:cubicBezTo>
                  <a:pt x="854" y="591"/>
                  <a:pt x="855" y="591"/>
                  <a:pt x="855" y="592"/>
                </a:cubicBezTo>
                <a:cubicBezTo>
                  <a:pt x="856" y="593"/>
                  <a:pt x="856" y="594"/>
                  <a:pt x="856" y="594"/>
                </a:cubicBezTo>
                <a:cubicBezTo>
                  <a:pt x="857" y="595"/>
                  <a:pt x="858" y="596"/>
                  <a:pt x="859" y="597"/>
                </a:cubicBezTo>
                <a:cubicBezTo>
                  <a:pt x="860" y="598"/>
                  <a:pt x="861" y="600"/>
                  <a:pt x="862" y="601"/>
                </a:cubicBezTo>
                <a:cubicBezTo>
                  <a:pt x="863" y="602"/>
                  <a:pt x="864" y="603"/>
                  <a:pt x="865" y="604"/>
                </a:cubicBezTo>
                <a:cubicBezTo>
                  <a:pt x="867" y="604"/>
                  <a:pt x="867" y="606"/>
                  <a:pt x="868" y="607"/>
                </a:cubicBezTo>
                <a:cubicBezTo>
                  <a:pt x="869" y="608"/>
                  <a:pt x="870" y="609"/>
                  <a:pt x="872" y="608"/>
                </a:cubicBezTo>
                <a:cubicBezTo>
                  <a:pt x="872" y="608"/>
                  <a:pt x="873" y="608"/>
                  <a:pt x="874" y="607"/>
                </a:cubicBezTo>
                <a:cubicBezTo>
                  <a:pt x="875" y="607"/>
                  <a:pt x="875" y="607"/>
                  <a:pt x="876" y="607"/>
                </a:cubicBezTo>
                <a:cubicBezTo>
                  <a:pt x="878" y="608"/>
                  <a:pt x="877" y="606"/>
                  <a:pt x="879" y="605"/>
                </a:cubicBezTo>
                <a:cubicBezTo>
                  <a:pt x="881" y="605"/>
                  <a:pt x="880" y="608"/>
                  <a:pt x="881" y="608"/>
                </a:cubicBezTo>
                <a:cubicBezTo>
                  <a:pt x="881" y="609"/>
                  <a:pt x="882" y="609"/>
                  <a:pt x="883" y="609"/>
                </a:cubicBezTo>
                <a:cubicBezTo>
                  <a:pt x="884" y="610"/>
                  <a:pt x="884" y="610"/>
                  <a:pt x="884" y="611"/>
                </a:cubicBezTo>
                <a:cubicBezTo>
                  <a:pt x="884" y="612"/>
                  <a:pt x="884" y="614"/>
                  <a:pt x="885" y="615"/>
                </a:cubicBezTo>
                <a:cubicBezTo>
                  <a:pt x="885" y="616"/>
                  <a:pt x="886" y="618"/>
                  <a:pt x="885" y="619"/>
                </a:cubicBezTo>
                <a:cubicBezTo>
                  <a:pt x="884" y="620"/>
                  <a:pt x="883" y="621"/>
                  <a:pt x="882" y="621"/>
                </a:cubicBezTo>
                <a:cubicBezTo>
                  <a:pt x="881" y="622"/>
                  <a:pt x="880" y="622"/>
                  <a:pt x="878" y="622"/>
                </a:cubicBezTo>
                <a:cubicBezTo>
                  <a:pt x="876" y="622"/>
                  <a:pt x="876" y="624"/>
                  <a:pt x="875" y="625"/>
                </a:cubicBezTo>
                <a:cubicBezTo>
                  <a:pt x="873" y="625"/>
                  <a:pt x="872" y="626"/>
                  <a:pt x="870" y="625"/>
                </a:cubicBezTo>
                <a:cubicBezTo>
                  <a:pt x="869" y="624"/>
                  <a:pt x="868" y="624"/>
                  <a:pt x="867" y="624"/>
                </a:cubicBezTo>
                <a:cubicBezTo>
                  <a:pt x="865" y="623"/>
                  <a:pt x="864" y="623"/>
                  <a:pt x="863" y="622"/>
                </a:cubicBezTo>
                <a:cubicBezTo>
                  <a:pt x="862" y="622"/>
                  <a:pt x="860" y="622"/>
                  <a:pt x="859" y="621"/>
                </a:cubicBezTo>
                <a:cubicBezTo>
                  <a:pt x="856" y="620"/>
                  <a:pt x="853" y="619"/>
                  <a:pt x="851" y="617"/>
                </a:cubicBezTo>
                <a:cubicBezTo>
                  <a:pt x="850" y="616"/>
                  <a:pt x="849" y="615"/>
                  <a:pt x="848" y="614"/>
                </a:cubicBezTo>
                <a:cubicBezTo>
                  <a:pt x="847" y="612"/>
                  <a:pt x="846" y="611"/>
                  <a:pt x="845" y="610"/>
                </a:cubicBezTo>
                <a:cubicBezTo>
                  <a:pt x="843" y="609"/>
                  <a:pt x="841" y="609"/>
                  <a:pt x="839" y="608"/>
                </a:cubicBezTo>
                <a:cubicBezTo>
                  <a:pt x="837" y="608"/>
                  <a:pt x="836" y="608"/>
                  <a:pt x="834" y="608"/>
                </a:cubicBezTo>
                <a:cubicBezTo>
                  <a:pt x="833" y="608"/>
                  <a:pt x="831" y="607"/>
                  <a:pt x="830" y="607"/>
                </a:cubicBezTo>
                <a:cubicBezTo>
                  <a:pt x="828" y="607"/>
                  <a:pt x="827" y="606"/>
                  <a:pt x="826" y="605"/>
                </a:cubicBezTo>
                <a:cubicBezTo>
                  <a:pt x="824" y="605"/>
                  <a:pt x="824" y="604"/>
                  <a:pt x="822" y="604"/>
                </a:cubicBezTo>
                <a:cubicBezTo>
                  <a:pt x="821" y="603"/>
                  <a:pt x="820" y="602"/>
                  <a:pt x="821" y="600"/>
                </a:cubicBezTo>
                <a:cubicBezTo>
                  <a:pt x="821" y="599"/>
                  <a:pt x="822" y="599"/>
                  <a:pt x="822" y="598"/>
                </a:cubicBezTo>
                <a:cubicBezTo>
                  <a:pt x="822" y="598"/>
                  <a:pt x="822" y="597"/>
                  <a:pt x="822" y="597"/>
                </a:cubicBezTo>
                <a:cubicBezTo>
                  <a:pt x="823" y="596"/>
                  <a:pt x="826" y="596"/>
                  <a:pt x="825" y="595"/>
                </a:cubicBezTo>
                <a:cubicBezTo>
                  <a:pt x="824" y="594"/>
                  <a:pt x="824" y="594"/>
                  <a:pt x="824" y="594"/>
                </a:cubicBezTo>
                <a:cubicBezTo>
                  <a:pt x="823" y="593"/>
                  <a:pt x="824" y="592"/>
                  <a:pt x="823" y="592"/>
                </a:cubicBezTo>
                <a:cubicBezTo>
                  <a:pt x="823" y="590"/>
                  <a:pt x="821" y="590"/>
                  <a:pt x="820" y="588"/>
                </a:cubicBezTo>
                <a:cubicBezTo>
                  <a:pt x="820" y="588"/>
                  <a:pt x="819" y="587"/>
                  <a:pt x="819" y="587"/>
                </a:cubicBezTo>
                <a:cubicBezTo>
                  <a:pt x="819" y="586"/>
                  <a:pt x="819" y="585"/>
                  <a:pt x="819" y="584"/>
                </a:cubicBezTo>
                <a:cubicBezTo>
                  <a:pt x="818" y="583"/>
                  <a:pt x="817" y="581"/>
                  <a:pt x="816" y="579"/>
                </a:cubicBezTo>
                <a:cubicBezTo>
                  <a:pt x="816" y="579"/>
                  <a:pt x="816" y="579"/>
                  <a:pt x="815" y="578"/>
                </a:cubicBezTo>
                <a:cubicBezTo>
                  <a:pt x="815" y="578"/>
                  <a:pt x="815" y="577"/>
                  <a:pt x="814" y="577"/>
                </a:cubicBezTo>
                <a:cubicBezTo>
                  <a:pt x="814" y="577"/>
                  <a:pt x="813" y="577"/>
                  <a:pt x="812" y="576"/>
                </a:cubicBezTo>
                <a:cubicBezTo>
                  <a:pt x="812" y="575"/>
                  <a:pt x="813" y="575"/>
                  <a:pt x="813" y="575"/>
                </a:cubicBezTo>
                <a:cubicBezTo>
                  <a:pt x="814" y="574"/>
                  <a:pt x="815" y="574"/>
                  <a:pt x="815" y="574"/>
                </a:cubicBezTo>
                <a:cubicBezTo>
                  <a:pt x="817" y="573"/>
                  <a:pt x="818" y="574"/>
                  <a:pt x="819" y="572"/>
                </a:cubicBezTo>
                <a:cubicBezTo>
                  <a:pt x="819" y="571"/>
                  <a:pt x="819" y="569"/>
                  <a:pt x="819" y="568"/>
                </a:cubicBezTo>
                <a:cubicBezTo>
                  <a:pt x="819" y="566"/>
                  <a:pt x="819" y="565"/>
                  <a:pt x="819" y="564"/>
                </a:cubicBezTo>
                <a:cubicBezTo>
                  <a:pt x="820" y="562"/>
                  <a:pt x="821" y="564"/>
                  <a:pt x="822" y="564"/>
                </a:cubicBezTo>
                <a:cubicBezTo>
                  <a:pt x="822" y="565"/>
                  <a:pt x="823" y="565"/>
                  <a:pt x="824" y="565"/>
                </a:cubicBezTo>
                <a:cubicBezTo>
                  <a:pt x="825" y="564"/>
                  <a:pt x="824" y="563"/>
                  <a:pt x="824" y="563"/>
                </a:cubicBezTo>
                <a:cubicBezTo>
                  <a:pt x="824" y="562"/>
                  <a:pt x="823" y="562"/>
                  <a:pt x="823" y="561"/>
                </a:cubicBezTo>
                <a:cubicBezTo>
                  <a:pt x="823" y="560"/>
                  <a:pt x="822" y="560"/>
                  <a:pt x="822" y="559"/>
                </a:cubicBezTo>
                <a:cubicBezTo>
                  <a:pt x="821" y="559"/>
                  <a:pt x="821" y="558"/>
                  <a:pt x="821" y="557"/>
                </a:cubicBezTo>
                <a:cubicBezTo>
                  <a:pt x="820" y="557"/>
                  <a:pt x="820" y="557"/>
                  <a:pt x="819" y="556"/>
                </a:cubicBezTo>
                <a:cubicBezTo>
                  <a:pt x="819" y="555"/>
                  <a:pt x="819" y="555"/>
                  <a:pt x="818" y="554"/>
                </a:cubicBezTo>
                <a:cubicBezTo>
                  <a:pt x="818" y="553"/>
                  <a:pt x="817" y="553"/>
                  <a:pt x="816" y="553"/>
                </a:cubicBezTo>
                <a:cubicBezTo>
                  <a:pt x="815" y="552"/>
                  <a:pt x="814" y="551"/>
                  <a:pt x="813" y="551"/>
                </a:cubicBezTo>
                <a:cubicBezTo>
                  <a:pt x="811" y="550"/>
                  <a:pt x="810" y="550"/>
                  <a:pt x="808" y="550"/>
                </a:cubicBezTo>
                <a:cubicBezTo>
                  <a:pt x="807" y="550"/>
                  <a:pt x="806" y="549"/>
                  <a:pt x="804" y="548"/>
                </a:cubicBezTo>
                <a:cubicBezTo>
                  <a:pt x="803" y="547"/>
                  <a:pt x="801" y="548"/>
                  <a:pt x="800" y="547"/>
                </a:cubicBezTo>
                <a:cubicBezTo>
                  <a:pt x="798" y="547"/>
                  <a:pt x="797" y="546"/>
                  <a:pt x="796" y="546"/>
                </a:cubicBezTo>
                <a:cubicBezTo>
                  <a:pt x="795" y="546"/>
                  <a:pt x="794" y="546"/>
                  <a:pt x="794" y="545"/>
                </a:cubicBezTo>
                <a:cubicBezTo>
                  <a:pt x="793" y="545"/>
                  <a:pt x="794" y="544"/>
                  <a:pt x="794" y="544"/>
                </a:cubicBezTo>
                <a:cubicBezTo>
                  <a:pt x="796" y="544"/>
                  <a:pt x="797" y="544"/>
                  <a:pt x="798" y="543"/>
                </a:cubicBezTo>
                <a:cubicBezTo>
                  <a:pt x="799" y="543"/>
                  <a:pt x="800" y="541"/>
                  <a:pt x="799" y="540"/>
                </a:cubicBezTo>
                <a:cubicBezTo>
                  <a:pt x="798" y="539"/>
                  <a:pt x="796" y="539"/>
                  <a:pt x="795" y="539"/>
                </a:cubicBezTo>
                <a:cubicBezTo>
                  <a:pt x="794" y="539"/>
                  <a:pt x="793" y="538"/>
                  <a:pt x="792" y="538"/>
                </a:cubicBezTo>
                <a:cubicBezTo>
                  <a:pt x="791" y="538"/>
                  <a:pt x="790" y="539"/>
                  <a:pt x="789" y="538"/>
                </a:cubicBezTo>
                <a:cubicBezTo>
                  <a:pt x="788" y="538"/>
                  <a:pt x="789" y="537"/>
                  <a:pt x="788" y="537"/>
                </a:cubicBezTo>
                <a:cubicBezTo>
                  <a:pt x="787" y="536"/>
                  <a:pt x="786" y="536"/>
                  <a:pt x="786" y="536"/>
                </a:cubicBezTo>
                <a:cubicBezTo>
                  <a:pt x="785" y="536"/>
                  <a:pt x="787" y="536"/>
                  <a:pt x="787" y="536"/>
                </a:cubicBezTo>
                <a:cubicBezTo>
                  <a:pt x="787" y="535"/>
                  <a:pt x="788" y="535"/>
                  <a:pt x="788" y="535"/>
                </a:cubicBezTo>
                <a:cubicBezTo>
                  <a:pt x="789" y="535"/>
                  <a:pt x="792" y="534"/>
                  <a:pt x="790" y="533"/>
                </a:cubicBezTo>
                <a:cubicBezTo>
                  <a:pt x="790" y="533"/>
                  <a:pt x="789" y="533"/>
                  <a:pt x="788" y="533"/>
                </a:cubicBezTo>
                <a:cubicBezTo>
                  <a:pt x="788" y="533"/>
                  <a:pt x="787" y="532"/>
                  <a:pt x="786" y="532"/>
                </a:cubicBezTo>
                <a:cubicBezTo>
                  <a:pt x="785" y="532"/>
                  <a:pt x="783" y="533"/>
                  <a:pt x="782" y="532"/>
                </a:cubicBezTo>
                <a:cubicBezTo>
                  <a:pt x="782" y="531"/>
                  <a:pt x="783" y="530"/>
                  <a:pt x="783" y="530"/>
                </a:cubicBezTo>
                <a:cubicBezTo>
                  <a:pt x="782" y="528"/>
                  <a:pt x="779" y="529"/>
                  <a:pt x="778" y="529"/>
                </a:cubicBezTo>
                <a:cubicBezTo>
                  <a:pt x="778" y="528"/>
                  <a:pt x="777" y="528"/>
                  <a:pt x="777" y="527"/>
                </a:cubicBezTo>
                <a:cubicBezTo>
                  <a:pt x="775" y="527"/>
                  <a:pt x="774" y="527"/>
                  <a:pt x="774" y="525"/>
                </a:cubicBezTo>
                <a:cubicBezTo>
                  <a:pt x="774" y="524"/>
                  <a:pt x="774" y="524"/>
                  <a:pt x="775" y="523"/>
                </a:cubicBezTo>
                <a:cubicBezTo>
                  <a:pt x="775" y="523"/>
                  <a:pt x="776" y="522"/>
                  <a:pt x="776" y="522"/>
                </a:cubicBezTo>
                <a:cubicBezTo>
                  <a:pt x="776" y="521"/>
                  <a:pt x="775" y="522"/>
                  <a:pt x="775" y="521"/>
                </a:cubicBezTo>
                <a:cubicBezTo>
                  <a:pt x="774" y="521"/>
                  <a:pt x="774" y="520"/>
                  <a:pt x="773" y="520"/>
                </a:cubicBezTo>
                <a:cubicBezTo>
                  <a:pt x="772" y="519"/>
                  <a:pt x="771" y="519"/>
                  <a:pt x="770" y="519"/>
                </a:cubicBezTo>
                <a:cubicBezTo>
                  <a:pt x="770" y="518"/>
                  <a:pt x="770" y="518"/>
                  <a:pt x="770" y="518"/>
                </a:cubicBezTo>
                <a:cubicBezTo>
                  <a:pt x="769" y="518"/>
                  <a:pt x="769" y="517"/>
                  <a:pt x="768" y="517"/>
                </a:cubicBezTo>
                <a:cubicBezTo>
                  <a:pt x="770" y="517"/>
                  <a:pt x="771" y="518"/>
                  <a:pt x="772" y="518"/>
                </a:cubicBezTo>
                <a:cubicBezTo>
                  <a:pt x="773" y="518"/>
                  <a:pt x="774" y="518"/>
                  <a:pt x="775" y="518"/>
                </a:cubicBezTo>
                <a:cubicBezTo>
                  <a:pt x="775" y="518"/>
                  <a:pt x="776" y="518"/>
                  <a:pt x="777" y="519"/>
                </a:cubicBezTo>
                <a:cubicBezTo>
                  <a:pt x="778" y="519"/>
                  <a:pt x="779" y="519"/>
                  <a:pt x="781" y="519"/>
                </a:cubicBezTo>
                <a:cubicBezTo>
                  <a:pt x="781" y="519"/>
                  <a:pt x="782" y="519"/>
                  <a:pt x="782" y="520"/>
                </a:cubicBezTo>
                <a:cubicBezTo>
                  <a:pt x="783" y="520"/>
                  <a:pt x="783" y="520"/>
                  <a:pt x="782" y="521"/>
                </a:cubicBezTo>
                <a:cubicBezTo>
                  <a:pt x="780" y="522"/>
                  <a:pt x="782" y="522"/>
                  <a:pt x="783" y="523"/>
                </a:cubicBezTo>
                <a:cubicBezTo>
                  <a:pt x="785" y="524"/>
                  <a:pt x="784" y="526"/>
                  <a:pt x="786" y="526"/>
                </a:cubicBezTo>
                <a:cubicBezTo>
                  <a:pt x="786" y="527"/>
                  <a:pt x="787" y="526"/>
                  <a:pt x="788" y="527"/>
                </a:cubicBezTo>
                <a:cubicBezTo>
                  <a:pt x="789" y="527"/>
                  <a:pt x="789" y="527"/>
                  <a:pt x="789" y="528"/>
                </a:cubicBezTo>
                <a:cubicBezTo>
                  <a:pt x="790" y="529"/>
                  <a:pt x="791" y="529"/>
                  <a:pt x="793" y="530"/>
                </a:cubicBezTo>
                <a:cubicBezTo>
                  <a:pt x="793" y="530"/>
                  <a:pt x="794" y="531"/>
                  <a:pt x="794" y="531"/>
                </a:cubicBezTo>
                <a:cubicBezTo>
                  <a:pt x="795" y="532"/>
                  <a:pt x="795" y="532"/>
                  <a:pt x="796" y="532"/>
                </a:cubicBezTo>
                <a:cubicBezTo>
                  <a:pt x="797" y="532"/>
                  <a:pt x="799" y="532"/>
                  <a:pt x="800" y="532"/>
                </a:cubicBezTo>
                <a:cubicBezTo>
                  <a:pt x="802" y="533"/>
                  <a:pt x="803" y="533"/>
                  <a:pt x="804" y="533"/>
                </a:cubicBezTo>
                <a:cubicBezTo>
                  <a:pt x="805" y="533"/>
                  <a:pt x="805" y="532"/>
                  <a:pt x="806" y="532"/>
                </a:cubicBezTo>
                <a:cubicBezTo>
                  <a:pt x="807" y="531"/>
                  <a:pt x="807" y="531"/>
                  <a:pt x="808" y="531"/>
                </a:cubicBezTo>
                <a:cubicBezTo>
                  <a:pt x="808" y="531"/>
                  <a:pt x="809" y="531"/>
                  <a:pt x="810" y="531"/>
                </a:cubicBezTo>
                <a:cubicBezTo>
                  <a:pt x="811" y="531"/>
                  <a:pt x="811" y="532"/>
                  <a:pt x="812" y="533"/>
                </a:cubicBezTo>
                <a:cubicBezTo>
                  <a:pt x="813" y="533"/>
                  <a:pt x="815" y="533"/>
                  <a:pt x="815" y="535"/>
                </a:cubicBezTo>
                <a:cubicBezTo>
                  <a:pt x="815" y="536"/>
                  <a:pt x="814" y="537"/>
                  <a:pt x="816" y="538"/>
                </a:cubicBezTo>
                <a:cubicBezTo>
                  <a:pt x="818" y="538"/>
                  <a:pt x="819" y="537"/>
                  <a:pt x="821" y="537"/>
                </a:cubicBezTo>
                <a:cubicBezTo>
                  <a:pt x="823" y="537"/>
                  <a:pt x="826" y="537"/>
                  <a:pt x="828" y="538"/>
                </a:cubicBezTo>
                <a:cubicBezTo>
                  <a:pt x="829" y="538"/>
                  <a:pt x="830" y="539"/>
                  <a:pt x="831" y="539"/>
                </a:cubicBezTo>
                <a:cubicBezTo>
                  <a:pt x="833" y="539"/>
                  <a:pt x="835" y="540"/>
                  <a:pt x="837" y="540"/>
                </a:cubicBezTo>
                <a:cubicBezTo>
                  <a:pt x="839" y="541"/>
                  <a:pt x="841" y="541"/>
                  <a:pt x="844" y="542"/>
                </a:cubicBezTo>
                <a:cubicBezTo>
                  <a:pt x="846" y="542"/>
                  <a:pt x="849" y="543"/>
                  <a:pt x="851" y="543"/>
                </a:cubicBezTo>
                <a:cubicBezTo>
                  <a:pt x="853" y="544"/>
                  <a:pt x="855" y="545"/>
                  <a:pt x="858" y="545"/>
                </a:cubicBezTo>
                <a:cubicBezTo>
                  <a:pt x="860" y="546"/>
                  <a:pt x="862" y="546"/>
                  <a:pt x="864" y="547"/>
                </a:cubicBezTo>
                <a:cubicBezTo>
                  <a:pt x="867" y="548"/>
                  <a:pt x="869" y="549"/>
                  <a:pt x="872" y="549"/>
                </a:cubicBezTo>
                <a:cubicBezTo>
                  <a:pt x="874" y="549"/>
                  <a:pt x="876" y="550"/>
                  <a:pt x="879" y="551"/>
                </a:cubicBezTo>
                <a:cubicBezTo>
                  <a:pt x="880" y="551"/>
                  <a:pt x="882" y="551"/>
                  <a:pt x="884" y="552"/>
                </a:cubicBezTo>
                <a:cubicBezTo>
                  <a:pt x="888" y="553"/>
                  <a:pt x="891" y="553"/>
                  <a:pt x="895" y="553"/>
                </a:cubicBezTo>
                <a:cubicBezTo>
                  <a:pt x="897" y="553"/>
                  <a:pt x="899" y="553"/>
                  <a:pt x="901" y="553"/>
                </a:cubicBezTo>
                <a:cubicBezTo>
                  <a:pt x="906" y="553"/>
                  <a:pt x="910" y="552"/>
                  <a:pt x="915" y="550"/>
                </a:cubicBezTo>
                <a:cubicBezTo>
                  <a:pt x="916" y="549"/>
                  <a:pt x="917" y="549"/>
                  <a:pt x="918" y="548"/>
                </a:cubicBezTo>
                <a:cubicBezTo>
                  <a:pt x="919" y="548"/>
                  <a:pt x="920" y="548"/>
                  <a:pt x="921" y="548"/>
                </a:cubicBezTo>
                <a:cubicBezTo>
                  <a:pt x="924" y="548"/>
                  <a:pt x="925" y="547"/>
                  <a:pt x="928" y="546"/>
                </a:cubicBezTo>
                <a:cubicBezTo>
                  <a:pt x="929" y="545"/>
                  <a:pt x="931" y="544"/>
                  <a:pt x="932" y="542"/>
                </a:cubicBezTo>
                <a:cubicBezTo>
                  <a:pt x="934" y="541"/>
                  <a:pt x="936" y="540"/>
                  <a:pt x="937" y="538"/>
                </a:cubicBezTo>
                <a:cubicBezTo>
                  <a:pt x="939" y="537"/>
                  <a:pt x="939" y="535"/>
                  <a:pt x="940" y="533"/>
                </a:cubicBezTo>
                <a:cubicBezTo>
                  <a:pt x="942" y="531"/>
                  <a:pt x="944" y="529"/>
                  <a:pt x="946" y="528"/>
                </a:cubicBezTo>
                <a:cubicBezTo>
                  <a:pt x="948" y="526"/>
                  <a:pt x="949" y="524"/>
                  <a:pt x="950" y="521"/>
                </a:cubicBezTo>
                <a:cubicBezTo>
                  <a:pt x="951" y="520"/>
                  <a:pt x="951" y="518"/>
                  <a:pt x="951" y="517"/>
                </a:cubicBezTo>
                <a:cubicBezTo>
                  <a:pt x="951" y="516"/>
                  <a:pt x="949" y="515"/>
                  <a:pt x="948" y="515"/>
                </a:cubicBezTo>
                <a:cubicBezTo>
                  <a:pt x="947" y="514"/>
                  <a:pt x="946" y="514"/>
                  <a:pt x="945" y="512"/>
                </a:cubicBezTo>
                <a:cubicBezTo>
                  <a:pt x="945" y="511"/>
                  <a:pt x="946" y="509"/>
                  <a:pt x="945" y="507"/>
                </a:cubicBezTo>
                <a:cubicBezTo>
                  <a:pt x="945" y="507"/>
                  <a:pt x="944" y="507"/>
                  <a:pt x="944" y="506"/>
                </a:cubicBezTo>
                <a:cubicBezTo>
                  <a:pt x="943" y="504"/>
                  <a:pt x="945" y="499"/>
                  <a:pt x="941" y="498"/>
                </a:cubicBezTo>
                <a:cubicBezTo>
                  <a:pt x="940" y="497"/>
                  <a:pt x="938" y="498"/>
                  <a:pt x="937" y="498"/>
                </a:cubicBezTo>
                <a:cubicBezTo>
                  <a:pt x="936" y="498"/>
                  <a:pt x="934" y="497"/>
                  <a:pt x="933" y="497"/>
                </a:cubicBezTo>
                <a:cubicBezTo>
                  <a:pt x="932" y="496"/>
                  <a:pt x="931" y="495"/>
                  <a:pt x="930" y="494"/>
                </a:cubicBezTo>
                <a:cubicBezTo>
                  <a:pt x="929" y="493"/>
                  <a:pt x="928" y="492"/>
                  <a:pt x="927" y="490"/>
                </a:cubicBezTo>
                <a:cubicBezTo>
                  <a:pt x="925" y="489"/>
                  <a:pt x="922" y="487"/>
                  <a:pt x="920" y="484"/>
                </a:cubicBezTo>
                <a:cubicBezTo>
                  <a:pt x="920" y="484"/>
                  <a:pt x="919" y="483"/>
                  <a:pt x="919" y="483"/>
                </a:cubicBezTo>
                <a:cubicBezTo>
                  <a:pt x="918" y="483"/>
                  <a:pt x="918" y="484"/>
                  <a:pt x="918" y="484"/>
                </a:cubicBezTo>
                <a:cubicBezTo>
                  <a:pt x="918" y="485"/>
                  <a:pt x="919" y="486"/>
                  <a:pt x="918" y="486"/>
                </a:cubicBezTo>
                <a:cubicBezTo>
                  <a:pt x="917" y="486"/>
                  <a:pt x="917" y="485"/>
                  <a:pt x="916" y="484"/>
                </a:cubicBezTo>
                <a:cubicBezTo>
                  <a:pt x="915" y="484"/>
                  <a:pt x="913" y="484"/>
                  <a:pt x="912" y="484"/>
                </a:cubicBezTo>
                <a:cubicBezTo>
                  <a:pt x="910" y="483"/>
                  <a:pt x="909" y="482"/>
                  <a:pt x="907" y="482"/>
                </a:cubicBezTo>
                <a:cubicBezTo>
                  <a:pt x="906" y="481"/>
                  <a:pt x="905" y="481"/>
                  <a:pt x="903" y="480"/>
                </a:cubicBezTo>
                <a:cubicBezTo>
                  <a:pt x="901" y="480"/>
                  <a:pt x="899" y="479"/>
                  <a:pt x="898" y="479"/>
                </a:cubicBezTo>
                <a:cubicBezTo>
                  <a:pt x="894" y="478"/>
                  <a:pt x="892" y="478"/>
                  <a:pt x="889" y="475"/>
                </a:cubicBezTo>
                <a:cubicBezTo>
                  <a:pt x="887" y="472"/>
                  <a:pt x="884" y="469"/>
                  <a:pt x="880" y="467"/>
                </a:cubicBezTo>
                <a:cubicBezTo>
                  <a:pt x="879" y="467"/>
                  <a:pt x="878" y="467"/>
                  <a:pt x="876" y="466"/>
                </a:cubicBezTo>
                <a:cubicBezTo>
                  <a:pt x="875" y="465"/>
                  <a:pt x="874" y="464"/>
                  <a:pt x="872" y="464"/>
                </a:cubicBezTo>
                <a:cubicBezTo>
                  <a:pt x="871" y="463"/>
                  <a:pt x="869" y="462"/>
                  <a:pt x="868" y="461"/>
                </a:cubicBezTo>
                <a:cubicBezTo>
                  <a:pt x="867" y="461"/>
                  <a:pt x="865" y="460"/>
                  <a:pt x="864" y="460"/>
                </a:cubicBezTo>
                <a:cubicBezTo>
                  <a:pt x="862" y="459"/>
                  <a:pt x="861" y="459"/>
                  <a:pt x="860" y="458"/>
                </a:cubicBezTo>
                <a:cubicBezTo>
                  <a:pt x="858" y="457"/>
                  <a:pt x="857" y="456"/>
                  <a:pt x="855" y="455"/>
                </a:cubicBezTo>
                <a:cubicBezTo>
                  <a:pt x="854" y="455"/>
                  <a:pt x="852" y="454"/>
                  <a:pt x="850" y="454"/>
                </a:cubicBezTo>
                <a:cubicBezTo>
                  <a:pt x="849" y="453"/>
                  <a:pt x="847" y="452"/>
                  <a:pt x="846" y="452"/>
                </a:cubicBezTo>
                <a:cubicBezTo>
                  <a:pt x="844" y="451"/>
                  <a:pt x="843" y="450"/>
                  <a:pt x="841" y="450"/>
                </a:cubicBezTo>
                <a:cubicBezTo>
                  <a:pt x="840" y="449"/>
                  <a:pt x="838" y="448"/>
                  <a:pt x="837" y="448"/>
                </a:cubicBezTo>
                <a:cubicBezTo>
                  <a:pt x="836" y="447"/>
                  <a:pt x="834" y="446"/>
                  <a:pt x="833" y="446"/>
                </a:cubicBezTo>
                <a:cubicBezTo>
                  <a:pt x="830" y="445"/>
                  <a:pt x="826" y="446"/>
                  <a:pt x="823" y="445"/>
                </a:cubicBezTo>
                <a:cubicBezTo>
                  <a:pt x="821" y="445"/>
                  <a:pt x="818" y="444"/>
                  <a:pt x="815" y="444"/>
                </a:cubicBezTo>
                <a:cubicBezTo>
                  <a:pt x="812" y="443"/>
                  <a:pt x="809" y="444"/>
                  <a:pt x="807" y="443"/>
                </a:cubicBezTo>
                <a:cubicBezTo>
                  <a:pt x="804" y="443"/>
                  <a:pt x="802" y="443"/>
                  <a:pt x="800" y="443"/>
                </a:cubicBezTo>
                <a:cubicBezTo>
                  <a:pt x="800" y="443"/>
                  <a:pt x="799" y="443"/>
                  <a:pt x="798" y="443"/>
                </a:cubicBezTo>
                <a:cubicBezTo>
                  <a:pt x="797" y="444"/>
                  <a:pt x="797" y="444"/>
                  <a:pt x="797" y="445"/>
                </a:cubicBezTo>
                <a:cubicBezTo>
                  <a:pt x="796" y="446"/>
                  <a:pt x="796" y="446"/>
                  <a:pt x="796" y="447"/>
                </a:cubicBezTo>
                <a:cubicBezTo>
                  <a:pt x="796" y="448"/>
                  <a:pt x="795" y="450"/>
                  <a:pt x="794" y="451"/>
                </a:cubicBezTo>
                <a:cubicBezTo>
                  <a:pt x="792" y="451"/>
                  <a:pt x="791" y="452"/>
                  <a:pt x="790" y="452"/>
                </a:cubicBezTo>
                <a:cubicBezTo>
                  <a:pt x="789" y="453"/>
                  <a:pt x="787" y="453"/>
                  <a:pt x="787" y="455"/>
                </a:cubicBezTo>
                <a:cubicBezTo>
                  <a:pt x="787" y="453"/>
                  <a:pt x="788" y="452"/>
                  <a:pt x="789" y="452"/>
                </a:cubicBezTo>
                <a:cubicBezTo>
                  <a:pt x="790" y="452"/>
                  <a:pt x="790" y="452"/>
                  <a:pt x="791" y="452"/>
                </a:cubicBezTo>
                <a:cubicBezTo>
                  <a:pt x="791" y="451"/>
                  <a:pt x="792" y="451"/>
                  <a:pt x="792" y="450"/>
                </a:cubicBezTo>
                <a:cubicBezTo>
                  <a:pt x="793" y="450"/>
                  <a:pt x="795" y="449"/>
                  <a:pt x="795" y="448"/>
                </a:cubicBezTo>
                <a:cubicBezTo>
                  <a:pt x="795" y="447"/>
                  <a:pt x="793" y="448"/>
                  <a:pt x="793" y="448"/>
                </a:cubicBezTo>
                <a:cubicBezTo>
                  <a:pt x="792" y="448"/>
                  <a:pt x="792" y="447"/>
                  <a:pt x="792" y="447"/>
                </a:cubicBezTo>
                <a:cubicBezTo>
                  <a:pt x="791" y="446"/>
                  <a:pt x="790" y="446"/>
                  <a:pt x="791" y="445"/>
                </a:cubicBezTo>
                <a:cubicBezTo>
                  <a:pt x="791" y="444"/>
                  <a:pt x="792" y="445"/>
                  <a:pt x="793" y="445"/>
                </a:cubicBezTo>
                <a:cubicBezTo>
                  <a:pt x="794" y="444"/>
                  <a:pt x="794" y="442"/>
                  <a:pt x="793" y="441"/>
                </a:cubicBezTo>
                <a:cubicBezTo>
                  <a:pt x="793" y="440"/>
                  <a:pt x="793" y="439"/>
                  <a:pt x="792" y="440"/>
                </a:cubicBezTo>
                <a:cubicBezTo>
                  <a:pt x="792" y="440"/>
                  <a:pt x="792" y="441"/>
                  <a:pt x="791" y="441"/>
                </a:cubicBezTo>
                <a:cubicBezTo>
                  <a:pt x="790" y="441"/>
                  <a:pt x="789" y="441"/>
                  <a:pt x="789" y="441"/>
                </a:cubicBezTo>
                <a:cubicBezTo>
                  <a:pt x="788" y="442"/>
                  <a:pt x="788" y="442"/>
                  <a:pt x="787" y="442"/>
                </a:cubicBezTo>
                <a:cubicBezTo>
                  <a:pt x="787" y="442"/>
                  <a:pt x="787" y="442"/>
                  <a:pt x="786" y="443"/>
                </a:cubicBezTo>
                <a:cubicBezTo>
                  <a:pt x="785" y="443"/>
                  <a:pt x="783" y="444"/>
                  <a:pt x="783" y="443"/>
                </a:cubicBezTo>
                <a:cubicBezTo>
                  <a:pt x="782" y="443"/>
                  <a:pt x="783" y="442"/>
                  <a:pt x="782" y="442"/>
                </a:cubicBezTo>
                <a:cubicBezTo>
                  <a:pt x="781" y="442"/>
                  <a:pt x="780" y="442"/>
                  <a:pt x="780" y="442"/>
                </a:cubicBezTo>
                <a:cubicBezTo>
                  <a:pt x="779" y="442"/>
                  <a:pt x="779" y="441"/>
                  <a:pt x="778" y="441"/>
                </a:cubicBezTo>
                <a:cubicBezTo>
                  <a:pt x="776" y="440"/>
                  <a:pt x="774" y="442"/>
                  <a:pt x="773" y="441"/>
                </a:cubicBezTo>
                <a:cubicBezTo>
                  <a:pt x="772" y="440"/>
                  <a:pt x="772" y="440"/>
                  <a:pt x="771" y="440"/>
                </a:cubicBezTo>
                <a:cubicBezTo>
                  <a:pt x="771" y="439"/>
                  <a:pt x="770" y="439"/>
                  <a:pt x="769" y="439"/>
                </a:cubicBezTo>
                <a:cubicBezTo>
                  <a:pt x="769" y="438"/>
                  <a:pt x="769" y="438"/>
                  <a:pt x="769" y="437"/>
                </a:cubicBezTo>
                <a:cubicBezTo>
                  <a:pt x="768" y="436"/>
                  <a:pt x="768" y="436"/>
                  <a:pt x="767" y="436"/>
                </a:cubicBezTo>
                <a:cubicBezTo>
                  <a:pt x="766" y="435"/>
                  <a:pt x="766" y="433"/>
                  <a:pt x="767" y="432"/>
                </a:cubicBezTo>
                <a:cubicBezTo>
                  <a:pt x="767" y="432"/>
                  <a:pt x="768" y="431"/>
                  <a:pt x="768" y="431"/>
                </a:cubicBezTo>
                <a:cubicBezTo>
                  <a:pt x="768" y="430"/>
                  <a:pt x="768" y="429"/>
                  <a:pt x="769" y="430"/>
                </a:cubicBezTo>
                <a:cubicBezTo>
                  <a:pt x="770" y="430"/>
                  <a:pt x="769" y="431"/>
                  <a:pt x="770" y="432"/>
                </a:cubicBezTo>
                <a:cubicBezTo>
                  <a:pt x="770" y="432"/>
                  <a:pt x="771" y="432"/>
                  <a:pt x="771" y="432"/>
                </a:cubicBezTo>
                <a:cubicBezTo>
                  <a:pt x="772" y="432"/>
                  <a:pt x="772" y="432"/>
                  <a:pt x="772" y="432"/>
                </a:cubicBezTo>
                <a:cubicBezTo>
                  <a:pt x="773" y="433"/>
                  <a:pt x="775" y="433"/>
                  <a:pt x="776" y="433"/>
                </a:cubicBezTo>
                <a:cubicBezTo>
                  <a:pt x="778" y="433"/>
                  <a:pt x="779" y="434"/>
                  <a:pt x="780" y="434"/>
                </a:cubicBezTo>
                <a:cubicBezTo>
                  <a:pt x="782" y="435"/>
                  <a:pt x="783" y="435"/>
                  <a:pt x="785" y="434"/>
                </a:cubicBezTo>
                <a:cubicBezTo>
                  <a:pt x="786" y="434"/>
                  <a:pt x="785" y="432"/>
                  <a:pt x="786" y="431"/>
                </a:cubicBezTo>
                <a:cubicBezTo>
                  <a:pt x="787" y="431"/>
                  <a:pt x="788" y="431"/>
                  <a:pt x="788" y="430"/>
                </a:cubicBezTo>
                <a:cubicBezTo>
                  <a:pt x="788" y="429"/>
                  <a:pt x="788" y="429"/>
                  <a:pt x="787" y="428"/>
                </a:cubicBezTo>
                <a:cubicBezTo>
                  <a:pt x="786" y="428"/>
                  <a:pt x="785" y="428"/>
                  <a:pt x="785" y="428"/>
                </a:cubicBezTo>
                <a:cubicBezTo>
                  <a:pt x="784" y="428"/>
                  <a:pt x="783" y="428"/>
                  <a:pt x="783" y="427"/>
                </a:cubicBezTo>
                <a:cubicBezTo>
                  <a:pt x="781" y="427"/>
                  <a:pt x="780" y="427"/>
                  <a:pt x="778" y="427"/>
                </a:cubicBezTo>
                <a:cubicBezTo>
                  <a:pt x="777" y="427"/>
                  <a:pt x="776" y="426"/>
                  <a:pt x="775" y="425"/>
                </a:cubicBezTo>
                <a:cubicBezTo>
                  <a:pt x="774" y="424"/>
                  <a:pt x="773" y="424"/>
                  <a:pt x="771" y="424"/>
                </a:cubicBezTo>
                <a:cubicBezTo>
                  <a:pt x="771" y="424"/>
                  <a:pt x="770" y="423"/>
                  <a:pt x="770" y="423"/>
                </a:cubicBezTo>
                <a:cubicBezTo>
                  <a:pt x="769" y="423"/>
                  <a:pt x="769" y="422"/>
                  <a:pt x="768" y="422"/>
                </a:cubicBezTo>
                <a:cubicBezTo>
                  <a:pt x="768" y="422"/>
                  <a:pt x="764" y="420"/>
                  <a:pt x="764" y="422"/>
                </a:cubicBezTo>
                <a:cubicBezTo>
                  <a:pt x="764" y="423"/>
                  <a:pt x="765" y="423"/>
                  <a:pt x="765" y="423"/>
                </a:cubicBezTo>
                <a:cubicBezTo>
                  <a:pt x="766" y="424"/>
                  <a:pt x="766" y="424"/>
                  <a:pt x="766" y="425"/>
                </a:cubicBezTo>
                <a:cubicBezTo>
                  <a:pt x="767" y="425"/>
                  <a:pt x="767" y="425"/>
                  <a:pt x="768" y="426"/>
                </a:cubicBezTo>
                <a:cubicBezTo>
                  <a:pt x="768" y="427"/>
                  <a:pt x="768" y="427"/>
                  <a:pt x="767" y="427"/>
                </a:cubicBezTo>
                <a:cubicBezTo>
                  <a:pt x="766" y="427"/>
                  <a:pt x="766" y="427"/>
                  <a:pt x="765" y="426"/>
                </a:cubicBezTo>
                <a:cubicBezTo>
                  <a:pt x="765" y="426"/>
                  <a:pt x="764" y="426"/>
                  <a:pt x="763" y="426"/>
                </a:cubicBezTo>
                <a:cubicBezTo>
                  <a:pt x="763" y="426"/>
                  <a:pt x="762" y="425"/>
                  <a:pt x="761" y="425"/>
                </a:cubicBezTo>
                <a:cubicBezTo>
                  <a:pt x="760" y="425"/>
                  <a:pt x="761" y="426"/>
                  <a:pt x="761" y="427"/>
                </a:cubicBezTo>
                <a:cubicBezTo>
                  <a:pt x="761" y="430"/>
                  <a:pt x="758" y="429"/>
                  <a:pt x="756" y="429"/>
                </a:cubicBezTo>
                <a:cubicBezTo>
                  <a:pt x="755" y="429"/>
                  <a:pt x="753" y="429"/>
                  <a:pt x="751" y="429"/>
                </a:cubicBezTo>
                <a:cubicBezTo>
                  <a:pt x="750" y="429"/>
                  <a:pt x="749" y="428"/>
                  <a:pt x="748" y="428"/>
                </a:cubicBezTo>
                <a:cubicBezTo>
                  <a:pt x="746" y="428"/>
                  <a:pt x="745" y="428"/>
                  <a:pt x="743" y="427"/>
                </a:cubicBezTo>
                <a:cubicBezTo>
                  <a:pt x="742" y="427"/>
                  <a:pt x="740" y="426"/>
                  <a:pt x="738" y="427"/>
                </a:cubicBezTo>
                <a:cubicBezTo>
                  <a:pt x="737" y="427"/>
                  <a:pt x="736" y="428"/>
                  <a:pt x="735" y="429"/>
                </a:cubicBezTo>
                <a:cubicBezTo>
                  <a:pt x="735" y="429"/>
                  <a:pt x="734" y="427"/>
                  <a:pt x="733" y="427"/>
                </a:cubicBezTo>
                <a:cubicBezTo>
                  <a:pt x="733" y="426"/>
                  <a:pt x="732" y="426"/>
                  <a:pt x="732" y="425"/>
                </a:cubicBezTo>
                <a:cubicBezTo>
                  <a:pt x="732" y="425"/>
                  <a:pt x="731" y="424"/>
                  <a:pt x="730" y="424"/>
                </a:cubicBezTo>
                <a:cubicBezTo>
                  <a:pt x="730" y="424"/>
                  <a:pt x="730" y="425"/>
                  <a:pt x="729" y="426"/>
                </a:cubicBezTo>
                <a:cubicBezTo>
                  <a:pt x="728" y="427"/>
                  <a:pt x="727" y="427"/>
                  <a:pt x="726" y="428"/>
                </a:cubicBezTo>
                <a:cubicBezTo>
                  <a:pt x="725" y="428"/>
                  <a:pt x="725" y="429"/>
                  <a:pt x="724" y="429"/>
                </a:cubicBezTo>
                <a:cubicBezTo>
                  <a:pt x="723" y="429"/>
                  <a:pt x="723" y="429"/>
                  <a:pt x="722" y="429"/>
                </a:cubicBezTo>
                <a:cubicBezTo>
                  <a:pt x="721" y="430"/>
                  <a:pt x="721" y="430"/>
                  <a:pt x="720" y="431"/>
                </a:cubicBezTo>
                <a:cubicBezTo>
                  <a:pt x="720" y="431"/>
                  <a:pt x="719" y="430"/>
                  <a:pt x="719" y="431"/>
                </a:cubicBezTo>
                <a:cubicBezTo>
                  <a:pt x="719" y="431"/>
                  <a:pt x="719" y="431"/>
                  <a:pt x="718" y="431"/>
                </a:cubicBezTo>
                <a:cubicBezTo>
                  <a:pt x="718" y="431"/>
                  <a:pt x="719" y="430"/>
                  <a:pt x="719" y="430"/>
                </a:cubicBezTo>
                <a:cubicBezTo>
                  <a:pt x="720" y="429"/>
                  <a:pt x="720" y="430"/>
                  <a:pt x="721" y="429"/>
                </a:cubicBezTo>
                <a:cubicBezTo>
                  <a:pt x="722" y="428"/>
                  <a:pt x="720" y="426"/>
                  <a:pt x="719" y="426"/>
                </a:cubicBezTo>
                <a:cubicBezTo>
                  <a:pt x="718" y="426"/>
                  <a:pt x="718" y="426"/>
                  <a:pt x="717" y="426"/>
                </a:cubicBezTo>
                <a:cubicBezTo>
                  <a:pt x="717" y="426"/>
                  <a:pt x="716" y="425"/>
                  <a:pt x="715" y="425"/>
                </a:cubicBezTo>
                <a:cubicBezTo>
                  <a:pt x="715" y="424"/>
                  <a:pt x="716" y="423"/>
                  <a:pt x="716" y="423"/>
                </a:cubicBezTo>
                <a:cubicBezTo>
                  <a:pt x="716" y="422"/>
                  <a:pt x="716" y="421"/>
                  <a:pt x="716" y="421"/>
                </a:cubicBezTo>
                <a:cubicBezTo>
                  <a:pt x="715" y="420"/>
                  <a:pt x="714" y="419"/>
                  <a:pt x="713" y="419"/>
                </a:cubicBezTo>
                <a:cubicBezTo>
                  <a:pt x="712" y="418"/>
                  <a:pt x="711" y="418"/>
                  <a:pt x="710" y="418"/>
                </a:cubicBezTo>
                <a:cubicBezTo>
                  <a:pt x="709" y="418"/>
                  <a:pt x="708" y="418"/>
                  <a:pt x="708" y="418"/>
                </a:cubicBezTo>
                <a:cubicBezTo>
                  <a:pt x="707" y="417"/>
                  <a:pt x="707" y="417"/>
                  <a:pt x="706" y="417"/>
                </a:cubicBezTo>
                <a:cubicBezTo>
                  <a:pt x="705" y="417"/>
                  <a:pt x="704" y="417"/>
                  <a:pt x="704" y="417"/>
                </a:cubicBezTo>
                <a:cubicBezTo>
                  <a:pt x="703" y="417"/>
                  <a:pt x="703" y="416"/>
                  <a:pt x="702" y="416"/>
                </a:cubicBezTo>
                <a:cubicBezTo>
                  <a:pt x="701" y="416"/>
                  <a:pt x="701" y="416"/>
                  <a:pt x="700" y="415"/>
                </a:cubicBezTo>
                <a:cubicBezTo>
                  <a:pt x="700" y="414"/>
                  <a:pt x="701" y="414"/>
                  <a:pt x="701" y="414"/>
                </a:cubicBezTo>
                <a:cubicBezTo>
                  <a:pt x="703" y="414"/>
                  <a:pt x="704" y="415"/>
                  <a:pt x="705" y="415"/>
                </a:cubicBezTo>
                <a:cubicBezTo>
                  <a:pt x="707" y="415"/>
                  <a:pt x="708" y="416"/>
                  <a:pt x="709" y="416"/>
                </a:cubicBezTo>
                <a:cubicBezTo>
                  <a:pt x="711" y="416"/>
                  <a:pt x="712" y="416"/>
                  <a:pt x="713" y="416"/>
                </a:cubicBezTo>
                <a:cubicBezTo>
                  <a:pt x="715" y="417"/>
                  <a:pt x="716" y="417"/>
                  <a:pt x="718" y="417"/>
                </a:cubicBezTo>
                <a:cubicBezTo>
                  <a:pt x="722" y="417"/>
                  <a:pt x="722" y="417"/>
                  <a:pt x="722" y="417"/>
                </a:cubicBezTo>
                <a:cubicBezTo>
                  <a:pt x="724" y="417"/>
                  <a:pt x="725" y="416"/>
                  <a:pt x="726" y="417"/>
                </a:cubicBezTo>
                <a:cubicBezTo>
                  <a:pt x="728" y="418"/>
                  <a:pt x="729" y="418"/>
                  <a:pt x="730" y="418"/>
                </a:cubicBezTo>
                <a:cubicBezTo>
                  <a:pt x="732" y="417"/>
                  <a:pt x="732" y="415"/>
                  <a:pt x="734" y="415"/>
                </a:cubicBezTo>
                <a:cubicBezTo>
                  <a:pt x="734" y="415"/>
                  <a:pt x="735" y="415"/>
                  <a:pt x="735" y="414"/>
                </a:cubicBezTo>
                <a:cubicBezTo>
                  <a:pt x="736" y="414"/>
                  <a:pt x="736" y="413"/>
                  <a:pt x="737" y="413"/>
                </a:cubicBezTo>
                <a:cubicBezTo>
                  <a:pt x="738" y="412"/>
                  <a:pt x="740" y="413"/>
                  <a:pt x="741" y="412"/>
                </a:cubicBezTo>
                <a:cubicBezTo>
                  <a:pt x="742" y="412"/>
                  <a:pt x="744" y="412"/>
                  <a:pt x="745" y="411"/>
                </a:cubicBezTo>
                <a:cubicBezTo>
                  <a:pt x="746" y="411"/>
                  <a:pt x="747" y="411"/>
                  <a:pt x="747" y="410"/>
                </a:cubicBezTo>
                <a:cubicBezTo>
                  <a:pt x="748" y="410"/>
                  <a:pt x="747" y="409"/>
                  <a:pt x="748" y="408"/>
                </a:cubicBezTo>
                <a:cubicBezTo>
                  <a:pt x="748" y="408"/>
                  <a:pt x="748" y="407"/>
                  <a:pt x="748" y="406"/>
                </a:cubicBezTo>
                <a:cubicBezTo>
                  <a:pt x="748" y="406"/>
                  <a:pt x="747" y="405"/>
                  <a:pt x="746" y="405"/>
                </a:cubicBezTo>
                <a:cubicBezTo>
                  <a:pt x="746" y="405"/>
                  <a:pt x="745" y="404"/>
                  <a:pt x="745" y="404"/>
                </a:cubicBezTo>
                <a:cubicBezTo>
                  <a:pt x="744" y="404"/>
                  <a:pt x="743" y="404"/>
                  <a:pt x="743" y="404"/>
                </a:cubicBezTo>
                <a:cubicBezTo>
                  <a:pt x="742" y="404"/>
                  <a:pt x="741" y="403"/>
                  <a:pt x="741" y="403"/>
                </a:cubicBezTo>
                <a:cubicBezTo>
                  <a:pt x="740" y="403"/>
                  <a:pt x="740" y="403"/>
                  <a:pt x="739" y="403"/>
                </a:cubicBezTo>
                <a:cubicBezTo>
                  <a:pt x="737" y="403"/>
                  <a:pt x="736" y="402"/>
                  <a:pt x="735" y="402"/>
                </a:cubicBezTo>
                <a:cubicBezTo>
                  <a:pt x="733" y="401"/>
                  <a:pt x="731" y="402"/>
                  <a:pt x="731" y="401"/>
                </a:cubicBezTo>
                <a:cubicBezTo>
                  <a:pt x="731" y="400"/>
                  <a:pt x="731" y="400"/>
                  <a:pt x="731" y="399"/>
                </a:cubicBezTo>
                <a:cubicBezTo>
                  <a:pt x="731" y="398"/>
                  <a:pt x="731" y="397"/>
                  <a:pt x="731" y="397"/>
                </a:cubicBezTo>
                <a:cubicBezTo>
                  <a:pt x="730" y="396"/>
                  <a:pt x="729" y="394"/>
                  <a:pt x="728" y="394"/>
                </a:cubicBezTo>
                <a:cubicBezTo>
                  <a:pt x="726" y="395"/>
                  <a:pt x="726" y="395"/>
                  <a:pt x="724" y="396"/>
                </a:cubicBezTo>
                <a:cubicBezTo>
                  <a:pt x="724" y="396"/>
                  <a:pt x="723" y="397"/>
                  <a:pt x="723" y="397"/>
                </a:cubicBezTo>
                <a:cubicBezTo>
                  <a:pt x="722" y="396"/>
                  <a:pt x="722" y="396"/>
                  <a:pt x="722" y="395"/>
                </a:cubicBezTo>
                <a:cubicBezTo>
                  <a:pt x="721" y="393"/>
                  <a:pt x="719" y="394"/>
                  <a:pt x="718" y="395"/>
                </a:cubicBezTo>
                <a:cubicBezTo>
                  <a:pt x="718" y="395"/>
                  <a:pt x="717" y="395"/>
                  <a:pt x="716" y="395"/>
                </a:cubicBezTo>
                <a:cubicBezTo>
                  <a:pt x="715" y="396"/>
                  <a:pt x="715" y="396"/>
                  <a:pt x="715" y="395"/>
                </a:cubicBezTo>
                <a:cubicBezTo>
                  <a:pt x="715" y="394"/>
                  <a:pt x="715" y="394"/>
                  <a:pt x="714" y="394"/>
                </a:cubicBezTo>
                <a:cubicBezTo>
                  <a:pt x="713" y="394"/>
                  <a:pt x="713" y="393"/>
                  <a:pt x="712" y="393"/>
                </a:cubicBezTo>
                <a:cubicBezTo>
                  <a:pt x="711" y="392"/>
                  <a:pt x="711" y="391"/>
                  <a:pt x="710" y="391"/>
                </a:cubicBezTo>
                <a:cubicBezTo>
                  <a:pt x="709" y="390"/>
                  <a:pt x="709" y="390"/>
                  <a:pt x="708" y="390"/>
                </a:cubicBezTo>
                <a:cubicBezTo>
                  <a:pt x="707" y="390"/>
                  <a:pt x="707" y="389"/>
                  <a:pt x="706" y="389"/>
                </a:cubicBezTo>
                <a:cubicBezTo>
                  <a:pt x="705" y="389"/>
                  <a:pt x="703" y="389"/>
                  <a:pt x="702" y="390"/>
                </a:cubicBezTo>
                <a:cubicBezTo>
                  <a:pt x="701" y="391"/>
                  <a:pt x="701" y="393"/>
                  <a:pt x="700" y="394"/>
                </a:cubicBezTo>
                <a:cubicBezTo>
                  <a:pt x="699" y="396"/>
                  <a:pt x="696" y="397"/>
                  <a:pt x="696" y="400"/>
                </a:cubicBezTo>
                <a:cubicBezTo>
                  <a:pt x="696" y="401"/>
                  <a:pt x="697" y="402"/>
                  <a:pt x="697" y="404"/>
                </a:cubicBezTo>
                <a:cubicBezTo>
                  <a:pt x="697" y="405"/>
                  <a:pt x="695" y="406"/>
                  <a:pt x="694" y="407"/>
                </a:cubicBezTo>
                <a:cubicBezTo>
                  <a:pt x="694" y="407"/>
                  <a:pt x="693" y="408"/>
                  <a:pt x="692" y="408"/>
                </a:cubicBezTo>
                <a:cubicBezTo>
                  <a:pt x="692" y="408"/>
                  <a:pt x="691" y="407"/>
                  <a:pt x="692" y="407"/>
                </a:cubicBezTo>
                <a:cubicBezTo>
                  <a:pt x="692" y="406"/>
                  <a:pt x="693" y="406"/>
                  <a:pt x="693" y="406"/>
                </a:cubicBezTo>
                <a:cubicBezTo>
                  <a:pt x="694" y="405"/>
                  <a:pt x="694" y="404"/>
                  <a:pt x="694" y="404"/>
                </a:cubicBezTo>
                <a:cubicBezTo>
                  <a:pt x="694" y="403"/>
                  <a:pt x="695" y="403"/>
                  <a:pt x="694" y="403"/>
                </a:cubicBezTo>
                <a:cubicBezTo>
                  <a:pt x="693" y="402"/>
                  <a:pt x="692" y="404"/>
                  <a:pt x="691" y="404"/>
                </a:cubicBezTo>
                <a:cubicBezTo>
                  <a:pt x="691" y="404"/>
                  <a:pt x="690" y="404"/>
                  <a:pt x="690" y="404"/>
                </a:cubicBezTo>
                <a:cubicBezTo>
                  <a:pt x="689" y="404"/>
                  <a:pt x="688" y="404"/>
                  <a:pt x="688" y="405"/>
                </a:cubicBezTo>
                <a:cubicBezTo>
                  <a:pt x="687" y="405"/>
                  <a:pt x="687" y="405"/>
                  <a:pt x="686" y="404"/>
                </a:cubicBezTo>
                <a:cubicBezTo>
                  <a:pt x="686" y="404"/>
                  <a:pt x="685" y="404"/>
                  <a:pt x="685" y="403"/>
                </a:cubicBezTo>
                <a:cubicBezTo>
                  <a:pt x="685" y="402"/>
                  <a:pt x="686" y="402"/>
                  <a:pt x="686" y="402"/>
                </a:cubicBezTo>
                <a:cubicBezTo>
                  <a:pt x="687" y="402"/>
                  <a:pt x="687" y="401"/>
                  <a:pt x="688" y="401"/>
                </a:cubicBezTo>
                <a:cubicBezTo>
                  <a:pt x="689" y="400"/>
                  <a:pt x="690" y="400"/>
                  <a:pt x="691" y="399"/>
                </a:cubicBezTo>
                <a:cubicBezTo>
                  <a:pt x="692" y="398"/>
                  <a:pt x="692" y="398"/>
                  <a:pt x="692" y="398"/>
                </a:cubicBezTo>
                <a:cubicBezTo>
                  <a:pt x="692" y="397"/>
                  <a:pt x="693" y="397"/>
                  <a:pt x="693" y="396"/>
                </a:cubicBezTo>
                <a:cubicBezTo>
                  <a:pt x="693" y="396"/>
                  <a:pt x="694" y="393"/>
                  <a:pt x="693" y="394"/>
                </a:cubicBezTo>
                <a:cubicBezTo>
                  <a:pt x="692" y="394"/>
                  <a:pt x="692" y="395"/>
                  <a:pt x="692" y="395"/>
                </a:cubicBezTo>
                <a:cubicBezTo>
                  <a:pt x="692" y="395"/>
                  <a:pt x="691" y="395"/>
                  <a:pt x="691" y="395"/>
                </a:cubicBezTo>
                <a:cubicBezTo>
                  <a:pt x="690" y="395"/>
                  <a:pt x="689" y="396"/>
                  <a:pt x="688" y="396"/>
                </a:cubicBezTo>
                <a:cubicBezTo>
                  <a:pt x="686" y="396"/>
                  <a:pt x="687" y="394"/>
                  <a:pt x="686" y="394"/>
                </a:cubicBezTo>
                <a:cubicBezTo>
                  <a:pt x="685" y="393"/>
                  <a:pt x="686" y="393"/>
                  <a:pt x="687" y="392"/>
                </a:cubicBezTo>
                <a:cubicBezTo>
                  <a:pt x="687" y="392"/>
                  <a:pt x="688" y="392"/>
                  <a:pt x="688" y="392"/>
                </a:cubicBezTo>
                <a:cubicBezTo>
                  <a:pt x="688" y="392"/>
                  <a:pt x="688" y="392"/>
                  <a:pt x="689" y="392"/>
                </a:cubicBezTo>
                <a:cubicBezTo>
                  <a:pt x="690" y="391"/>
                  <a:pt x="691" y="393"/>
                  <a:pt x="693" y="392"/>
                </a:cubicBezTo>
                <a:cubicBezTo>
                  <a:pt x="694" y="392"/>
                  <a:pt x="695" y="390"/>
                  <a:pt x="696" y="389"/>
                </a:cubicBezTo>
                <a:cubicBezTo>
                  <a:pt x="696" y="388"/>
                  <a:pt x="696" y="388"/>
                  <a:pt x="697" y="388"/>
                </a:cubicBezTo>
                <a:cubicBezTo>
                  <a:pt x="698" y="387"/>
                  <a:pt x="699" y="387"/>
                  <a:pt x="699" y="386"/>
                </a:cubicBezTo>
                <a:cubicBezTo>
                  <a:pt x="698" y="385"/>
                  <a:pt x="696" y="385"/>
                  <a:pt x="695" y="384"/>
                </a:cubicBezTo>
                <a:cubicBezTo>
                  <a:pt x="694" y="384"/>
                  <a:pt x="693" y="383"/>
                  <a:pt x="692" y="382"/>
                </a:cubicBezTo>
                <a:cubicBezTo>
                  <a:pt x="690" y="382"/>
                  <a:pt x="689" y="382"/>
                  <a:pt x="688" y="382"/>
                </a:cubicBezTo>
                <a:cubicBezTo>
                  <a:pt x="686" y="382"/>
                  <a:pt x="685" y="381"/>
                  <a:pt x="684" y="380"/>
                </a:cubicBezTo>
                <a:cubicBezTo>
                  <a:pt x="683" y="380"/>
                  <a:pt x="681" y="379"/>
                  <a:pt x="680" y="381"/>
                </a:cubicBezTo>
                <a:cubicBezTo>
                  <a:pt x="680" y="382"/>
                  <a:pt x="681" y="382"/>
                  <a:pt x="681" y="383"/>
                </a:cubicBezTo>
                <a:cubicBezTo>
                  <a:pt x="681" y="384"/>
                  <a:pt x="680" y="385"/>
                  <a:pt x="680" y="385"/>
                </a:cubicBezTo>
                <a:cubicBezTo>
                  <a:pt x="679" y="386"/>
                  <a:pt x="679" y="387"/>
                  <a:pt x="678" y="387"/>
                </a:cubicBezTo>
                <a:cubicBezTo>
                  <a:pt x="678" y="387"/>
                  <a:pt x="677" y="387"/>
                  <a:pt x="676" y="387"/>
                </a:cubicBezTo>
                <a:cubicBezTo>
                  <a:pt x="675" y="387"/>
                  <a:pt x="674" y="387"/>
                  <a:pt x="674" y="388"/>
                </a:cubicBezTo>
                <a:cubicBezTo>
                  <a:pt x="673" y="388"/>
                  <a:pt x="673" y="389"/>
                  <a:pt x="674" y="389"/>
                </a:cubicBezTo>
                <a:cubicBezTo>
                  <a:pt x="674" y="389"/>
                  <a:pt x="675" y="389"/>
                  <a:pt x="676" y="389"/>
                </a:cubicBezTo>
                <a:cubicBezTo>
                  <a:pt x="677" y="389"/>
                  <a:pt x="677" y="389"/>
                  <a:pt x="677" y="390"/>
                </a:cubicBezTo>
                <a:cubicBezTo>
                  <a:pt x="678" y="390"/>
                  <a:pt x="679" y="390"/>
                  <a:pt x="679" y="391"/>
                </a:cubicBezTo>
                <a:cubicBezTo>
                  <a:pt x="679" y="392"/>
                  <a:pt x="678" y="392"/>
                  <a:pt x="678" y="392"/>
                </a:cubicBezTo>
                <a:cubicBezTo>
                  <a:pt x="677" y="392"/>
                  <a:pt x="676" y="392"/>
                  <a:pt x="675" y="392"/>
                </a:cubicBezTo>
                <a:cubicBezTo>
                  <a:pt x="675" y="392"/>
                  <a:pt x="674" y="393"/>
                  <a:pt x="674" y="393"/>
                </a:cubicBezTo>
                <a:cubicBezTo>
                  <a:pt x="673" y="394"/>
                  <a:pt x="670" y="394"/>
                  <a:pt x="670" y="395"/>
                </a:cubicBezTo>
                <a:cubicBezTo>
                  <a:pt x="670" y="396"/>
                  <a:pt x="671" y="396"/>
                  <a:pt x="671" y="396"/>
                </a:cubicBezTo>
                <a:cubicBezTo>
                  <a:pt x="672" y="397"/>
                  <a:pt x="671" y="397"/>
                  <a:pt x="671" y="398"/>
                </a:cubicBezTo>
                <a:cubicBezTo>
                  <a:pt x="670" y="399"/>
                  <a:pt x="670" y="399"/>
                  <a:pt x="669" y="399"/>
                </a:cubicBezTo>
                <a:cubicBezTo>
                  <a:pt x="669" y="399"/>
                  <a:pt x="668" y="399"/>
                  <a:pt x="667" y="399"/>
                </a:cubicBezTo>
                <a:cubicBezTo>
                  <a:pt x="666" y="401"/>
                  <a:pt x="669" y="401"/>
                  <a:pt x="669" y="402"/>
                </a:cubicBezTo>
                <a:cubicBezTo>
                  <a:pt x="669" y="404"/>
                  <a:pt x="667" y="402"/>
                  <a:pt x="666" y="402"/>
                </a:cubicBezTo>
                <a:cubicBezTo>
                  <a:pt x="665" y="402"/>
                  <a:pt x="664" y="402"/>
                  <a:pt x="664" y="403"/>
                </a:cubicBezTo>
                <a:cubicBezTo>
                  <a:pt x="663" y="404"/>
                  <a:pt x="662" y="404"/>
                  <a:pt x="662" y="405"/>
                </a:cubicBezTo>
                <a:cubicBezTo>
                  <a:pt x="661" y="405"/>
                  <a:pt x="661" y="405"/>
                  <a:pt x="661" y="406"/>
                </a:cubicBezTo>
                <a:cubicBezTo>
                  <a:pt x="659" y="409"/>
                  <a:pt x="659" y="404"/>
                  <a:pt x="659" y="403"/>
                </a:cubicBezTo>
                <a:cubicBezTo>
                  <a:pt x="659" y="402"/>
                  <a:pt x="660" y="402"/>
                  <a:pt x="659" y="401"/>
                </a:cubicBezTo>
                <a:cubicBezTo>
                  <a:pt x="659" y="400"/>
                  <a:pt x="658" y="400"/>
                  <a:pt x="658" y="399"/>
                </a:cubicBezTo>
                <a:cubicBezTo>
                  <a:pt x="658" y="398"/>
                  <a:pt x="658" y="398"/>
                  <a:pt x="658" y="397"/>
                </a:cubicBezTo>
                <a:cubicBezTo>
                  <a:pt x="658" y="397"/>
                  <a:pt x="656" y="396"/>
                  <a:pt x="657" y="396"/>
                </a:cubicBezTo>
                <a:cubicBezTo>
                  <a:pt x="657" y="395"/>
                  <a:pt x="658" y="396"/>
                  <a:pt x="659" y="396"/>
                </a:cubicBezTo>
                <a:cubicBezTo>
                  <a:pt x="660" y="396"/>
                  <a:pt x="660" y="395"/>
                  <a:pt x="660" y="394"/>
                </a:cubicBezTo>
                <a:cubicBezTo>
                  <a:pt x="661" y="393"/>
                  <a:pt x="662" y="392"/>
                  <a:pt x="663" y="391"/>
                </a:cubicBezTo>
                <a:cubicBezTo>
                  <a:pt x="663" y="390"/>
                  <a:pt x="663" y="388"/>
                  <a:pt x="663" y="387"/>
                </a:cubicBezTo>
                <a:cubicBezTo>
                  <a:pt x="662" y="386"/>
                  <a:pt x="663" y="385"/>
                  <a:pt x="662" y="385"/>
                </a:cubicBezTo>
                <a:cubicBezTo>
                  <a:pt x="661" y="385"/>
                  <a:pt x="660" y="386"/>
                  <a:pt x="660" y="387"/>
                </a:cubicBezTo>
                <a:cubicBezTo>
                  <a:pt x="658" y="389"/>
                  <a:pt x="656" y="390"/>
                  <a:pt x="654" y="392"/>
                </a:cubicBezTo>
                <a:cubicBezTo>
                  <a:pt x="653" y="392"/>
                  <a:pt x="652" y="393"/>
                  <a:pt x="650" y="394"/>
                </a:cubicBezTo>
                <a:cubicBezTo>
                  <a:pt x="649" y="395"/>
                  <a:pt x="648" y="397"/>
                  <a:pt x="647" y="398"/>
                </a:cubicBezTo>
                <a:cubicBezTo>
                  <a:pt x="646" y="399"/>
                  <a:pt x="645" y="399"/>
                  <a:pt x="644" y="401"/>
                </a:cubicBezTo>
                <a:cubicBezTo>
                  <a:pt x="642" y="403"/>
                  <a:pt x="640" y="405"/>
                  <a:pt x="638" y="406"/>
                </a:cubicBezTo>
                <a:cubicBezTo>
                  <a:pt x="638" y="406"/>
                  <a:pt x="637" y="407"/>
                  <a:pt x="637" y="407"/>
                </a:cubicBezTo>
                <a:cubicBezTo>
                  <a:pt x="636" y="408"/>
                  <a:pt x="637" y="408"/>
                  <a:pt x="637" y="408"/>
                </a:cubicBezTo>
                <a:cubicBezTo>
                  <a:pt x="638" y="409"/>
                  <a:pt x="638" y="409"/>
                  <a:pt x="638" y="409"/>
                </a:cubicBezTo>
                <a:cubicBezTo>
                  <a:pt x="638" y="409"/>
                  <a:pt x="638" y="409"/>
                  <a:pt x="638" y="410"/>
                </a:cubicBezTo>
                <a:cubicBezTo>
                  <a:pt x="639" y="411"/>
                  <a:pt x="638" y="411"/>
                  <a:pt x="637" y="411"/>
                </a:cubicBezTo>
                <a:cubicBezTo>
                  <a:pt x="636" y="412"/>
                  <a:pt x="635" y="413"/>
                  <a:pt x="634" y="414"/>
                </a:cubicBezTo>
                <a:cubicBezTo>
                  <a:pt x="634" y="414"/>
                  <a:pt x="633" y="415"/>
                  <a:pt x="633" y="415"/>
                </a:cubicBezTo>
                <a:cubicBezTo>
                  <a:pt x="633" y="416"/>
                  <a:pt x="633" y="416"/>
                  <a:pt x="632" y="417"/>
                </a:cubicBezTo>
                <a:cubicBezTo>
                  <a:pt x="632" y="417"/>
                  <a:pt x="632" y="416"/>
                  <a:pt x="632" y="416"/>
                </a:cubicBezTo>
                <a:cubicBezTo>
                  <a:pt x="632" y="416"/>
                  <a:pt x="631" y="416"/>
                  <a:pt x="631" y="415"/>
                </a:cubicBezTo>
                <a:cubicBezTo>
                  <a:pt x="631" y="415"/>
                  <a:pt x="631" y="414"/>
                  <a:pt x="630" y="414"/>
                </a:cubicBezTo>
                <a:cubicBezTo>
                  <a:pt x="629" y="414"/>
                  <a:pt x="629" y="417"/>
                  <a:pt x="628" y="417"/>
                </a:cubicBezTo>
                <a:cubicBezTo>
                  <a:pt x="628" y="417"/>
                  <a:pt x="628" y="413"/>
                  <a:pt x="628" y="413"/>
                </a:cubicBezTo>
                <a:cubicBezTo>
                  <a:pt x="628" y="411"/>
                  <a:pt x="629" y="410"/>
                  <a:pt x="629" y="409"/>
                </a:cubicBezTo>
                <a:cubicBezTo>
                  <a:pt x="629" y="408"/>
                  <a:pt x="629" y="407"/>
                  <a:pt x="630" y="406"/>
                </a:cubicBezTo>
                <a:cubicBezTo>
                  <a:pt x="630" y="406"/>
                  <a:pt x="631" y="405"/>
                  <a:pt x="631" y="405"/>
                </a:cubicBezTo>
                <a:cubicBezTo>
                  <a:pt x="632" y="404"/>
                  <a:pt x="632" y="404"/>
                  <a:pt x="631" y="403"/>
                </a:cubicBezTo>
                <a:cubicBezTo>
                  <a:pt x="631" y="402"/>
                  <a:pt x="630" y="402"/>
                  <a:pt x="631" y="401"/>
                </a:cubicBezTo>
                <a:cubicBezTo>
                  <a:pt x="632" y="400"/>
                  <a:pt x="633" y="400"/>
                  <a:pt x="634" y="399"/>
                </a:cubicBezTo>
                <a:cubicBezTo>
                  <a:pt x="636" y="398"/>
                  <a:pt x="637" y="397"/>
                  <a:pt x="638" y="396"/>
                </a:cubicBezTo>
                <a:cubicBezTo>
                  <a:pt x="639" y="396"/>
                  <a:pt x="640" y="396"/>
                  <a:pt x="641" y="395"/>
                </a:cubicBezTo>
                <a:cubicBezTo>
                  <a:pt x="642" y="394"/>
                  <a:pt x="642" y="393"/>
                  <a:pt x="643" y="392"/>
                </a:cubicBezTo>
                <a:cubicBezTo>
                  <a:pt x="644" y="392"/>
                  <a:pt x="644" y="392"/>
                  <a:pt x="644" y="391"/>
                </a:cubicBezTo>
                <a:cubicBezTo>
                  <a:pt x="645" y="391"/>
                  <a:pt x="645" y="391"/>
                  <a:pt x="646" y="390"/>
                </a:cubicBezTo>
                <a:cubicBezTo>
                  <a:pt x="646" y="390"/>
                  <a:pt x="647" y="390"/>
                  <a:pt x="647" y="389"/>
                </a:cubicBezTo>
                <a:cubicBezTo>
                  <a:pt x="647" y="389"/>
                  <a:pt x="646" y="389"/>
                  <a:pt x="645" y="389"/>
                </a:cubicBezTo>
                <a:cubicBezTo>
                  <a:pt x="645" y="388"/>
                  <a:pt x="644" y="388"/>
                  <a:pt x="644" y="388"/>
                </a:cubicBezTo>
                <a:cubicBezTo>
                  <a:pt x="643" y="388"/>
                  <a:pt x="643" y="387"/>
                  <a:pt x="642" y="387"/>
                </a:cubicBezTo>
                <a:cubicBezTo>
                  <a:pt x="642" y="387"/>
                  <a:pt x="640" y="387"/>
                  <a:pt x="641" y="386"/>
                </a:cubicBezTo>
                <a:cubicBezTo>
                  <a:pt x="642" y="385"/>
                  <a:pt x="643" y="386"/>
                  <a:pt x="644" y="386"/>
                </a:cubicBezTo>
                <a:cubicBezTo>
                  <a:pt x="645" y="386"/>
                  <a:pt x="645" y="386"/>
                  <a:pt x="646" y="385"/>
                </a:cubicBezTo>
                <a:cubicBezTo>
                  <a:pt x="646" y="385"/>
                  <a:pt x="647" y="385"/>
                  <a:pt x="648" y="385"/>
                </a:cubicBezTo>
                <a:cubicBezTo>
                  <a:pt x="648" y="385"/>
                  <a:pt x="649" y="385"/>
                  <a:pt x="650" y="385"/>
                </a:cubicBezTo>
                <a:cubicBezTo>
                  <a:pt x="650" y="384"/>
                  <a:pt x="650" y="384"/>
                  <a:pt x="649" y="383"/>
                </a:cubicBezTo>
                <a:cubicBezTo>
                  <a:pt x="649" y="382"/>
                  <a:pt x="650" y="380"/>
                  <a:pt x="648" y="380"/>
                </a:cubicBezTo>
                <a:cubicBezTo>
                  <a:pt x="647" y="379"/>
                  <a:pt x="646" y="380"/>
                  <a:pt x="645" y="379"/>
                </a:cubicBezTo>
                <a:cubicBezTo>
                  <a:pt x="644" y="379"/>
                  <a:pt x="644" y="378"/>
                  <a:pt x="642" y="378"/>
                </a:cubicBezTo>
                <a:cubicBezTo>
                  <a:pt x="642" y="378"/>
                  <a:pt x="640" y="379"/>
                  <a:pt x="640" y="380"/>
                </a:cubicBezTo>
                <a:cubicBezTo>
                  <a:pt x="641" y="380"/>
                  <a:pt x="642" y="381"/>
                  <a:pt x="641" y="381"/>
                </a:cubicBezTo>
                <a:cubicBezTo>
                  <a:pt x="641" y="382"/>
                  <a:pt x="639" y="382"/>
                  <a:pt x="639" y="382"/>
                </a:cubicBezTo>
                <a:cubicBezTo>
                  <a:pt x="638" y="382"/>
                  <a:pt x="636" y="382"/>
                  <a:pt x="635" y="382"/>
                </a:cubicBezTo>
                <a:cubicBezTo>
                  <a:pt x="633" y="383"/>
                  <a:pt x="636" y="384"/>
                  <a:pt x="637" y="384"/>
                </a:cubicBezTo>
                <a:cubicBezTo>
                  <a:pt x="637" y="385"/>
                  <a:pt x="638" y="386"/>
                  <a:pt x="637" y="386"/>
                </a:cubicBezTo>
                <a:cubicBezTo>
                  <a:pt x="637" y="387"/>
                  <a:pt x="636" y="387"/>
                  <a:pt x="635" y="387"/>
                </a:cubicBezTo>
                <a:cubicBezTo>
                  <a:pt x="634" y="387"/>
                  <a:pt x="632" y="387"/>
                  <a:pt x="631" y="387"/>
                </a:cubicBezTo>
                <a:cubicBezTo>
                  <a:pt x="630" y="387"/>
                  <a:pt x="630" y="386"/>
                  <a:pt x="630" y="386"/>
                </a:cubicBezTo>
                <a:cubicBezTo>
                  <a:pt x="629" y="385"/>
                  <a:pt x="629" y="385"/>
                  <a:pt x="628" y="385"/>
                </a:cubicBezTo>
                <a:cubicBezTo>
                  <a:pt x="627" y="385"/>
                  <a:pt x="627" y="386"/>
                  <a:pt x="627" y="386"/>
                </a:cubicBezTo>
                <a:cubicBezTo>
                  <a:pt x="626" y="386"/>
                  <a:pt x="625" y="386"/>
                  <a:pt x="625" y="386"/>
                </a:cubicBezTo>
                <a:cubicBezTo>
                  <a:pt x="624" y="386"/>
                  <a:pt x="624" y="385"/>
                  <a:pt x="624" y="385"/>
                </a:cubicBezTo>
                <a:cubicBezTo>
                  <a:pt x="624" y="385"/>
                  <a:pt x="624" y="384"/>
                  <a:pt x="624" y="384"/>
                </a:cubicBezTo>
                <a:cubicBezTo>
                  <a:pt x="623" y="383"/>
                  <a:pt x="622" y="383"/>
                  <a:pt x="620" y="384"/>
                </a:cubicBezTo>
                <a:cubicBezTo>
                  <a:pt x="619" y="384"/>
                  <a:pt x="619" y="386"/>
                  <a:pt x="619" y="388"/>
                </a:cubicBezTo>
                <a:cubicBezTo>
                  <a:pt x="619" y="388"/>
                  <a:pt x="619" y="389"/>
                  <a:pt x="619" y="390"/>
                </a:cubicBezTo>
                <a:cubicBezTo>
                  <a:pt x="618" y="391"/>
                  <a:pt x="618" y="390"/>
                  <a:pt x="617" y="390"/>
                </a:cubicBezTo>
                <a:cubicBezTo>
                  <a:pt x="616" y="389"/>
                  <a:pt x="614" y="389"/>
                  <a:pt x="614" y="390"/>
                </a:cubicBezTo>
                <a:cubicBezTo>
                  <a:pt x="614" y="391"/>
                  <a:pt x="614" y="391"/>
                  <a:pt x="615" y="391"/>
                </a:cubicBezTo>
                <a:cubicBezTo>
                  <a:pt x="615" y="392"/>
                  <a:pt x="615" y="393"/>
                  <a:pt x="616" y="393"/>
                </a:cubicBezTo>
                <a:cubicBezTo>
                  <a:pt x="616" y="395"/>
                  <a:pt x="619" y="393"/>
                  <a:pt x="619" y="395"/>
                </a:cubicBezTo>
                <a:cubicBezTo>
                  <a:pt x="619" y="396"/>
                  <a:pt x="618" y="396"/>
                  <a:pt x="617" y="396"/>
                </a:cubicBezTo>
                <a:cubicBezTo>
                  <a:pt x="617" y="396"/>
                  <a:pt x="616" y="396"/>
                  <a:pt x="615" y="397"/>
                </a:cubicBezTo>
                <a:cubicBezTo>
                  <a:pt x="615" y="397"/>
                  <a:pt x="614" y="398"/>
                  <a:pt x="614" y="399"/>
                </a:cubicBezTo>
                <a:cubicBezTo>
                  <a:pt x="614" y="399"/>
                  <a:pt x="613" y="400"/>
                  <a:pt x="613" y="400"/>
                </a:cubicBezTo>
                <a:cubicBezTo>
                  <a:pt x="613" y="401"/>
                  <a:pt x="616" y="403"/>
                  <a:pt x="614" y="403"/>
                </a:cubicBezTo>
                <a:cubicBezTo>
                  <a:pt x="612" y="403"/>
                  <a:pt x="611" y="402"/>
                  <a:pt x="609" y="402"/>
                </a:cubicBezTo>
                <a:cubicBezTo>
                  <a:pt x="607" y="402"/>
                  <a:pt x="606" y="403"/>
                  <a:pt x="604" y="404"/>
                </a:cubicBezTo>
                <a:cubicBezTo>
                  <a:pt x="603" y="405"/>
                  <a:pt x="602" y="406"/>
                  <a:pt x="601" y="406"/>
                </a:cubicBezTo>
                <a:cubicBezTo>
                  <a:pt x="600" y="406"/>
                  <a:pt x="598" y="407"/>
                  <a:pt x="597" y="408"/>
                </a:cubicBezTo>
                <a:cubicBezTo>
                  <a:pt x="597" y="409"/>
                  <a:pt x="596" y="410"/>
                  <a:pt x="595" y="410"/>
                </a:cubicBezTo>
                <a:cubicBezTo>
                  <a:pt x="595" y="411"/>
                  <a:pt x="594" y="412"/>
                  <a:pt x="594" y="413"/>
                </a:cubicBezTo>
                <a:cubicBezTo>
                  <a:pt x="595" y="413"/>
                  <a:pt x="596" y="415"/>
                  <a:pt x="595" y="416"/>
                </a:cubicBezTo>
                <a:cubicBezTo>
                  <a:pt x="594" y="417"/>
                  <a:pt x="593" y="417"/>
                  <a:pt x="593" y="417"/>
                </a:cubicBezTo>
                <a:cubicBezTo>
                  <a:pt x="593" y="418"/>
                  <a:pt x="595" y="418"/>
                  <a:pt x="595" y="419"/>
                </a:cubicBezTo>
                <a:cubicBezTo>
                  <a:pt x="596" y="419"/>
                  <a:pt x="596" y="419"/>
                  <a:pt x="597" y="419"/>
                </a:cubicBezTo>
                <a:cubicBezTo>
                  <a:pt x="597" y="419"/>
                  <a:pt x="598" y="419"/>
                  <a:pt x="599" y="419"/>
                </a:cubicBezTo>
                <a:cubicBezTo>
                  <a:pt x="600" y="420"/>
                  <a:pt x="596" y="420"/>
                  <a:pt x="595" y="420"/>
                </a:cubicBezTo>
                <a:cubicBezTo>
                  <a:pt x="595" y="421"/>
                  <a:pt x="594" y="422"/>
                  <a:pt x="593" y="422"/>
                </a:cubicBezTo>
                <a:cubicBezTo>
                  <a:pt x="592" y="422"/>
                  <a:pt x="592" y="421"/>
                  <a:pt x="592" y="421"/>
                </a:cubicBezTo>
                <a:cubicBezTo>
                  <a:pt x="591" y="420"/>
                  <a:pt x="591" y="419"/>
                  <a:pt x="590" y="419"/>
                </a:cubicBezTo>
                <a:cubicBezTo>
                  <a:pt x="590" y="419"/>
                  <a:pt x="589" y="419"/>
                  <a:pt x="589" y="418"/>
                </a:cubicBezTo>
                <a:cubicBezTo>
                  <a:pt x="590" y="418"/>
                  <a:pt x="589" y="417"/>
                  <a:pt x="589" y="417"/>
                </a:cubicBezTo>
                <a:cubicBezTo>
                  <a:pt x="588" y="417"/>
                  <a:pt x="587" y="417"/>
                  <a:pt x="586" y="416"/>
                </a:cubicBezTo>
                <a:cubicBezTo>
                  <a:pt x="585" y="415"/>
                  <a:pt x="588" y="415"/>
                  <a:pt x="589" y="415"/>
                </a:cubicBezTo>
                <a:cubicBezTo>
                  <a:pt x="589" y="414"/>
                  <a:pt x="589" y="413"/>
                  <a:pt x="588" y="413"/>
                </a:cubicBezTo>
                <a:cubicBezTo>
                  <a:pt x="588" y="413"/>
                  <a:pt x="587" y="413"/>
                  <a:pt x="586" y="413"/>
                </a:cubicBezTo>
                <a:cubicBezTo>
                  <a:pt x="585" y="412"/>
                  <a:pt x="586" y="411"/>
                  <a:pt x="587" y="411"/>
                </a:cubicBezTo>
                <a:cubicBezTo>
                  <a:pt x="587" y="411"/>
                  <a:pt x="587" y="411"/>
                  <a:pt x="588" y="411"/>
                </a:cubicBezTo>
                <a:cubicBezTo>
                  <a:pt x="588" y="411"/>
                  <a:pt x="588" y="410"/>
                  <a:pt x="588" y="410"/>
                </a:cubicBezTo>
                <a:cubicBezTo>
                  <a:pt x="589" y="410"/>
                  <a:pt x="589" y="410"/>
                  <a:pt x="589" y="410"/>
                </a:cubicBezTo>
                <a:cubicBezTo>
                  <a:pt x="589" y="409"/>
                  <a:pt x="589" y="409"/>
                  <a:pt x="588" y="409"/>
                </a:cubicBezTo>
                <a:cubicBezTo>
                  <a:pt x="587" y="409"/>
                  <a:pt x="587" y="409"/>
                  <a:pt x="587" y="408"/>
                </a:cubicBezTo>
                <a:cubicBezTo>
                  <a:pt x="586" y="408"/>
                  <a:pt x="586" y="408"/>
                  <a:pt x="585" y="407"/>
                </a:cubicBezTo>
                <a:cubicBezTo>
                  <a:pt x="585" y="407"/>
                  <a:pt x="584" y="407"/>
                  <a:pt x="583" y="407"/>
                </a:cubicBezTo>
                <a:cubicBezTo>
                  <a:pt x="582" y="407"/>
                  <a:pt x="576" y="406"/>
                  <a:pt x="576" y="408"/>
                </a:cubicBezTo>
                <a:cubicBezTo>
                  <a:pt x="577" y="408"/>
                  <a:pt x="577" y="408"/>
                  <a:pt x="578" y="408"/>
                </a:cubicBezTo>
                <a:cubicBezTo>
                  <a:pt x="579" y="409"/>
                  <a:pt x="578" y="409"/>
                  <a:pt x="579" y="410"/>
                </a:cubicBezTo>
                <a:cubicBezTo>
                  <a:pt x="579" y="410"/>
                  <a:pt x="580" y="410"/>
                  <a:pt x="581" y="410"/>
                </a:cubicBezTo>
                <a:cubicBezTo>
                  <a:pt x="581" y="411"/>
                  <a:pt x="580" y="411"/>
                  <a:pt x="580" y="411"/>
                </a:cubicBezTo>
                <a:cubicBezTo>
                  <a:pt x="579" y="411"/>
                  <a:pt x="579" y="410"/>
                  <a:pt x="578" y="410"/>
                </a:cubicBezTo>
                <a:cubicBezTo>
                  <a:pt x="577" y="410"/>
                  <a:pt x="577" y="411"/>
                  <a:pt x="576" y="412"/>
                </a:cubicBezTo>
                <a:cubicBezTo>
                  <a:pt x="576" y="413"/>
                  <a:pt x="576" y="414"/>
                  <a:pt x="577" y="415"/>
                </a:cubicBezTo>
                <a:cubicBezTo>
                  <a:pt x="578" y="415"/>
                  <a:pt x="579" y="416"/>
                  <a:pt x="578" y="416"/>
                </a:cubicBezTo>
                <a:cubicBezTo>
                  <a:pt x="577" y="416"/>
                  <a:pt x="576" y="416"/>
                  <a:pt x="575" y="416"/>
                </a:cubicBezTo>
                <a:cubicBezTo>
                  <a:pt x="574" y="416"/>
                  <a:pt x="574" y="415"/>
                  <a:pt x="574" y="415"/>
                </a:cubicBezTo>
                <a:cubicBezTo>
                  <a:pt x="573" y="414"/>
                  <a:pt x="572" y="415"/>
                  <a:pt x="571" y="414"/>
                </a:cubicBezTo>
                <a:cubicBezTo>
                  <a:pt x="570" y="414"/>
                  <a:pt x="570" y="414"/>
                  <a:pt x="569" y="414"/>
                </a:cubicBezTo>
                <a:cubicBezTo>
                  <a:pt x="567" y="414"/>
                  <a:pt x="566" y="414"/>
                  <a:pt x="564" y="414"/>
                </a:cubicBezTo>
                <a:cubicBezTo>
                  <a:pt x="563" y="413"/>
                  <a:pt x="562" y="413"/>
                  <a:pt x="560" y="413"/>
                </a:cubicBezTo>
                <a:cubicBezTo>
                  <a:pt x="559" y="412"/>
                  <a:pt x="557" y="412"/>
                  <a:pt x="556" y="412"/>
                </a:cubicBezTo>
                <a:cubicBezTo>
                  <a:pt x="555" y="412"/>
                  <a:pt x="554" y="412"/>
                  <a:pt x="554" y="412"/>
                </a:cubicBezTo>
                <a:cubicBezTo>
                  <a:pt x="553" y="413"/>
                  <a:pt x="556" y="413"/>
                  <a:pt x="557" y="414"/>
                </a:cubicBezTo>
                <a:cubicBezTo>
                  <a:pt x="558" y="414"/>
                  <a:pt x="559" y="414"/>
                  <a:pt x="559" y="414"/>
                </a:cubicBezTo>
                <a:cubicBezTo>
                  <a:pt x="560" y="415"/>
                  <a:pt x="560" y="415"/>
                  <a:pt x="560" y="416"/>
                </a:cubicBezTo>
                <a:cubicBezTo>
                  <a:pt x="560" y="417"/>
                  <a:pt x="561" y="417"/>
                  <a:pt x="562" y="417"/>
                </a:cubicBezTo>
                <a:cubicBezTo>
                  <a:pt x="562" y="417"/>
                  <a:pt x="563" y="417"/>
                  <a:pt x="563" y="418"/>
                </a:cubicBezTo>
                <a:cubicBezTo>
                  <a:pt x="564" y="418"/>
                  <a:pt x="566" y="418"/>
                  <a:pt x="567" y="417"/>
                </a:cubicBezTo>
                <a:cubicBezTo>
                  <a:pt x="568" y="417"/>
                  <a:pt x="568" y="417"/>
                  <a:pt x="569" y="417"/>
                </a:cubicBezTo>
                <a:cubicBezTo>
                  <a:pt x="570" y="416"/>
                  <a:pt x="571" y="416"/>
                  <a:pt x="571" y="416"/>
                </a:cubicBezTo>
                <a:cubicBezTo>
                  <a:pt x="571" y="417"/>
                  <a:pt x="571" y="418"/>
                  <a:pt x="571" y="418"/>
                </a:cubicBezTo>
                <a:cubicBezTo>
                  <a:pt x="570" y="419"/>
                  <a:pt x="570" y="420"/>
                  <a:pt x="571" y="420"/>
                </a:cubicBezTo>
                <a:cubicBezTo>
                  <a:pt x="571" y="421"/>
                  <a:pt x="571" y="422"/>
                  <a:pt x="570" y="422"/>
                </a:cubicBezTo>
                <a:cubicBezTo>
                  <a:pt x="570" y="423"/>
                  <a:pt x="568" y="423"/>
                  <a:pt x="568" y="423"/>
                </a:cubicBezTo>
                <a:cubicBezTo>
                  <a:pt x="567" y="424"/>
                  <a:pt x="568" y="424"/>
                  <a:pt x="569" y="424"/>
                </a:cubicBezTo>
                <a:cubicBezTo>
                  <a:pt x="570" y="424"/>
                  <a:pt x="570" y="425"/>
                  <a:pt x="570" y="426"/>
                </a:cubicBezTo>
                <a:cubicBezTo>
                  <a:pt x="569" y="427"/>
                  <a:pt x="569" y="428"/>
                  <a:pt x="568" y="427"/>
                </a:cubicBezTo>
                <a:cubicBezTo>
                  <a:pt x="567" y="427"/>
                  <a:pt x="567" y="426"/>
                  <a:pt x="567" y="426"/>
                </a:cubicBezTo>
                <a:cubicBezTo>
                  <a:pt x="566" y="425"/>
                  <a:pt x="564" y="425"/>
                  <a:pt x="563" y="425"/>
                </a:cubicBezTo>
                <a:cubicBezTo>
                  <a:pt x="563" y="425"/>
                  <a:pt x="562" y="425"/>
                  <a:pt x="561" y="424"/>
                </a:cubicBezTo>
                <a:cubicBezTo>
                  <a:pt x="560" y="424"/>
                  <a:pt x="559" y="423"/>
                  <a:pt x="558" y="422"/>
                </a:cubicBezTo>
                <a:cubicBezTo>
                  <a:pt x="557" y="422"/>
                  <a:pt x="555" y="420"/>
                  <a:pt x="555" y="422"/>
                </a:cubicBezTo>
                <a:cubicBezTo>
                  <a:pt x="555" y="423"/>
                  <a:pt x="555" y="423"/>
                  <a:pt x="555" y="424"/>
                </a:cubicBezTo>
                <a:cubicBezTo>
                  <a:pt x="555" y="424"/>
                  <a:pt x="554" y="425"/>
                  <a:pt x="554" y="426"/>
                </a:cubicBezTo>
                <a:cubicBezTo>
                  <a:pt x="553" y="426"/>
                  <a:pt x="552" y="426"/>
                  <a:pt x="551" y="426"/>
                </a:cubicBezTo>
                <a:cubicBezTo>
                  <a:pt x="550" y="426"/>
                  <a:pt x="551" y="425"/>
                  <a:pt x="550" y="424"/>
                </a:cubicBezTo>
                <a:cubicBezTo>
                  <a:pt x="550" y="424"/>
                  <a:pt x="549" y="423"/>
                  <a:pt x="548" y="423"/>
                </a:cubicBezTo>
                <a:cubicBezTo>
                  <a:pt x="547" y="423"/>
                  <a:pt x="546" y="424"/>
                  <a:pt x="545" y="424"/>
                </a:cubicBezTo>
                <a:cubicBezTo>
                  <a:pt x="545" y="425"/>
                  <a:pt x="544" y="425"/>
                  <a:pt x="543" y="425"/>
                </a:cubicBezTo>
                <a:cubicBezTo>
                  <a:pt x="542" y="426"/>
                  <a:pt x="541" y="427"/>
                  <a:pt x="540" y="427"/>
                </a:cubicBezTo>
                <a:cubicBezTo>
                  <a:pt x="540" y="427"/>
                  <a:pt x="539" y="428"/>
                  <a:pt x="539" y="429"/>
                </a:cubicBezTo>
                <a:cubicBezTo>
                  <a:pt x="539" y="429"/>
                  <a:pt x="540" y="429"/>
                  <a:pt x="540" y="430"/>
                </a:cubicBezTo>
                <a:cubicBezTo>
                  <a:pt x="540" y="431"/>
                  <a:pt x="540" y="431"/>
                  <a:pt x="540" y="432"/>
                </a:cubicBezTo>
                <a:cubicBezTo>
                  <a:pt x="541" y="433"/>
                  <a:pt x="541" y="433"/>
                  <a:pt x="542" y="434"/>
                </a:cubicBezTo>
                <a:cubicBezTo>
                  <a:pt x="542" y="436"/>
                  <a:pt x="539" y="434"/>
                  <a:pt x="538" y="435"/>
                </a:cubicBezTo>
                <a:cubicBezTo>
                  <a:pt x="538" y="436"/>
                  <a:pt x="538" y="437"/>
                  <a:pt x="538" y="437"/>
                </a:cubicBezTo>
                <a:cubicBezTo>
                  <a:pt x="538" y="438"/>
                  <a:pt x="537" y="439"/>
                  <a:pt x="537" y="439"/>
                </a:cubicBezTo>
                <a:cubicBezTo>
                  <a:pt x="536" y="440"/>
                  <a:pt x="535" y="441"/>
                  <a:pt x="534" y="442"/>
                </a:cubicBezTo>
                <a:cubicBezTo>
                  <a:pt x="534" y="443"/>
                  <a:pt x="533" y="444"/>
                  <a:pt x="533" y="443"/>
                </a:cubicBezTo>
                <a:cubicBezTo>
                  <a:pt x="533" y="442"/>
                  <a:pt x="534" y="441"/>
                  <a:pt x="534" y="441"/>
                </a:cubicBezTo>
                <a:cubicBezTo>
                  <a:pt x="535" y="440"/>
                  <a:pt x="535" y="438"/>
                  <a:pt x="536" y="437"/>
                </a:cubicBezTo>
                <a:cubicBezTo>
                  <a:pt x="536" y="436"/>
                  <a:pt x="536" y="435"/>
                  <a:pt x="536" y="435"/>
                </a:cubicBezTo>
                <a:cubicBezTo>
                  <a:pt x="537" y="434"/>
                  <a:pt x="537" y="434"/>
                  <a:pt x="537" y="433"/>
                </a:cubicBezTo>
                <a:cubicBezTo>
                  <a:pt x="538" y="431"/>
                  <a:pt x="537" y="430"/>
                  <a:pt x="537" y="428"/>
                </a:cubicBezTo>
                <a:cubicBezTo>
                  <a:pt x="537" y="427"/>
                  <a:pt x="539" y="426"/>
                  <a:pt x="539" y="425"/>
                </a:cubicBezTo>
                <a:cubicBezTo>
                  <a:pt x="539" y="423"/>
                  <a:pt x="538" y="423"/>
                  <a:pt x="538" y="422"/>
                </a:cubicBezTo>
                <a:cubicBezTo>
                  <a:pt x="537" y="422"/>
                  <a:pt x="537" y="421"/>
                  <a:pt x="536" y="420"/>
                </a:cubicBezTo>
                <a:cubicBezTo>
                  <a:pt x="535" y="420"/>
                  <a:pt x="535" y="421"/>
                  <a:pt x="534" y="422"/>
                </a:cubicBezTo>
                <a:cubicBezTo>
                  <a:pt x="534" y="422"/>
                  <a:pt x="534" y="422"/>
                  <a:pt x="533" y="422"/>
                </a:cubicBezTo>
                <a:cubicBezTo>
                  <a:pt x="532" y="423"/>
                  <a:pt x="532" y="423"/>
                  <a:pt x="531" y="423"/>
                </a:cubicBezTo>
                <a:cubicBezTo>
                  <a:pt x="531" y="424"/>
                  <a:pt x="532" y="424"/>
                  <a:pt x="531" y="425"/>
                </a:cubicBezTo>
                <a:cubicBezTo>
                  <a:pt x="530" y="426"/>
                  <a:pt x="531" y="425"/>
                  <a:pt x="530" y="425"/>
                </a:cubicBezTo>
                <a:cubicBezTo>
                  <a:pt x="529" y="425"/>
                  <a:pt x="529" y="426"/>
                  <a:pt x="529" y="427"/>
                </a:cubicBezTo>
                <a:cubicBezTo>
                  <a:pt x="529" y="428"/>
                  <a:pt x="527" y="428"/>
                  <a:pt x="526" y="430"/>
                </a:cubicBezTo>
                <a:cubicBezTo>
                  <a:pt x="526" y="430"/>
                  <a:pt x="526" y="431"/>
                  <a:pt x="526" y="432"/>
                </a:cubicBezTo>
                <a:cubicBezTo>
                  <a:pt x="526" y="433"/>
                  <a:pt x="527" y="432"/>
                  <a:pt x="528" y="433"/>
                </a:cubicBezTo>
                <a:cubicBezTo>
                  <a:pt x="528" y="433"/>
                  <a:pt x="528" y="434"/>
                  <a:pt x="529" y="434"/>
                </a:cubicBezTo>
                <a:cubicBezTo>
                  <a:pt x="530" y="434"/>
                  <a:pt x="530" y="434"/>
                  <a:pt x="530" y="435"/>
                </a:cubicBezTo>
                <a:cubicBezTo>
                  <a:pt x="530" y="436"/>
                  <a:pt x="529" y="436"/>
                  <a:pt x="528" y="436"/>
                </a:cubicBezTo>
                <a:cubicBezTo>
                  <a:pt x="527" y="437"/>
                  <a:pt x="527" y="437"/>
                  <a:pt x="527" y="438"/>
                </a:cubicBezTo>
                <a:cubicBezTo>
                  <a:pt x="526" y="439"/>
                  <a:pt x="525" y="439"/>
                  <a:pt x="524" y="440"/>
                </a:cubicBezTo>
                <a:cubicBezTo>
                  <a:pt x="522" y="441"/>
                  <a:pt x="523" y="438"/>
                  <a:pt x="523" y="437"/>
                </a:cubicBezTo>
                <a:cubicBezTo>
                  <a:pt x="523" y="437"/>
                  <a:pt x="524" y="436"/>
                  <a:pt x="524" y="436"/>
                </a:cubicBezTo>
                <a:cubicBezTo>
                  <a:pt x="524" y="435"/>
                  <a:pt x="525" y="435"/>
                  <a:pt x="525" y="434"/>
                </a:cubicBezTo>
                <a:cubicBezTo>
                  <a:pt x="526" y="433"/>
                  <a:pt x="524" y="433"/>
                  <a:pt x="524" y="431"/>
                </a:cubicBezTo>
                <a:cubicBezTo>
                  <a:pt x="524" y="430"/>
                  <a:pt x="525" y="429"/>
                  <a:pt x="525" y="428"/>
                </a:cubicBezTo>
                <a:cubicBezTo>
                  <a:pt x="525" y="425"/>
                  <a:pt x="523" y="426"/>
                  <a:pt x="521" y="427"/>
                </a:cubicBezTo>
                <a:cubicBezTo>
                  <a:pt x="521" y="427"/>
                  <a:pt x="520" y="427"/>
                  <a:pt x="519" y="427"/>
                </a:cubicBezTo>
                <a:cubicBezTo>
                  <a:pt x="518" y="427"/>
                  <a:pt x="516" y="427"/>
                  <a:pt x="515" y="428"/>
                </a:cubicBezTo>
                <a:cubicBezTo>
                  <a:pt x="514" y="428"/>
                  <a:pt x="513" y="429"/>
                  <a:pt x="512" y="430"/>
                </a:cubicBezTo>
                <a:cubicBezTo>
                  <a:pt x="511" y="431"/>
                  <a:pt x="510" y="432"/>
                  <a:pt x="510" y="433"/>
                </a:cubicBezTo>
                <a:cubicBezTo>
                  <a:pt x="509" y="434"/>
                  <a:pt x="511" y="433"/>
                  <a:pt x="512" y="434"/>
                </a:cubicBezTo>
                <a:cubicBezTo>
                  <a:pt x="512" y="434"/>
                  <a:pt x="512" y="435"/>
                  <a:pt x="512" y="435"/>
                </a:cubicBezTo>
                <a:cubicBezTo>
                  <a:pt x="513" y="435"/>
                  <a:pt x="514" y="435"/>
                  <a:pt x="514" y="435"/>
                </a:cubicBezTo>
                <a:cubicBezTo>
                  <a:pt x="515" y="437"/>
                  <a:pt x="513" y="437"/>
                  <a:pt x="512" y="437"/>
                </a:cubicBezTo>
                <a:cubicBezTo>
                  <a:pt x="511" y="437"/>
                  <a:pt x="510" y="437"/>
                  <a:pt x="510" y="438"/>
                </a:cubicBezTo>
                <a:cubicBezTo>
                  <a:pt x="511" y="438"/>
                  <a:pt x="512" y="439"/>
                  <a:pt x="511" y="440"/>
                </a:cubicBezTo>
                <a:cubicBezTo>
                  <a:pt x="511" y="441"/>
                  <a:pt x="510" y="440"/>
                  <a:pt x="510" y="439"/>
                </a:cubicBezTo>
                <a:cubicBezTo>
                  <a:pt x="509" y="439"/>
                  <a:pt x="509" y="438"/>
                  <a:pt x="508" y="438"/>
                </a:cubicBezTo>
                <a:cubicBezTo>
                  <a:pt x="507" y="439"/>
                  <a:pt x="506" y="438"/>
                  <a:pt x="505" y="437"/>
                </a:cubicBezTo>
                <a:cubicBezTo>
                  <a:pt x="504" y="437"/>
                  <a:pt x="501" y="436"/>
                  <a:pt x="501" y="437"/>
                </a:cubicBezTo>
                <a:cubicBezTo>
                  <a:pt x="501" y="438"/>
                  <a:pt x="502" y="438"/>
                  <a:pt x="503" y="438"/>
                </a:cubicBezTo>
                <a:cubicBezTo>
                  <a:pt x="503" y="438"/>
                  <a:pt x="503" y="439"/>
                  <a:pt x="504" y="440"/>
                </a:cubicBezTo>
                <a:cubicBezTo>
                  <a:pt x="504" y="441"/>
                  <a:pt x="506" y="441"/>
                  <a:pt x="507" y="442"/>
                </a:cubicBezTo>
                <a:cubicBezTo>
                  <a:pt x="507" y="443"/>
                  <a:pt x="507" y="443"/>
                  <a:pt x="508" y="443"/>
                </a:cubicBezTo>
                <a:cubicBezTo>
                  <a:pt x="509" y="444"/>
                  <a:pt x="509" y="444"/>
                  <a:pt x="508" y="445"/>
                </a:cubicBezTo>
                <a:cubicBezTo>
                  <a:pt x="508" y="446"/>
                  <a:pt x="506" y="445"/>
                  <a:pt x="505" y="445"/>
                </a:cubicBezTo>
                <a:cubicBezTo>
                  <a:pt x="505" y="445"/>
                  <a:pt x="504" y="445"/>
                  <a:pt x="503" y="445"/>
                </a:cubicBezTo>
                <a:cubicBezTo>
                  <a:pt x="503" y="445"/>
                  <a:pt x="502" y="444"/>
                  <a:pt x="501" y="444"/>
                </a:cubicBezTo>
                <a:cubicBezTo>
                  <a:pt x="501" y="443"/>
                  <a:pt x="500" y="443"/>
                  <a:pt x="499" y="442"/>
                </a:cubicBezTo>
                <a:cubicBezTo>
                  <a:pt x="499" y="442"/>
                  <a:pt x="498" y="442"/>
                  <a:pt x="498" y="441"/>
                </a:cubicBezTo>
                <a:cubicBezTo>
                  <a:pt x="497" y="440"/>
                  <a:pt x="498" y="440"/>
                  <a:pt x="498" y="440"/>
                </a:cubicBezTo>
                <a:cubicBezTo>
                  <a:pt x="498" y="438"/>
                  <a:pt x="496" y="437"/>
                  <a:pt x="495" y="438"/>
                </a:cubicBezTo>
                <a:cubicBezTo>
                  <a:pt x="494" y="438"/>
                  <a:pt x="494" y="439"/>
                  <a:pt x="494" y="440"/>
                </a:cubicBezTo>
                <a:cubicBezTo>
                  <a:pt x="493" y="440"/>
                  <a:pt x="493" y="441"/>
                  <a:pt x="493" y="441"/>
                </a:cubicBezTo>
                <a:cubicBezTo>
                  <a:pt x="491" y="442"/>
                  <a:pt x="492" y="439"/>
                  <a:pt x="492" y="439"/>
                </a:cubicBezTo>
                <a:cubicBezTo>
                  <a:pt x="492" y="437"/>
                  <a:pt x="491" y="437"/>
                  <a:pt x="490" y="437"/>
                </a:cubicBezTo>
                <a:cubicBezTo>
                  <a:pt x="489" y="436"/>
                  <a:pt x="489" y="435"/>
                  <a:pt x="488" y="435"/>
                </a:cubicBezTo>
                <a:cubicBezTo>
                  <a:pt x="487" y="435"/>
                  <a:pt x="486" y="436"/>
                  <a:pt x="485" y="436"/>
                </a:cubicBezTo>
                <a:cubicBezTo>
                  <a:pt x="485" y="435"/>
                  <a:pt x="485" y="434"/>
                  <a:pt x="484" y="434"/>
                </a:cubicBezTo>
                <a:cubicBezTo>
                  <a:pt x="483" y="434"/>
                  <a:pt x="484" y="435"/>
                  <a:pt x="483" y="435"/>
                </a:cubicBezTo>
                <a:cubicBezTo>
                  <a:pt x="482" y="436"/>
                  <a:pt x="482" y="435"/>
                  <a:pt x="482" y="434"/>
                </a:cubicBezTo>
                <a:cubicBezTo>
                  <a:pt x="482" y="434"/>
                  <a:pt x="481" y="433"/>
                  <a:pt x="481" y="434"/>
                </a:cubicBezTo>
                <a:cubicBezTo>
                  <a:pt x="481" y="435"/>
                  <a:pt x="482" y="435"/>
                  <a:pt x="482" y="436"/>
                </a:cubicBezTo>
                <a:cubicBezTo>
                  <a:pt x="482" y="436"/>
                  <a:pt x="483" y="437"/>
                  <a:pt x="483" y="437"/>
                </a:cubicBezTo>
                <a:cubicBezTo>
                  <a:pt x="484" y="438"/>
                  <a:pt x="483" y="439"/>
                  <a:pt x="483" y="438"/>
                </a:cubicBezTo>
                <a:cubicBezTo>
                  <a:pt x="482" y="438"/>
                  <a:pt x="482" y="437"/>
                  <a:pt x="481" y="437"/>
                </a:cubicBezTo>
                <a:cubicBezTo>
                  <a:pt x="480" y="437"/>
                  <a:pt x="479" y="438"/>
                  <a:pt x="479" y="438"/>
                </a:cubicBezTo>
                <a:cubicBezTo>
                  <a:pt x="478" y="438"/>
                  <a:pt x="477" y="438"/>
                  <a:pt x="477" y="438"/>
                </a:cubicBezTo>
                <a:cubicBezTo>
                  <a:pt x="476" y="438"/>
                  <a:pt x="475" y="437"/>
                  <a:pt x="475" y="438"/>
                </a:cubicBezTo>
                <a:cubicBezTo>
                  <a:pt x="474" y="438"/>
                  <a:pt x="475" y="439"/>
                  <a:pt x="475" y="439"/>
                </a:cubicBezTo>
                <a:cubicBezTo>
                  <a:pt x="476" y="439"/>
                  <a:pt x="476" y="439"/>
                  <a:pt x="477" y="440"/>
                </a:cubicBezTo>
                <a:cubicBezTo>
                  <a:pt x="477" y="440"/>
                  <a:pt x="479" y="440"/>
                  <a:pt x="478" y="441"/>
                </a:cubicBezTo>
                <a:cubicBezTo>
                  <a:pt x="478" y="441"/>
                  <a:pt x="476" y="441"/>
                  <a:pt x="476" y="441"/>
                </a:cubicBezTo>
                <a:cubicBezTo>
                  <a:pt x="474" y="441"/>
                  <a:pt x="472" y="441"/>
                  <a:pt x="471" y="441"/>
                </a:cubicBezTo>
                <a:cubicBezTo>
                  <a:pt x="470" y="442"/>
                  <a:pt x="468" y="443"/>
                  <a:pt x="469" y="444"/>
                </a:cubicBezTo>
                <a:cubicBezTo>
                  <a:pt x="469" y="444"/>
                  <a:pt x="470" y="444"/>
                  <a:pt x="470" y="444"/>
                </a:cubicBezTo>
                <a:cubicBezTo>
                  <a:pt x="471" y="444"/>
                  <a:pt x="470" y="445"/>
                  <a:pt x="471" y="445"/>
                </a:cubicBezTo>
                <a:cubicBezTo>
                  <a:pt x="471" y="446"/>
                  <a:pt x="471" y="446"/>
                  <a:pt x="472" y="446"/>
                </a:cubicBezTo>
                <a:cubicBezTo>
                  <a:pt x="474" y="448"/>
                  <a:pt x="470" y="447"/>
                  <a:pt x="470" y="448"/>
                </a:cubicBezTo>
                <a:cubicBezTo>
                  <a:pt x="468" y="448"/>
                  <a:pt x="469" y="448"/>
                  <a:pt x="470" y="448"/>
                </a:cubicBezTo>
                <a:cubicBezTo>
                  <a:pt x="470" y="449"/>
                  <a:pt x="471" y="449"/>
                  <a:pt x="471" y="449"/>
                </a:cubicBezTo>
                <a:cubicBezTo>
                  <a:pt x="470" y="450"/>
                  <a:pt x="469" y="449"/>
                  <a:pt x="469" y="450"/>
                </a:cubicBezTo>
                <a:cubicBezTo>
                  <a:pt x="468" y="451"/>
                  <a:pt x="469" y="451"/>
                  <a:pt x="468" y="452"/>
                </a:cubicBezTo>
                <a:cubicBezTo>
                  <a:pt x="467" y="453"/>
                  <a:pt x="468" y="453"/>
                  <a:pt x="469" y="453"/>
                </a:cubicBezTo>
                <a:cubicBezTo>
                  <a:pt x="470" y="453"/>
                  <a:pt x="471" y="453"/>
                  <a:pt x="471" y="453"/>
                </a:cubicBezTo>
                <a:cubicBezTo>
                  <a:pt x="472" y="453"/>
                  <a:pt x="472" y="453"/>
                  <a:pt x="472" y="454"/>
                </a:cubicBezTo>
                <a:cubicBezTo>
                  <a:pt x="473" y="456"/>
                  <a:pt x="475" y="455"/>
                  <a:pt x="476" y="454"/>
                </a:cubicBezTo>
                <a:cubicBezTo>
                  <a:pt x="476" y="453"/>
                  <a:pt x="476" y="452"/>
                  <a:pt x="477" y="452"/>
                </a:cubicBezTo>
                <a:cubicBezTo>
                  <a:pt x="478" y="452"/>
                  <a:pt x="479" y="452"/>
                  <a:pt x="479" y="452"/>
                </a:cubicBezTo>
                <a:cubicBezTo>
                  <a:pt x="480" y="451"/>
                  <a:pt x="481" y="451"/>
                  <a:pt x="482" y="451"/>
                </a:cubicBezTo>
                <a:cubicBezTo>
                  <a:pt x="483" y="451"/>
                  <a:pt x="483" y="451"/>
                  <a:pt x="484" y="451"/>
                </a:cubicBezTo>
                <a:cubicBezTo>
                  <a:pt x="485" y="451"/>
                  <a:pt x="486" y="450"/>
                  <a:pt x="486" y="450"/>
                </a:cubicBezTo>
                <a:cubicBezTo>
                  <a:pt x="488" y="450"/>
                  <a:pt x="489" y="449"/>
                  <a:pt x="490" y="448"/>
                </a:cubicBezTo>
                <a:cubicBezTo>
                  <a:pt x="489" y="451"/>
                  <a:pt x="486" y="450"/>
                  <a:pt x="484" y="452"/>
                </a:cubicBezTo>
                <a:cubicBezTo>
                  <a:pt x="483" y="452"/>
                  <a:pt x="483" y="454"/>
                  <a:pt x="483" y="455"/>
                </a:cubicBezTo>
                <a:cubicBezTo>
                  <a:pt x="484" y="456"/>
                  <a:pt x="485" y="456"/>
                  <a:pt x="485" y="457"/>
                </a:cubicBezTo>
                <a:cubicBezTo>
                  <a:pt x="485" y="458"/>
                  <a:pt x="485" y="458"/>
                  <a:pt x="486" y="458"/>
                </a:cubicBezTo>
                <a:cubicBezTo>
                  <a:pt x="488" y="460"/>
                  <a:pt x="485" y="460"/>
                  <a:pt x="484" y="460"/>
                </a:cubicBezTo>
                <a:cubicBezTo>
                  <a:pt x="483" y="460"/>
                  <a:pt x="483" y="461"/>
                  <a:pt x="482" y="461"/>
                </a:cubicBezTo>
                <a:cubicBezTo>
                  <a:pt x="481" y="461"/>
                  <a:pt x="480" y="461"/>
                  <a:pt x="481" y="461"/>
                </a:cubicBezTo>
                <a:cubicBezTo>
                  <a:pt x="482" y="462"/>
                  <a:pt x="483" y="461"/>
                  <a:pt x="483" y="461"/>
                </a:cubicBezTo>
                <a:cubicBezTo>
                  <a:pt x="484" y="462"/>
                  <a:pt x="484" y="462"/>
                  <a:pt x="483" y="462"/>
                </a:cubicBezTo>
                <a:cubicBezTo>
                  <a:pt x="482" y="463"/>
                  <a:pt x="480" y="461"/>
                  <a:pt x="480" y="461"/>
                </a:cubicBezTo>
                <a:cubicBezTo>
                  <a:pt x="479" y="462"/>
                  <a:pt x="481" y="463"/>
                  <a:pt x="481" y="463"/>
                </a:cubicBezTo>
                <a:cubicBezTo>
                  <a:pt x="481" y="463"/>
                  <a:pt x="481" y="464"/>
                  <a:pt x="481" y="464"/>
                </a:cubicBezTo>
                <a:cubicBezTo>
                  <a:pt x="481" y="465"/>
                  <a:pt x="481" y="465"/>
                  <a:pt x="481" y="465"/>
                </a:cubicBezTo>
                <a:cubicBezTo>
                  <a:pt x="479" y="466"/>
                  <a:pt x="478" y="465"/>
                  <a:pt x="476" y="464"/>
                </a:cubicBezTo>
                <a:cubicBezTo>
                  <a:pt x="475" y="464"/>
                  <a:pt x="474" y="465"/>
                  <a:pt x="472" y="466"/>
                </a:cubicBezTo>
                <a:cubicBezTo>
                  <a:pt x="471" y="466"/>
                  <a:pt x="469" y="466"/>
                  <a:pt x="468" y="467"/>
                </a:cubicBezTo>
                <a:cubicBezTo>
                  <a:pt x="467" y="468"/>
                  <a:pt x="466" y="469"/>
                  <a:pt x="465" y="469"/>
                </a:cubicBezTo>
                <a:cubicBezTo>
                  <a:pt x="463" y="470"/>
                  <a:pt x="463" y="470"/>
                  <a:pt x="463" y="472"/>
                </a:cubicBezTo>
                <a:cubicBezTo>
                  <a:pt x="463" y="473"/>
                  <a:pt x="463" y="474"/>
                  <a:pt x="465" y="474"/>
                </a:cubicBezTo>
                <a:cubicBezTo>
                  <a:pt x="466" y="474"/>
                  <a:pt x="467" y="473"/>
                  <a:pt x="469" y="473"/>
                </a:cubicBezTo>
                <a:cubicBezTo>
                  <a:pt x="470" y="473"/>
                  <a:pt x="472" y="473"/>
                  <a:pt x="473" y="473"/>
                </a:cubicBezTo>
                <a:cubicBezTo>
                  <a:pt x="475" y="474"/>
                  <a:pt x="476" y="474"/>
                  <a:pt x="477" y="473"/>
                </a:cubicBezTo>
                <a:cubicBezTo>
                  <a:pt x="478" y="472"/>
                  <a:pt x="479" y="472"/>
                  <a:pt x="481" y="472"/>
                </a:cubicBezTo>
                <a:cubicBezTo>
                  <a:pt x="481" y="472"/>
                  <a:pt x="482" y="472"/>
                  <a:pt x="483" y="473"/>
                </a:cubicBezTo>
                <a:cubicBezTo>
                  <a:pt x="483" y="473"/>
                  <a:pt x="483" y="474"/>
                  <a:pt x="484" y="474"/>
                </a:cubicBezTo>
                <a:cubicBezTo>
                  <a:pt x="485" y="474"/>
                  <a:pt x="485" y="474"/>
                  <a:pt x="486" y="475"/>
                </a:cubicBezTo>
                <a:cubicBezTo>
                  <a:pt x="486" y="475"/>
                  <a:pt x="486" y="476"/>
                  <a:pt x="485" y="476"/>
                </a:cubicBezTo>
                <a:cubicBezTo>
                  <a:pt x="484" y="477"/>
                  <a:pt x="483" y="476"/>
                  <a:pt x="481" y="477"/>
                </a:cubicBezTo>
                <a:cubicBezTo>
                  <a:pt x="481" y="478"/>
                  <a:pt x="481" y="478"/>
                  <a:pt x="480" y="478"/>
                </a:cubicBezTo>
                <a:cubicBezTo>
                  <a:pt x="479" y="479"/>
                  <a:pt x="479" y="479"/>
                  <a:pt x="479" y="480"/>
                </a:cubicBezTo>
                <a:cubicBezTo>
                  <a:pt x="478" y="480"/>
                  <a:pt x="478" y="481"/>
                  <a:pt x="477" y="481"/>
                </a:cubicBezTo>
                <a:cubicBezTo>
                  <a:pt x="477" y="481"/>
                  <a:pt x="476" y="481"/>
                  <a:pt x="476" y="480"/>
                </a:cubicBezTo>
                <a:cubicBezTo>
                  <a:pt x="476" y="479"/>
                  <a:pt x="476" y="479"/>
                  <a:pt x="475" y="479"/>
                </a:cubicBezTo>
                <a:cubicBezTo>
                  <a:pt x="474" y="478"/>
                  <a:pt x="474" y="478"/>
                  <a:pt x="473" y="477"/>
                </a:cubicBezTo>
                <a:cubicBezTo>
                  <a:pt x="472" y="476"/>
                  <a:pt x="471" y="475"/>
                  <a:pt x="470" y="477"/>
                </a:cubicBezTo>
                <a:cubicBezTo>
                  <a:pt x="470" y="477"/>
                  <a:pt x="470" y="478"/>
                  <a:pt x="469" y="478"/>
                </a:cubicBezTo>
                <a:cubicBezTo>
                  <a:pt x="469" y="478"/>
                  <a:pt x="468" y="478"/>
                  <a:pt x="468" y="478"/>
                </a:cubicBezTo>
                <a:cubicBezTo>
                  <a:pt x="467" y="479"/>
                  <a:pt x="466" y="479"/>
                  <a:pt x="465" y="480"/>
                </a:cubicBezTo>
                <a:cubicBezTo>
                  <a:pt x="465" y="481"/>
                  <a:pt x="465" y="482"/>
                  <a:pt x="463" y="482"/>
                </a:cubicBezTo>
                <a:cubicBezTo>
                  <a:pt x="463" y="482"/>
                  <a:pt x="461" y="481"/>
                  <a:pt x="461" y="482"/>
                </a:cubicBezTo>
                <a:cubicBezTo>
                  <a:pt x="461" y="482"/>
                  <a:pt x="463" y="482"/>
                  <a:pt x="462" y="483"/>
                </a:cubicBezTo>
                <a:cubicBezTo>
                  <a:pt x="462" y="484"/>
                  <a:pt x="461" y="483"/>
                  <a:pt x="460" y="484"/>
                </a:cubicBezTo>
                <a:cubicBezTo>
                  <a:pt x="460" y="484"/>
                  <a:pt x="458" y="486"/>
                  <a:pt x="460" y="485"/>
                </a:cubicBezTo>
                <a:cubicBezTo>
                  <a:pt x="460" y="485"/>
                  <a:pt x="460" y="485"/>
                  <a:pt x="461" y="485"/>
                </a:cubicBezTo>
                <a:cubicBezTo>
                  <a:pt x="462" y="485"/>
                  <a:pt x="463" y="486"/>
                  <a:pt x="462" y="487"/>
                </a:cubicBezTo>
                <a:cubicBezTo>
                  <a:pt x="462" y="487"/>
                  <a:pt x="460" y="486"/>
                  <a:pt x="459" y="487"/>
                </a:cubicBezTo>
                <a:cubicBezTo>
                  <a:pt x="459" y="488"/>
                  <a:pt x="460" y="488"/>
                  <a:pt x="460" y="488"/>
                </a:cubicBezTo>
                <a:cubicBezTo>
                  <a:pt x="461" y="488"/>
                  <a:pt x="460" y="489"/>
                  <a:pt x="461" y="489"/>
                </a:cubicBezTo>
                <a:cubicBezTo>
                  <a:pt x="461" y="490"/>
                  <a:pt x="462" y="489"/>
                  <a:pt x="461" y="490"/>
                </a:cubicBezTo>
                <a:cubicBezTo>
                  <a:pt x="461" y="491"/>
                  <a:pt x="460" y="492"/>
                  <a:pt x="459" y="492"/>
                </a:cubicBezTo>
                <a:cubicBezTo>
                  <a:pt x="458" y="492"/>
                  <a:pt x="458" y="492"/>
                  <a:pt x="458" y="492"/>
                </a:cubicBezTo>
                <a:cubicBezTo>
                  <a:pt x="458" y="493"/>
                  <a:pt x="458" y="493"/>
                  <a:pt x="457" y="493"/>
                </a:cubicBezTo>
                <a:cubicBezTo>
                  <a:pt x="457" y="492"/>
                  <a:pt x="457" y="492"/>
                  <a:pt x="456" y="492"/>
                </a:cubicBezTo>
                <a:cubicBezTo>
                  <a:pt x="455" y="492"/>
                  <a:pt x="455" y="491"/>
                  <a:pt x="455" y="490"/>
                </a:cubicBezTo>
                <a:cubicBezTo>
                  <a:pt x="455" y="490"/>
                  <a:pt x="455" y="489"/>
                  <a:pt x="455" y="488"/>
                </a:cubicBezTo>
                <a:cubicBezTo>
                  <a:pt x="455" y="487"/>
                  <a:pt x="455" y="487"/>
                  <a:pt x="454" y="487"/>
                </a:cubicBezTo>
                <a:cubicBezTo>
                  <a:pt x="453" y="486"/>
                  <a:pt x="454" y="484"/>
                  <a:pt x="454" y="483"/>
                </a:cubicBezTo>
                <a:cubicBezTo>
                  <a:pt x="453" y="482"/>
                  <a:pt x="452" y="482"/>
                  <a:pt x="452" y="482"/>
                </a:cubicBezTo>
                <a:cubicBezTo>
                  <a:pt x="451" y="481"/>
                  <a:pt x="451" y="480"/>
                  <a:pt x="450" y="481"/>
                </a:cubicBezTo>
                <a:cubicBezTo>
                  <a:pt x="450" y="481"/>
                  <a:pt x="449" y="482"/>
                  <a:pt x="448" y="482"/>
                </a:cubicBezTo>
                <a:cubicBezTo>
                  <a:pt x="448" y="482"/>
                  <a:pt x="447" y="483"/>
                  <a:pt x="447" y="484"/>
                </a:cubicBezTo>
                <a:cubicBezTo>
                  <a:pt x="446" y="485"/>
                  <a:pt x="445" y="486"/>
                  <a:pt x="444" y="486"/>
                </a:cubicBezTo>
                <a:cubicBezTo>
                  <a:pt x="443" y="486"/>
                  <a:pt x="444" y="485"/>
                  <a:pt x="445" y="485"/>
                </a:cubicBezTo>
                <a:cubicBezTo>
                  <a:pt x="445" y="485"/>
                  <a:pt x="445" y="484"/>
                  <a:pt x="445" y="483"/>
                </a:cubicBezTo>
                <a:cubicBezTo>
                  <a:pt x="445" y="483"/>
                  <a:pt x="444" y="482"/>
                  <a:pt x="443" y="483"/>
                </a:cubicBezTo>
                <a:cubicBezTo>
                  <a:pt x="443" y="483"/>
                  <a:pt x="443" y="484"/>
                  <a:pt x="442" y="484"/>
                </a:cubicBezTo>
                <a:cubicBezTo>
                  <a:pt x="442" y="485"/>
                  <a:pt x="442" y="484"/>
                  <a:pt x="441" y="484"/>
                </a:cubicBezTo>
                <a:cubicBezTo>
                  <a:pt x="441" y="484"/>
                  <a:pt x="440" y="483"/>
                  <a:pt x="439" y="484"/>
                </a:cubicBezTo>
                <a:cubicBezTo>
                  <a:pt x="439" y="485"/>
                  <a:pt x="439" y="485"/>
                  <a:pt x="439" y="486"/>
                </a:cubicBezTo>
                <a:cubicBezTo>
                  <a:pt x="438" y="486"/>
                  <a:pt x="437" y="486"/>
                  <a:pt x="438" y="487"/>
                </a:cubicBezTo>
                <a:cubicBezTo>
                  <a:pt x="439" y="488"/>
                  <a:pt x="441" y="486"/>
                  <a:pt x="442" y="487"/>
                </a:cubicBezTo>
                <a:cubicBezTo>
                  <a:pt x="442" y="487"/>
                  <a:pt x="442" y="487"/>
                  <a:pt x="442" y="487"/>
                </a:cubicBezTo>
                <a:cubicBezTo>
                  <a:pt x="443" y="488"/>
                  <a:pt x="443" y="488"/>
                  <a:pt x="443" y="488"/>
                </a:cubicBezTo>
                <a:cubicBezTo>
                  <a:pt x="444" y="488"/>
                  <a:pt x="445" y="487"/>
                  <a:pt x="446" y="487"/>
                </a:cubicBezTo>
                <a:cubicBezTo>
                  <a:pt x="447" y="487"/>
                  <a:pt x="450" y="488"/>
                  <a:pt x="448" y="489"/>
                </a:cubicBezTo>
                <a:cubicBezTo>
                  <a:pt x="447" y="490"/>
                  <a:pt x="446" y="490"/>
                  <a:pt x="446" y="490"/>
                </a:cubicBezTo>
                <a:cubicBezTo>
                  <a:pt x="445" y="490"/>
                  <a:pt x="445" y="491"/>
                  <a:pt x="444" y="491"/>
                </a:cubicBezTo>
                <a:cubicBezTo>
                  <a:pt x="442" y="492"/>
                  <a:pt x="441" y="491"/>
                  <a:pt x="439" y="492"/>
                </a:cubicBezTo>
                <a:cubicBezTo>
                  <a:pt x="438" y="492"/>
                  <a:pt x="437" y="493"/>
                  <a:pt x="436" y="493"/>
                </a:cubicBezTo>
                <a:cubicBezTo>
                  <a:pt x="434" y="495"/>
                  <a:pt x="435" y="492"/>
                  <a:pt x="434" y="492"/>
                </a:cubicBezTo>
                <a:cubicBezTo>
                  <a:pt x="433" y="492"/>
                  <a:pt x="431" y="492"/>
                  <a:pt x="430" y="493"/>
                </a:cubicBezTo>
                <a:cubicBezTo>
                  <a:pt x="429" y="493"/>
                  <a:pt x="427" y="494"/>
                  <a:pt x="427" y="496"/>
                </a:cubicBezTo>
                <a:cubicBezTo>
                  <a:pt x="427" y="497"/>
                  <a:pt x="428" y="496"/>
                  <a:pt x="428" y="497"/>
                </a:cubicBezTo>
                <a:cubicBezTo>
                  <a:pt x="428" y="497"/>
                  <a:pt x="428" y="498"/>
                  <a:pt x="428" y="499"/>
                </a:cubicBezTo>
                <a:cubicBezTo>
                  <a:pt x="428" y="500"/>
                  <a:pt x="427" y="501"/>
                  <a:pt x="428" y="500"/>
                </a:cubicBezTo>
                <a:cubicBezTo>
                  <a:pt x="429" y="500"/>
                  <a:pt x="429" y="500"/>
                  <a:pt x="430" y="499"/>
                </a:cubicBezTo>
                <a:cubicBezTo>
                  <a:pt x="430" y="498"/>
                  <a:pt x="431" y="498"/>
                  <a:pt x="432" y="498"/>
                </a:cubicBezTo>
                <a:cubicBezTo>
                  <a:pt x="432" y="498"/>
                  <a:pt x="433" y="499"/>
                  <a:pt x="434" y="498"/>
                </a:cubicBezTo>
                <a:cubicBezTo>
                  <a:pt x="435" y="498"/>
                  <a:pt x="435" y="496"/>
                  <a:pt x="437" y="496"/>
                </a:cubicBezTo>
                <a:cubicBezTo>
                  <a:pt x="437" y="495"/>
                  <a:pt x="438" y="495"/>
                  <a:pt x="438" y="495"/>
                </a:cubicBezTo>
                <a:cubicBezTo>
                  <a:pt x="439" y="494"/>
                  <a:pt x="439" y="494"/>
                  <a:pt x="440" y="494"/>
                </a:cubicBezTo>
                <a:cubicBezTo>
                  <a:pt x="441" y="494"/>
                  <a:pt x="441" y="494"/>
                  <a:pt x="442" y="495"/>
                </a:cubicBezTo>
                <a:cubicBezTo>
                  <a:pt x="442" y="495"/>
                  <a:pt x="443" y="495"/>
                  <a:pt x="443" y="496"/>
                </a:cubicBezTo>
                <a:cubicBezTo>
                  <a:pt x="445" y="497"/>
                  <a:pt x="443" y="497"/>
                  <a:pt x="442" y="498"/>
                </a:cubicBezTo>
                <a:cubicBezTo>
                  <a:pt x="441" y="498"/>
                  <a:pt x="441" y="498"/>
                  <a:pt x="440" y="499"/>
                </a:cubicBezTo>
                <a:cubicBezTo>
                  <a:pt x="439" y="499"/>
                  <a:pt x="439" y="499"/>
                  <a:pt x="438" y="500"/>
                </a:cubicBezTo>
                <a:cubicBezTo>
                  <a:pt x="437" y="500"/>
                  <a:pt x="436" y="500"/>
                  <a:pt x="436" y="500"/>
                </a:cubicBezTo>
                <a:cubicBezTo>
                  <a:pt x="435" y="501"/>
                  <a:pt x="435" y="501"/>
                  <a:pt x="436" y="501"/>
                </a:cubicBezTo>
                <a:cubicBezTo>
                  <a:pt x="438" y="501"/>
                  <a:pt x="439" y="500"/>
                  <a:pt x="440" y="502"/>
                </a:cubicBezTo>
                <a:cubicBezTo>
                  <a:pt x="441" y="503"/>
                  <a:pt x="440" y="504"/>
                  <a:pt x="442" y="505"/>
                </a:cubicBezTo>
                <a:cubicBezTo>
                  <a:pt x="443" y="505"/>
                  <a:pt x="443" y="505"/>
                  <a:pt x="444" y="505"/>
                </a:cubicBezTo>
                <a:cubicBezTo>
                  <a:pt x="444" y="504"/>
                  <a:pt x="445" y="504"/>
                  <a:pt x="446" y="504"/>
                </a:cubicBezTo>
                <a:cubicBezTo>
                  <a:pt x="446" y="504"/>
                  <a:pt x="447" y="503"/>
                  <a:pt x="447" y="504"/>
                </a:cubicBezTo>
                <a:cubicBezTo>
                  <a:pt x="448" y="505"/>
                  <a:pt x="447" y="505"/>
                  <a:pt x="446" y="505"/>
                </a:cubicBezTo>
                <a:cubicBezTo>
                  <a:pt x="445" y="506"/>
                  <a:pt x="444" y="507"/>
                  <a:pt x="443" y="508"/>
                </a:cubicBezTo>
                <a:cubicBezTo>
                  <a:pt x="443" y="508"/>
                  <a:pt x="443" y="509"/>
                  <a:pt x="442" y="509"/>
                </a:cubicBezTo>
                <a:cubicBezTo>
                  <a:pt x="441" y="509"/>
                  <a:pt x="441" y="508"/>
                  <a:pt x="440" y="508"/>
                </a:cubicBezTo>
                <a:cubicBezTo>
                  <a:pt x="440" y="507"/>
                  <a:pt x="439" y="507"/>
                  <a:pt x="438" y="507"/>
                </a:cubicBezTo>
                <a:cubicBezTo>
                  <a:pt x="438" y="507"/>
                  <a:pt x="437" y="507"/>
                  <a:pt x="437" y="506"/>
                </a:cubicBezTo>
                <a:cubicBezTo>
                  <a:pt x="436" y="505"/>
                  <a:pt x="434" y="505"/>
                  <a:pt x="433" y="505"/>
                </a:cubicBezTo>
                <a:cubicBezTo>
                  <a:pt x="432" y="505"/>
                  <a:pt x="431" y="505"/>
                  <a:pt x="432" y="504"/>
                </a:cubicBezTo>
                <a:cubicBezTo>
                  <a:pt x="432" y="504"/>
                  <a:pt x="434" y="504"/>
                  <a:pt x="433" y="503"/>
                </a:cubicBezTo>
                <a:cubicBezTo>
                  <a:pt x="432" y="502"/>
                  <a:pt x="431" y="503"/>
                  <a:pt x="431" y="504"/>
                </a:cubicBezTo>
                <a:cubicBezTo>
                  <a:pt x="430" y="504"/>
                  <a:pt x="428" y="504"/>
                  <a:pt x="427" y="505"/>
                </a:cubicBezTo>
                <a:cubicBezTo>
                  <a:pt x="427" y="506"/>
                  <a:pt x="426" y="506"/>
                  <a:pt x="426" y="507"/>
                </a:cubicBezTo>
                <a:cubicBezTo>
                  <a:pt x="427" y="507"/>
                  <a:pt x="429" y="507"/>
                  <a:pt x="430" y="507"/>
                </a:cubicBezTo>
                <a:cubicBezTo>
                  <a:pt x="430" y="507"/>
                  <a:pt x="432" y="507"/>
                  <a:pt x="431" y="508"/>
                </a:cubicBezTo>
                <a:cubicBezTo>
                  <a:pt x="431" y="508"/>
                  <a:pt x="429" y="508"/>
                  <a:pt x="429" y="508"/>
                </a:cubicBezTo>
                <a:cubicBezTo>
                  <a:pt x="428" y="509"/>
                  <a:pt x="428" y="509"/>
                  <a:pt x="428" y="508"/>
                </a:cubicBezTo>
                <a:cubicBezTo>
                  <a:pt x="427" y="508"/>
                  <a:pt x="426" y="508"/>
                  <a:pt x="426" y="508"/>
                </a:cubicBezTo>
                <a:cubicBezTo>
                  <a:pt x="424" y="508"/>
                  <a:pt x="423" y="510"/>
                  <a:pt x="423" y="511"/>
                </a:cubicBezTo>
                <a:cubicBezTo>
                  <a:pt x="422" y="511"/>
                  <a:pt x="422" y="511"/>
                  <a:pt x="421" y="512"/>
                </a:cubicBezTo>
                <a:cubicBezTo>
                  <a:pt x="421" y="512"/>
                  <a:pt x="420" y="512"/>
                  <a:pt x="420" y="513"/>
                </a:cubicBezTo>
                <a:cubicBezTo>
                  <a:pt x="419" y="514"/>
                  <a:pt x="423" y="513"/>
                  <a:pt x="423" y="513"/>
                </a:cubicBezTo>
                <a:cubicBezTo>
                  <a:pt x="425" y="512"/>
                  <a:pt x="426" y="513"/>
                  <a:pt x="427" y="513"/>
                </a:cubicBezTo>
                <a:cubicBezTo>
                  <a:pt x="429" y="513"/>
                  <a:pt x="430" y="512"/>
                  <a:pt x="432" y="512"/>
                </a:cubicBezTo>
                <a:cubicBezTo>
                  <a:pt x="432" y="512"/>
                  <a:pt x="433" y="512"/>
                  <a:pt x="434" y="512"/>
                </a:cubicBezTo>
                <a:cubicBezTo>
                  <a:pt x="434" y="513"/>
                  <a:pt x="435" y="513"/>
                  <a:pt x="435" y="513"/>
                </a:cubicBezTo>
                <a:cubicBezTo>
                  <a:pt x="436" y="514"/>
                  <a:pt x="436" y="513"/>
                  <a:pt x="437" y="514"/>
                </a:cubicBezTo>
                <a:cubicBezTo>
                  <a:pt x="438" y="514"/>
                  <a:pt x="439" y="515"/>
                  <a:pt x="439" y="515"/>
                </a:cubicBezTo>
                <a:cubicBezTo>
                  <a:pt x="439" y="516"/>
                  <a:pt x="440" y="517"/>
                  <a:pt x="440" y="517"/>
                </a:cubicBezTo>
                <a:cubicBezTo>
                  <a:pt x="439" y="518"/>
                  <a:pt x="439" y="516"/>
                  <a:pt x="438" y="516"/>
                </a:cubicBezTo>
                <a:cubicBezTo>
                  <a:pt x="437" y="515"/>
                  <a:pt x="436" y="517"/>
                  <a:pt x="434" y="517"/>
                </a:cubicBezTo>
                <a:cubicBezTo>
                  <a:pt x="434" y="516"/>
                  <a:pt x="434" y="516"/>
                  <a:pt x="433" y="516"/>
                </a:cubicBezTo>
                <a:cubicBezTo>
                  <a:pt x="432" y="515"/>
                  <a:pt x="432" y="515"/>
                  <a:pt x="431" y="515"/>
                </a:cubicBezTo>
                <a:cubicBezTo>
                  <a:pt x="430" y="515"/>
                  <a:pt x="429" y="515"/>
                  <a:pt x="429" y="515"/>
                </a:cubicBezTo>
                <a:cubicBezTo>
                  <a:pt x="427" y="515"/>
                  <a:pt x="426" y="515"/>
                  <a:pt x="424" y="515"/>
                </a:cubicBezTo>
                <a:cubicBezTo>
                  <a:pt x="424" y="516"/>
                  <a:pt x="423" y="516"/>
                  <a:pt x="423" y="517"/>
                </a:cubicBezTo>
                <a:cubicBezTo>
                  <a:pt x="422" y="517"/>
                  <a:pt x="422" y="517"/>
                  <a:pt x="421" y="517"/>
                </a:cubicBezTo>
                <a:cubicBezTo>
                  <a:pt x="420" y="516"/>
                  <a:pt x="417" y="517"/>
                  <a:pt x="418" y="519"/>
                </a:cubicBezTo>
                <a:cubicBezTo>
                  <a:pt x="418" y="519"/>
                  <a:pt x="419" y="519"/>
                  <a:pt x="419" y="519"/>
                </a:cubicBezTo>
                <a:cubicBezTo>
                  <a:pt x="419" y="520"/>
                  <a:pt x="419" y="520"/>
                  <a:pt x="419" y="521"/>
                </a:cubicBezTo>
                <a:cubicBezTo>
                  <a:pt x="418" y="521"/>
                  <a:pt x="417" y="521"/>
                  <a:pt x="416" y="521"/>
                </a:cubicBezTo>
                <a:cubicBezTo>
                  <a:pt x="414" y="520"/>
                  <a:pt x="413" y="521"/>
                  <a:pt x="411" y="522"/>
                </a:cubicBezTo>
                <a:cubicBezTo>
                  <a:pt x="411" y="522"/>
                  <a:pt x="410" y="522"/>
                  <a:pt x="409" y="522"/>
                </a:cubicBezTo>
                <a:cubicBezTo>
                  <a:pt x="409" y="523"/>
                  <a:pt x="408" y="523"/>
                  <a:pt x="407" y="523"/>
                </a:cubicBezTo>
                <a:cubicBezTo>
                  <a:pt x="406" y="523"/>
                  <a:pt x="406" y="523"/>
                  <a:pt x="406" y="523"/>
                </a:cubicBezTo>
                <a:cubicBezTo>
                  <a:pt x="405" y="524"/>
                  <a:pt x="404" y="524"/>
                  <a:pt x="404" y="524"/>
                </a:cubicBezTo>
                <a:cubicBezTo>
                  <a:pt x="403" y="525"/>
                  <a:pt x="404" y="525"/>
                  <a:pt x="405" y="525"/>
                </a:cubicBezTo>
                <a:cubicBezTo>
                  <a:pt x="406" y="526"/>
                  <a:pt x="405" y="526"/>
                  <a:pt x="406" y="527"/>
                </a:cubicBezTo>
                <a:cubicBezTo>
                  <a:pt x="406" y="528"/>
                  <a:pt x="409" y="527"/>
                  <a:pt x="409" y="529"/>
                </a:cubicBezTo>
                <a:cubicBezTo>
                  <a:pt x="409" y="530"/>
                  <a:pt x="406" y="530"/>
                  <a:pt x="405" y="530"/>
                </a:cubicBezTo>
                <a:cubicBezTo>
                  <a:pt x="404" y="530"/>
                  <a:pt x="404" y="530"/>
                  <a:pt x="403" y="530"/>
                </a:cubicBezTo>
                <a:cubicBezTo>
                  <a:pt x="403" y="531"/>
                  <a:pt x="402" y="531"/>
                  <a:pt x="401" y="531"/>
                </a:cubicBezTo>
                <a:cubicBezTo>
                  <a:pt x="401" y="531"/>
                  <a:pt x="400" y="531"/>
                  <a:pt x="400" y="531"/>
                </a:cubicBezTo>
                <a:cubicBezTo>
                  <a:pt x="399" y="532"/>
                  <a:pt x="399" y="532"/>
                  <a:pt x="400" y="532"/>
                </a:cubicBezTo>
                <a:cubicBezTo>
                  <a:pt x="400" y="532"/>
                  <a:pt x="401" y="532"/>
                  <a:pt x="401" y="533"/>
                </a:cubicBezTo>
                <a:cubicBezTo>
                  <a:pt x="401" y="534"/>
                  <a:pt x="400" y="534"/>
                  <a:pt x="399" y="533"/>
                </a:cubicBezTo>
                <a:cubicBezTo>
                  <a:pt x="399" y="533"/>
                  <a:pt x="398" y="533"/>
                  <a:pt x="398" y="534"/>
                </a:cubicBezTo>
                <a:cubicBezTo>
                  <a:pt x="398" y="535"/>
                  <a:pt x="399" y="535"/>
                  <a:pt x="400" y="535"/>
                </a:cubicBezTo>
                <a:cubicBezTo>
                  <a:pt x="400" y="536"/>
                  <a:pt x="399" y="537"/>
                  <a:pt x="400" y="537"/>
                </a:cubicBezTo>
                <a:cubicBezTo>
                  <a:pt x="401" y="538"/>
                  <a:pt x="401" y="537"/>
                  <a:pt x="402" y="536"/>
                </a:cubicBezTo>
                <a:cubicBezTo>
                  <a:pt x="403" y="536"/>
                  <a:pt x="403" y="536"/>
                  <a:pt x="404" y="536"/>
                </a:cubicBezTo>
                <a:cubicBezTo>
                  <a:pt x="405" y="536"/>
                  <a:pt x="405" y="535"/>
                  <a:pt x="406" y="535"/>
                </a:cubicBezTo>
                <a:cubicBezTo>
                  <a:pt x="407" y="536"/>
                  <a:pt x="406" y="536"/>
                  <a:pt x="405" y="537"/>
                </a:cubicBezTo>
                <a:cubicBezTo>
                  <a:pt x="405" y="537"/>
                  <a:pt x="405" y="538"/>
                  <a:pt x="404" y="538"/>
                </a:cubicBezTo>
                <a:cubicBezTo>
                  <a:pt x="403" y="538"/>
                  <a:pt x="403" y="538"/>
                  <a:pt x="402" y="538"/>
                </a:cubicBezTo>
                <a:cubicBezTo>
                  <a:pt x="400" y="538"/>
                  <a:pt x="399" y="538"/>
                  <a:pt x="398" y="538"/>
                </a:cubicBezTo>
                <a:cubicBezTo>
                  <a:pt x="396" y="538"/>
                  <a:pt x="395" y="538"/>
                  <a:pt x="394" y="538"/>
                </a:cubicBezTo>
                <a:cubicBezTo>
                  <a:pt x="392" y="539"/>
                  <a:pt x="392" y="540"/>
                  <a:pt x="392" y="541"/>
                </a:cubicBezTo>
                <a:cubicBezTo>
                  <a:pt x="392" y="543"/>
                  <a:pt x="392" y="544"/>
                  <a:pt x="394" y="545"/>
                </a:cubicBezTo>
                <a:cubicBezTo>
                  <a:pt x="395" y="545"/>
                  <a:pt x="395" y="544"/>
                  <a:pt x="396" y="545"/>
                </a:cubicBezTo>
                <a:cubicBezTo>
                  <a:pt x="396" y="546"/>
                  <a:pt x="396" y="547"/>
                  <a:pt x="395" y="547"/>
                </a:cubicBezTo>
                <a:cubicBezTo>
                  <a:pt x="394" y="548"/>
                  <a:pt x="393" y="548"/>
                  <a:pt x="393" y="549"/>
                </a:cubicBezTo>
                <a:cubicBezTo>
                  <a:pt x="394" y="549"/>
                  <a:pt x="394" y="549"/>
                  <a:pt x="395" y="548"/>
                </a:cubicBezTo>
                <a:cubicBezTo>
                  <a:pt x="395" y="548"/>
                  <a:pt x="396" y="548"/>
                  <a:pt x="396" y="548"/>
                </a:cubicBezTo>
                <a:cubicBezTo>
                  <a:pt x="397" y="548"/>
                  <a:pt x="398" y="548"/>
                  <a:pt x="398" y="548"/>
                </a:cubicBezTo>
                <a:cubicBezTo>
                  <a:pt x="399" y="548"/>
                  <a:pt x="399" y="547"/>
                  <a:pt x="400" y="547"/>
                </a:cubicBezTo>
                <a:cubicBezTo>
                  <a:pt x="400" y="547"/>
                  <a:pt x="401" y="547"/>
                  <a:pt x="402" y="547"/>
                </a:cubicBezTo>
                <a:cubicBezTo>
                  <a:pt x="403" y="547"/>
                  <a:pt x="403" y="547"/>
                  <a:pt x="404" y="546"/>
                </a:cubicBezTo>
                <a:cubicBezTo>
                  <a:pt x="405" y="546"/>
                  <a:pt x="406" y="546"/>
                  <a:pt x="408" y="546"/>
                </a:cubicBezTo>
                <a:cubicBezTo>
                  <a:pt x="408" y="546"/>
                  <a:pt x="409" y="546"/>
                  <a:pt x="410" y="546"/>
                </a:cubicBezTo>
                <a:cubicBezTo>
                  <a:pt x="410" y="546"/>
                  <a:pt x="411" y="546"/>
                  <a:pt x="411" y="545"/>
                </a:cubicBezTo>
                <a:cubicBezTo>
                  <a:pt x="412" y="545"/>
                  <a:pt x="413" y="545"/>
                  <a:pt x="413" y="546"/>
                </a:cubicBezTo>
                <a:cubicBezTo>
                  <a:pt x="413" y="546"/>
                  <a:pt x="412" y="547"/>
                  <a:pt x="411" y="547"/>
                </a:cubicBezTo>
                <a:cubicBezTo>
                  <a:pt x="411" y="547"/>
                  <a:pt x="410" y="547"/>
                  <a:pt x="409" y="547"/>
                </a:cubicBezTo>
                <a:cubicBezTo>
                  <a:pt x="409" y="548"/>
                  <a:pt x="408" y="548"/>
                  <a:pt x="408" y="549"/>
                </a:cubicBezTo>
                <a:cubicBezTo>
                  <a:pt x="407" y="549"/>
                  <a:pt x="407" y="549"/>
                  <a:pt x="406" y="549"/>
                </a:cubicBezTo>
                <a:cubicBezTo>
                  <a:pt x="406" y="550"/>
                  <a:pt x="405" y="550"/>
                  <a:pt x="404" y="550"/>
                </a:cubicBezTo>
                <a:cubicBezTo>
                  <a:pt x="404" y="550"/>
                  <a:pt x="404" y="549"/>
                  <a:pt x="403" y="549"/>
                </a:cubicBezTo>
                <a:cubicBezTo>
                  <a:pt x="403" y="548"/>
                  <a:pt x="402" y="548"/>
                  <a:pt x="402" y="548"/>
                </a:cubicBezTo>
                <a:cubicBezTo>
                  <a:pt x="400" y="547"/>
                  <a:pt x="400" y="548"/>
                  <a:pt x="398" y="549"/>
                </a:cubicBezTo>
                <a:cubicBezTo>
                  <a:pt x="397" y="549"/>
                  <a:pt x="396" y="548"/>
                  <a:pt x="395" y="549"/>
                </a:cubicBezTo>
                <a:cubicBezTo>
                  <a:pt x="395" y="549"/>
                  <a:pt x="394" y="550"/>
                  <a:pt x="394" y="550"/>
                </a:cubicBezTo>
                <a:cubicBezTo>
                  <a:pt x="393" y="550"/>
                  <a:pt x="392" y="550"/>
                  <a:pt x="392" y="550"/>
                </a:cubicBezTo>
                <a:cubicBezTo>
                  <a:pt x="390" y="550"/>
                  <a:pt x="390" y="551"/>
                  <a:pt x="390" y="551"/>
                </a:cubicBezTo>
                <a:cubicBezTo>
                  <a:pt x="389" y="552"/>
                  <a:pt x="388" y="551"/>
                  <a:pt x="388" y="552"/>
                </a:cubicBezTo>
                <a:cubicBezTo>
                  <a:pt x="388" y="554"/>
                  <a:pt x="391" y="553"/>
                  <a:pt x="392" y="554"/>
                </a:cubicBezTo>
                <a:cubicBezTo>
                  <a:pt x="393" y="555"/>
                  <a:pt x="390" y="555"/>
                  <a:pt x="391" y="556"/>
                </a:cubicBezTo>
                <a:cubicBezTo>
                  <a:pt x="392" y="557"/>
                  <a:pt x="394" y="557"/>
                  <a:pt x="393" y="559"/>
                </a:cubicBezTo>
                <a:cubicBezTo>
                  <a:pt x="393" y="558"/>
                  <a:pt x="392" y="557"/>
                  <a:pt x="391" y="557"/>
                </a:cubicBezTo>
                <a:cubicBezTo>
                  <a:pt x="389" y="556"/>
                  <a:pt x="389" y="558"/>
                  <a:pt x="388" y="559"/>
                </a:cubicBezTo>
                <a:cubicBezTo>
                  <a:pt x="387" y="560"/>
                  <a:pt x="386" y="560"/>
                  <a:pt x="385" y="561"/>
                </a:cubicBezTo>
                <a:cubicBezTo>
                  <a:pt x="385" y="561"/>
                  <a:pt x="384" y="562"/>
                  <a:pt x="384" y="563"/>
                </a:cubicBezTo>
                <a:cubicBezTo>
                  <a:pt x="384" y="563"/>
                  <a:pt x="385" y="563"/>
                  <a:pt x="385" y="564"/>
                </a:cubicBezTo>
                <a:cubicBezTo>
                  <a:pt x="385" y="565"/>
                  <a:pt x="385" y="565"/>
                  <a:pt x="384" y="565"/>
                </a:cubicBezTo>
                <a:cubicBezTo>
                  <a:pt x="384" y="565"/>
                  <a:pt x="383" y="565"/>
                  <a:pt x="382" y="565"/>
                </a:cubicBezTo>
                <a:cubicBezTo>
                  <a:pt x="382" y="566"/>
                  <a:pt x="382" y="566"/>
                  <a:pt x="382" y="567"/>
                </a:cubicBezTo>
                <a:cubicBezTo>
                  <a:pt x="382" y="568"/>
                  <a:pt x="381" y="567"/>
                  <a:pt x="381" y="568"/>
                </a:cubicBezTo>
                <a:cubicBezTo>
                  <a:pt x="380" y="570"/>
                  <a:pt x="383" y="570"/>
                  <a:pt x="384" y="570"/>
                </a:cubicBezTo>
                <a:cubicBezTo>
                  <a:pt x="385" y="570"/>
                  <a:pt x="385" y="571"/>
                  <a:pt x="385" y="571"/>
                </a:cubicBezTo>
                <a:cubicBezTo>
                  <a:pt x="385" y="572"/>
                  <a:pt x="386" y="572"/>
                  <a:pt x="386" y="573"/>
                </a:cubicBezTo>
                <a:cubicBezTo>
                  <a:pt x="387" y="573"/>
                  <a:pt x="387" y="574"/>
                  <a:pt x="387" y="574"/>
                </a:cubicBezTo>
                <a:cubicBezTo>
                  <a:pt x="386" y="575"/>
                  <a:pt x="385" y="574"/>
                  <a:pt x="385" y="574"/>
                </a:cubicBezTo>
                <a:cubicBezTo>
                  <a:pt x="384" y="573"/>
                  <a:pt x="384" y="573"/>
                  <a:pt x="383" y="573"/>
                </a:cubicBezTo>
                <a:cubicBezTo>
                  <a:pt x="383" y="573"/>
                  <a:pt x="382" y="573"/>
                  <a:pt x="382" y="572"/>
                </a:cubicBezTo>
                <a:cubicBezTo>
                  <a:pt x="381" y="571"/>
                  <a:pt x="381" y="570"/>
                  <a:pt x="380" y="569"/>
                </a:cubicBezTo>
                <a:cubicBezTo>
                  <a:pt x="379" y="569"/>
                  <a:pt x="379" y="570"/>
                  <a:pt x="379" y="570"/>
                </a:cubicBezTo>
                <a:cubicBezTo>
                  <a:pt x="378" y="571"/>
                  <a:pt x="378" y="572"/>
                  <a:pt x="378" y="572"/>
                </a:cubicBezTo>
                <a:cubicBezTo>
                  <a:pt x="377" y="573"/>
                  <a:pt x="377" y="573"/>
                  <a:pt x="376" y="574"/>
                </a:cubicBezTo>
                <a:cubicBezTo>
                  <a:pt x="376" y="575"/>
                  <a:pt x="376" y="576"/>
                  <a:pt x="376" y="576"/>
                </a:cubicBezTo>
                <a:cubicBezTo>
                  <a:pt x="375" y="578"/>
                  <a:pt x="374" y="579"/>
                  <a:pt x="374" y="580"/>
                </a:cubicBezTo>
                <a:cubicBezTo>
                  <a:pt x="376" y="581"/>
                  <a:pt x="376" y="579"/>
                  <a:pt x="377" y="579"/>
                </a:cubicBezTo>
                <a:cubicBezTo>
                  <a:pt x="377" y="578"/>
                  <a:pt x="378" y="578"/>
                  <a:pt x="378" y="578"/>
                </a:cubicBezTo>
                <a:cubicBezTo>
                  <a:pt x="379" y="578"/>
                  <a:pt x="379" y="577"/>
                  <a:pt x="380" y="578"/>
                </a:cubicBezTo>
                <a:cubicBezTo>
                  <a:pt x="381" y="578"/>
                  <a:pt x="381" y="579"/>
                  <a:pt x="381" y="579"/>
                </a:cubicBezTo>
                <a:cubicBezTo>
                  <a:pt x="381" y="580"/>
                  <a:pt x="381" y="580"/>
                  <a:pt x="382" y="581"/>
                </a:cubicBezTo>
                <a:cubicBezTo>
                  <a:pt x="382" y="582"/>
                  <a:pt x="380" y="582"/>
                  <a:pt x="380" y="583"/>
                </a:cubicBezTo>
                <a:cubicBezTo>
                  <a:pt x="381" y="584"/>
                  <a:pt x="382" y="583"/>
                  <a:pt x="383" y="583"/>
                </a:cubicBezTo>
                <a:cubicBezTo>
                  <a:pt x="384" y="584"/>
                  <a:pt x="381" y="584"/>
                  <a:pt x="380" y="585"/>
                </a:cubicBezTo>
                <a:cubicBezTo>
                  <a:pt x="380" y="585"/>
                  <a:pt x="379" y="586"/>
                  <a:pt x="379" y="585"/>
                </a:cubicBezTo>
                <a:cubicBezTo>
                  <a:pt x="378" y="584"/>
                  <a:pt x="379" y="584"/>
                  <a:pt x="379" y="583"/>
                </a:cubicBezTo>
                <a:cubicBezTo>
                  <a:pt x="380" y="582"/>
                  <a:pt x="379" y="582"/>
                  <a:pt x="379" y="581"/>
                </a:cubicBezTo>
                <a:cubicBezTo>
                  <a:pt x="378" y="581"/>
                  <a:pt x="377" y="581"/>
                  <a:pt x="376" y="581"/>
                </a:cubicBezTo>
                <a:cubicBezTo>
                  <a:pt x="376" y="581"/>
                  <a:pt x="375" y="581"/>
                  <a:pt x="375" y="581"/>
                </a:cubicBezTo>
                <a:cubicBezTo>
                  <a:pt x="373" y="581"/>
                  <a:pt x="373" y="582"/>
                  <a:pt x="372" y="583"/>
                </a:cubicBezTo>
                <a:cubicBezTo>
                  <a:pt x="371" y="584"/>
                  <a:pt x="370" y="584"/>
                  <a:pt x="369" y="585"/>
                </a:cubicBezTo>
                <a:cubicBezTo>
                  <a:pt x="369" y="587"/>
                  <a:pt x="368" y="588"/>
                  <a:pt x="367" y="588"/>
                </a:cubicBezTo>
                <a:cubicBezTo>
                  <a:pt x="366" y="589"/>
                  <a:pt x="365" y="590"/>
                  <a:pt x="364" y="591"/>
                </a:cubicBezTo>
                <a:cubicBezTo>
                  <a:pt x="363" y="592"/>
                  <a:pt x="362" y="592"/>
                  <a:pt x="361" y="593"/>
                </a:cubicBezTo>
                <a:cubicBezTo>
                  <a:pt x="360" y="594"/>
                  <a:pt x="358" y="595"/>
                  <a:pt x="358" y="595"/>
                </a:cubicBezTo>
                <a:cubicBezTo>
                  <a:pt x="357" y="597"/>
                  <a:pt x="360" y="595"/>
                  <a:pt x="361" y="595"/>
                </a:cubicBezTo>
                <a:cubicBezTo>
                  <a:pt x="362" y="594"/>
                  <a:pt x="363" y="594"/>
                  <a:pt x="365" y="593"/>
                </a:cubicBezTo>
                <a:cubicBezTo>
                  <a:pt x="365" y="593"/>
                  <a:pt x="365" y="592"/>
                  <a:pt x="366" y="592"/>
                </a:cubicBezTo>
                <a:cubicBezTo>
                  <a:pt x="367" y="592"/>
                  <a:pt x="366" y="593"/>
                  <a:pt x="366" y="593"/>
                </a:cubicBezTo>
                <a:cubicBezTo>
                  <a:pt x="366" y="594"/>
                  <a:pt x="367" y="596"/>
                  <a:pt x="365" y="596"/>
                </a:cubicBezTo>
                <a:cubicBezTo>
                  <a:pt x="364" y="597"/>
                  <a:pt x="364" y="596"/>
                  <a:pt x="363" y="597"/>
                </a:cubicBezTo>
                <a:cubicBezTo>
                  <a:pt x="363" y="597"/>
                  <a:pt x="361" y="597"/>
                  <a:pt x="361" y="598"/>
                </a:cubicBezTo>
                <a:cubicBezTo>
                  <a:pt x="361" y="599"/>
                  <a:pt x="362" y="599"/>
                  <a:pt x="363" y="599"/>
                </a:cubicBezTo>
                <a:cubicBezTo>
                  <a:pt x="364" y="599"/>
                  <a:pt x="364" y="599"/>
                  <a:pt x="364" y="600"/>
                </a:cubicBezTo>
                <a:cubicBezTo>
                  <a:pt x="365" y="600"/>
                  <a:pt x="365" y="600"/>
                  <a:pt x="365" y="601"/>
                </a:cubicBezTo>
                <a:cubicBezTo>
                  <a:pt x="365" y="602"/>
                  <a:pt x="364" y="602"/>
                  <a:pt x="363" y="602"/>
                </a:cubicBezTo>
                <a:cubicBezTo>
                  <a:pt x="363" y="603"/>
                  <a:pt x="362" y="603"/>
                  <a:pt x="362" y="604"/>
                </a:cubicBezTo>
                <a:cubicBezTo>
                  <a:pt x="362" y="605"/>
                  <a:pt x="362" y="605"/>
                  <a:pt x="362" y="606"/>
                </a:cubicBezTo>
                <a:cubicBezTo>
                  <a:pt x="361" y="607"/>
                  <a:pt x="361" y="606"/>
                  <a:pt x="360" y="607"/>
                </a:cubicBezTo>
                <a:cubicBezTo>
                  <a:pt x="360" y="607"/>
                  <a:pt x="360" y="608"/>
                  <a:pt x="359" y="608"/>
                </a:cubicBezTo>
                <a:cubicBezTo>
                  <a:pt x="358" y="609"/>
                  <a:pt x="358" y="608"/>
                  <a:pt x="359" y="607"/>
                </a:cubicBezTo>
                <a:cubicBezTo>
                  <a:pt x="359" y="606"/>
                  <a:pt x="359" y="606"/>
                  <a:pt x="359" y="605"/>
                </a:cubicBezTo>
                <a:cubicBezTo>
                  <a:pt x="358" y="604"/>
                  <a:pt x="356" y="604"/>
                  <a:pt x="355" y="604"/>
                </a:cubicBezTo>
                <a:cubicBezTo>
                  <a:pt x="355" y="603"/>
                  <a:pt x="354" y="603"/>
                  <a:pt x="353" y="603"/>
                </a:cubicBezTo>
                <a:cubicBezTo>
                  <a:pt x="352" y="602"/>
                  <a:pt x="351" y="603"/>
                  <a:pt x="350" y="604"/>
                </a:cubicBezTo>
                <a:cubicBezTo>
                  <a:pt x="349" y="604"/>
                  <a:pt x="348" y="605"/>
                  <a:pt x="347" y="606"/>
                </a:cubicBezTo>
                <a:cubicBezTo>
                  <a:pt x="346" y="607"/>
                  <a:pt x="345" y="607"/>
                  <a:pt x="343" y="608"/>
                </a:cubicBezTo>
                <a:cubicBezTo>
                  <a:pt x="342" y="609"/>
                  <a:pt x="342" y="610"/>
                  <a:pt x="341" y="610"/>
                </a:cubicBezTo>
                <a:cubicBezTo>
                  <a:pt x="340" y="611"/>
                  <a:pt x="339" y="611"/>
                  <a:pt x="339" y="612"/>
                </a:cubicBezTo>
                <a:cubicBezTo>
                  <a:pt x="338" y="613"/>
                  <a:pt x="340" y="612"/>
                  <a:pt x="340" y="613"/>
                </a:cubicBezTo>
                <a:cubicBezTo>
                  <a:pt x="341" y="614"/>
                  <a:pt x="338" y="615"/>
                  <a:pt x="337" y="615"/>
                </a:cubicBezTo>
                <a:cubicBezTo>
                  <a:pt x="336" y="616"/>
                  <a:pt x="335" y="617"/>
                  <a:pt x="334" y="618"/>
                </a:cubicBezTo>
                <a:cubicBezTo>
                  <a:pt x="333" y="618"/>
                  <a:pt x="333" y="619"/>
                  <a:pt x="332" y="620"/>
                </a:cubicBezTo>
                <a:cubicBezTo>
                  <a:pt x="332" y="621"/>
                  <a:pt x="333" y="620"/>
                  <a:pt x="333" y="621"/>
                </a:cubicBezTo>
                <a:cubicBezTo>
                  <a:pt x="334" y="622"/>
                  <a:pt x="331" y="623"/>
                  <a:pt x="331" y="624"/>
                </a:cubicBezTo>
                <a:cubicBezTo>
                  <a:pt x="330" y="625"/>
                  <a:pt x="329" y="625"/>
                  <a:pt x="327" y="626"/>
                </a:cubicBezTo>
                <a:cubicBezTo>
                  <a:pt x="327" y="626"/>
                  <a:pt x="324" y="628"/>
                  <a:pt x="326" y="629"/>
                </a:cubicBezTo>
                <a:cubicBezTo>
                  <a:pt x="326" y="629"/>
                  <a:pt x="326" y="628"/>
                  <a:pt x="326" y="629"/>
                </a:cubicBezTo>
                <a:cubicBezTo>
                  <a:pt x="327" y="629"/>
                  <a:pt x="327" y="629"/>
                  <a:pt x="327" y="629"/>
                </a:cubicBezTo>
                <a:cubicBezTo>
                  <a:pt x="328" y="629"/>
                  <a:pt x="328" y="630"/>
                  <a:pt x="329" y="629"/>
                </a:cubicBezTo>
                <a:cubicBezTo>
                  <a:pt x="330" y="629"/>
                  <a:pt x="331" y="627"/>
                  <a:pt x="332" y="628"/>
                </a:cubicBezTo>
                <a:cubicBezTo>
                  <a:pt x="333" y="629"/>
                  <a:pt x="330" y="630"/>
                  <a:pt x="330" y="632"/>
                </a:cubicBezTo>
                <a:cubicBezTo>
                  <a:pt x="330" y="632"/>
                  <a:pt x="331" y="633"/>
                  <a:pt x="331" y="633"/>
                </a:cubicBezTo>
                <a:cubicBezTo>
                  <a:pt x="332" y="634"/>
                  <a:pt x="332" y="635"/>
                  <a:pt x="332" y="635"/>
                </a:cubicBezTo>
                <a:cubicBezTo>
                  <a:pt x="333" y="636"/>
                  <a:pt x="336" y="635"/>
                  <a:pt x="337" y="635"/>
                </a:cubicBezTo>
                <a:cubicBezTo>
                  <a:pt x="338" y="634"/>
                  <a:pt x="339" y="633"/>
                  <a:pt x="340" y="632"/>
                </a:cubicBezTo>
                <a:cubicBezTo>
                  <a:pt x="341" y="632"/>
                  <a:pt x="342" y="632"/>
                  <a:pt x="342" y="632"/>
                </a:cubicBezTo>
                <a:cubicBezTo>
                  <a:pt x="343" y="632"/>
                  <a:pt x="344" y="631"/>
                  <a:pt x="344" y="631"/>
                </a:cubicBezTo>
                <a:cubicBezTo>
                  <a:pt x="345" y="631"/>
                  <a:pt x="345" y="631"/>
                  <a:pt x="345" y="631"/>
                </a:cubicBezTo>
                <a:cubicBezTo>
                  <a:pt x="346" y="630"/>
                  <a:pt x="346" y="630"/>
                  <a:pt x="346" y="630"/>
                </a:cubicBezTo>
                <a:cubicBezTo>
                  <a:pt x="347" y="629"/>
                  <a:pt x="347" y="629"/>
                  <a:pt x="348" y="629"/>
                </a:cubicBezTo>
                <a:cubicBezTo>
                  <a:pt x="349" y="628"/>
                  <a:pt x="351" y="627"/>
                  <a:pt x="352" y="626"/>
                </a:cubicBezTo>
                <a:cubicBezTo>
                  <a:pt x="353" y="626"/>
                  <a:pt x="353" y="626"/>
                  <a:pt x="354" y="625"/>
                </a:cubicBezTo>
                <a:cubicBezTo>
                  <a:pt x="354" y="625"/>
                  <a:pt x="354" y="624"/>
                  <a:pt x="353" y="623"/>
                </a:cubicBezTo>
                <a:cubicBezTo>
                  <a:pt x="353" y="623"/>
                  <a:pt x="353" y="622"/>
                  <a:pt x="352" y="622"/>
                </a:cubicBezTo>
                <a:cubicBezTo>
                  <a:pt x="351" y="622"/>
                  <a:pt x="351" y="623"/>
                  <a:pt x="351" y="624"/>
                </a:cubicBezTo>
                <a:cubicBezTo>
                  <a:pt x="350" y="624"/>
                  <a:pt x="349" y="623"/>
                  <a:pt x="349" y="623"/>
                </a:cubicBezTo>
                <a:cubicBezTo>
                  <a:pt x="349" y="622"/>
                  <a:pt x="351" y="622"/>
                  <a:pt x="351" y="622"/>
                </a:cubicBezTo>
                <a:cubicBezTo>
                  <a:pt x="352" y="621"/>
                  <a:pt x="352" y="621"/>
                  <a:pt x="353" y="620"/>
                </a:cubicBezTo>
                <a:cubicBezTo>
                  <a:pt x="353" y="620"/>
                  <a:pt x="354" y="620"/>
                  <a:pt x="355" y="619"/>
                </a:cubicBezTo>
                <a:cubicBezTo>
                  <a:pt x="356" y="619"/>
                  <a:pt x="358" y="615"/>
                  <a:pt x="360" y="617"/>
                </a:cubicBezTo>
                <a:cubicBezTo>
                  <a:pt x="360" y="617"/>
                  <a:pt x="360" y="617"/>
                  <a:pt x="360" y="617"/>
                </a:cubicBezTo>
                <a:cubicBezTo>
                  <a:pt x="360" y="618"/>
                  <a:pt x="360" y="618"/>
                  <a:pt x="361" y="618"/>
                </a:cubicBezTo>
                <a:cubicBezTo>
                  <a:pt x="362" y="619"/>
                  <a:pt x="360" y="619"/>
                  <a:pt x="359" y="620"/>
                </a:cubicBezTo>
                <a:cubicBezTo>
                  <a:pt x="359" y="620"/>
                  <a:pt x="358" y="621"/>
                  <a:pt x="358" y="621"/>
                </a:cubicBezTo>
                <a:cubicBezTo>
                  <a:pt x="357" y="621"/>
                  <a:pt x="356" y="621"/>
                  <a:pt x="356" y="622"/>
                </a:cubicBezTo>
                <a:cubicBezTo>
                  <a:pt x="355" y="622"/>
                  <a:pt x="355" y="622"/>
                  <a:pt x="354" y="623"/>
                </a:cubicBezTo>
                <a:cubicBezTo>
                  <a:pt x="354" y="624"/>
                  <a:pt x="356" y="623"/>
                  <a:pt x="356" y="623"/>
                </a:cubicBezTo>
                <a:cubicBezTo>
                  <a:pt x="357" y="624"/>
                  <a:pt x="356" y="624"/>
                  <a:pt x="357" y="624"/>
                </a:cubicBezTo>
                <a:cubicBezTo>
                  <a:pt x="358" y="625"/>
                  <a:pt x="359" y="624"/>
                  <a:pt x="360" y="624"/>
                </a:cubicBezTo>
                <a:cubicBezTo>
                  <a:pt x="361" y="625"/>
                  <a:pt x="358" y="627"/>
                  <a:pt x="358" y="627"/>
                </a:cubicBezTo>
                <a:cubicBezTo>
                  <a:pt x="357" y="627"/>
                  <a:pt x="356" y="627"/>
                  <a:pt x="356" y="628"/>
                </a:cubicBezTo>
                <a:cubicBezTo>
                  <a:pt x="355" y="628"/>
                  <a:pt x="355" y="629"/>
                  <a:pt x="354" y="629"/>
                </a:cubicBezTo>
                <a:cubicBezTo>
                  <a:pt x="353" y="630"/>
                  <a:pt x="351" y="630"/>
                  <a:pt x="350" y="630"/>
                </a:cubicBezTo>
                <a:cubicBezTo>
                  <a:pt x="349" y="631"/>
                  <a:pt x="349" y="631"/>
                  <a:pt x="348" y="632"/>
                </a:cubicBezTo>
                <a:cubicBezTo>
                  <a:pt x="347" y="632"/>
                  <a:pt x="346" y="632"/>
                  <a:pt x="346" y="633"/>
                </a:cubicBezTo>
                <a:cubicBezTo>
                  <a:pt x="347" y="633"/>
                  <a:pt x="348" y="633"/>
                  <a:pt x="348" y="633"/>
                </a:cubicBezTo>
                <a:cubicBezTo>
                  <a:pt x="349" y="633"/>
                  <a:pt x="348" y="634"/>
                  <a:pt x="348" y="634"/>
                </a:cubicBezTo>
                <a:cubicBezTo>
                  <a:pt x="348" y="635"/>
                  <a:pt x="349" y="635"/>
                  <a:pt x="349" y="636"/>
                </a:cubicBezTo>
                <a:cubicBezTo>
                  <a:pt x="349" y="637"/>
                  <a:pt x="347" y="638"/>
                  <a:pt x="346" y="638"/>
                </a:cubicBezTo>
                <a:cubicBezTo>
                  <a:pt x="345" y="638"/>
                  <a:pt x="344" y="638"/>
                  <a:pt x="344" y="638"/>
                </a:cubicBezTo>
                <a:cubicBezTo>
                  <a:pt x="342" y="637"/>
                  <a:pt x="340" y="637"/>
                  <a:pt x="339" y="638"/>
                </a:cubicBezTo>
                <a:cubicBezTo>
                  <a:pt x="338" y="638"/>
                  <a:pt x="336" y="639"/>
                  <a:pt x="335" y="639"/>
                </a:cubicBezTo>
                <a:cubicBezTo>
                  <a:pt x="334" y="640"/>
                  <a:pt x="332" y="640"/>
                  <a:pt x="331" y="640"/>
                </a:cubicBezTo>
                <a:cubicBezTo>
                  <a:pt x="330" y="639"/>
                  <a:pt x="332" y="638"/>
                  <a:pt x="332" y="636"/>
                </a:cubicBezTo>
                <a:cubicBezTo>
                  <a:pt x="331" y="635"/>
                  <a:pt x="330" y="635"/>
                  <a:pt x="330" y="634"/>
                </a:cubicBezTo>
                <a:cubicBezTo>
                  <a:pt x="329" y="633"/>
                  <a:pt x="329" y="632"/>
                  <a:pt x="328" y="631"/>
                </a:cubicBezTo>
                <a:cubicBezTo>
                  <a:pt x="326" y="630"/>
                  <a:pt x="325" y="631"/>
                  <a:pt x="324" y="632"/>
                </a:cubicBezTo>
                <a:cubicBezTo>
                  <a:pt x="323" y="632"/>
                  <a:pt x="322" y="632"/>
                  <a:pt x="322" y="633"/>
                </a:cubicBezTo>
                <a:cubicBezTo>
                  <a:pt x="321" y="633"/>
                  <a:pt x="320" y="633"/>
                  <a:pt x="320" y="633"/>
                </a:cubicBezTo>
                <a:cubicBezTo>
                  <a:pt x="319" y="634"/>
                  <a:pt x="316" y="635"/>
                  <a:pt x="318" y="636"/>
                </a:cubicBezTo>
                <a:cubicBezTo>
                  <a:pt x="319" y="636"/>
                  <a:pt x="321" y="636"/>
                  <a:pt x="320" y="637"/>
                </a:cubicBezTo>
                <a:cubicBezTo>
                  <a:pt x="320" y="638"/>
                  <a:pt x="319" y="638"/>
                  <a:pt x="318" y="639"/>
                </a:cubicBezTo>
                <a:cubicBezTo>
                  <a:pt x="318" y="639"/>
                  <a:pt x="317" y="639"/>
                  <a:pt x="317" y="640"/>
                </a:cubicBezTo>
                <a:cubicBezTo>
                  <a:pt x="315" y="641"/>
                  <a:pt x="315" y="639"/>
                  <a:pt x="315" y="638"/>
                </a:cubicBezTo>
                <a:cubicBezTo>
                  <a:pt x="314" y="637"/>
                  <a:pt x="312" y="637"/>
                  <a:pt x="311" y="637"/>
                </a:cubicBezTo>
                <a:cubicBezTo>
                  <a:pt x="310" y="637"/>
                  <a:pt x="309" y="637"/>
                  <a:pt x="308" y="638"/>
                </a:cubicBezTo>
                <a:cubicBezTo>
                  <a:pt x="307" y="638"/>
                  <a:pt x="306" y="640"/>
                  <a:pt x="305" y="640"/>
                </a:cubicBezTo>
                <a:cubicBezTo>
                  <a:pt x="304" y="641"/>
                  <a:pt x="304" y="642"/>
                  <a:pt x="305" y="642"/>
                </a:cubicBezTo>
                <a:cubicBezTo>
                  <a:pt x="306" y="643"/>
                  <a:pt x="306" y="643"/>
                  <a:pt x="306" y="643"/>
                </a:cubicBezTo>
                <a:cubicBezTo>
                  <a:pt x="307" y="643"/>
                  <a:pt x="307" y="643"/>
                  <a:pt x="308" y="643"/>
                </a:cubicBezTo>
                <a:cubicBezTo>
                  <a:pt x="309" y="645"/>
                  <a:pt x="306" y="645"/>
                  <a:pt x="305" y="645"/>
                </a:cubicBezTo>
                <a:cubicBezTo>
                  <a:pt x="304" y="645"/>
                  <a:pt x="303" y="645"/>
                  <a:pt x="301" y="645"/>
                </a:cubicBezTo>
                <a:cubicBezTo>
                  <a:pt x="301" y="645"/>
                  <a:pt x="300" y="645"/>
                  <a:pt x="299" y="646"/>
                </a:cubicBezTo>
                <a:cubicBezTo>
                  <a:pt x="299" y="646"/>
                  <a:pt x="299" y="646"/>
                  <a:pt x="299" y="646"/>
                </a:cubicBezTo>
                <a:cubicBezTo>
                  <a:pt x="298" y="647"/>
                  <a:pt x="298" y="646"/>
                  <a:pt x="298" y="646"/>
                </a:cubicBezTo>
                <a:cubicBezTo>
                  <a:pt x="297" y="647"/>
                  <a:pt x="297" y="647"/>
                  <a:pt x="297" y="648"/>
                </a:cubicBezTo>
                <a:cubicBezTo>
                  <a:pt x="297" y="649"/>
                  <a:pt x="298" y="649"/>
                  <a:pt x="299" y="649"/>
                </a:cubicBezTo>
                <a:cubicBezTo>
                  <a:pt x="299" y="650"/>
                  <a:pt x="299" y="650"/>
                  <a:pt x="300" y="650"/>
                </a:cubicBezTo>
                <a:cubicBezTo>
                  <a:pt x="301" y="650"/>
                  <a:pt x="301" y="650"/>
                  <a:pt x="302" y="650"/>
                </a:cubicBezTo>
                <a:cubicBezTo>
                  <a:pt x="303" y="650"/>
                  <a:pt x="303" y="650"/>
                  <a:pt x="304" y="651"/>
                </a:cubicBezTo>
                <a:cubicBezTo>
                  <a:pt x="305" y="651"/>
                  <a:pt x="305" y="651"/>
                  <a:pt x="306" y="652"/>
                </a:cubicBezTo>
                <a:cubicBezTo>
                  <a:pt x="307" y="652"/>
                  <a:pt x="308" y="655"/>
                  <a:pt x="307" y="655"/>
                </a:cubicBezTo>
                <a:cubicBezTo>
                  <a:pt x="307" y="656"/>
                  <a:pt x="307" y="655"/>
                  <a:pt x="306" y="655"/>
                </a:cubicBezTo>
                <a:cubicBezTo>
                  <a:pt x="306" y="654"/>
                  <a:pt x="305" y="654"/>
                  <a:pt x="304" y="654"/>
                </a:cubicBezTo>
                <a:cubicBezTo>
                  <a:pt x="302" y="654"/>
                  <a:pt x="302" y="654"/>
                  <a:pt x="301" y="653"/>
                </a:cubicBezTo>
                <a:cubicBezTo>
                  <a:pt x="300" y="652"/>
                  <a:pt x="300" y="652"/>
                  <a:pt x="300" y="651"/>
                </a:cubicBezTo>
                <a:cubicBezTo>
                  <a:pt x="299" y="651"/>
                  <a:pt x="299" y="651"/>
                  <a:pt x="298" y="650"/>
                </a:cubicBezTo>
                <a:cubicBezTo>
                  <a:pt x="297" y="649"/>
                  <a:pt x="296" y="648"/>
                  <a:pt x="295" y="648"/>
                </a:cubicBezTo>
                <a:cubicBezTo>
                  <a:pt x="294" y="648"/>
                  <a:pt x="292" y="648"/>
                  <a:pt x="293" y="650"/>
                </a:cubicBezTo>
                <a:cubicBezTo>
                  <a:pt x="293" y="651"/>
                  <a:pt x="295" y="651"/>
                  <a:pt x="296" y="652"/>
                </a:cubicBezTo>
                <a:cubicBezTo>
                  <a:pt x="297" y="653"/>
                  <a:pt x="297" y="653"/>
                  <a:pt x="297" y="654"/>
                </a:cubicBezTo>
                <a:cubicBezTo>
                  <a:pt x="298" y="654"/>
                  <a:pt x="299" y="654"/>
                  <a:pt x="299" y="655"/>
                </a:cubicBezTo>
                <a:cubicBezTo>
                  <a:pt x="299" y="656"/>
                  <a:pt x="298" y="656"/>
                  <a:pt x="297" y="656"/>
                </a:cubicBezTo>
                <a:cubicBezTo>
                  <a:pt x="297" y="655"/>
                  <a:pt x="297" y="655"/>
                  <a:pt x="296" y="654"/>
                </a:cubicBezTo>
                <a:cubicBezTo>
                  <a:pt x="296" y="654"/>
                  <a:pt x="295" y="654"/>
                  <a:pt x="294" y="653"/>
                </a:cubicBezTo>
                <a:cubicBezTo>
                  <a:pt x="294" y="653"/>
                  <a:pt x="293" y="653"/>
                  <a:pt x="293" y="652"/>
                </a:cubicBezTo>
                <a:cubicBezTo>
                  <a:pt x="291" y="651"/>
                  <a:pt x="289" y="652"/>
                  <a:pt x="287" y="653"/>
                </a:cubicBezTo>
                <a:cubicBezTo>
                  <a:pt x="285" y="653"/>
                  <a:pt x="283" y="653"/>
                  <a:pt x="282" y="652"/>
                </a:cubicBezTo>
                <a:cubicBezTo>
                  <a:pt x="281" y="651"/>
                  <a:pt x="280" y="650"/>
                  <a:pt x="279" y="650"/>
                </a:cubicBezTo>
                <a:cubicBezTo>
                  <a:pt x="278" y="651"/>
                  <a:pt x="277" y="651"/>
                  <a:pt x="276" y="652"/>
                </a:cubicBezTo>
                <a:cubicBezTo>
                  <a:pt x="276" y="652"/>
                  <a:pt x="275" y="652"/>
                  <a:pt x="274" y="652"/>
                </a:cubicBezTo>
                <a:cubicBezTo>
                  <a:pt x="274" y="653"/>
                  <a:pt x="272" y="653"/>
                  <a:pt x="273" y="654"/>
                </a:cubicBezTo>
                <a:cubicBezTo>
                  <a:pt x="273" y="655"/>
                  <a:pt x="273" y="655"/>
                  <a:pt x="274" y="655"/>
                </a:cubicBezTo>
                <a:cubicBezTo>
                  <a:pt x="275" y="655"/>
                  <a:pt x="274" y="655"/>
                  <a:pt x="275" y="655"/>
                </a:cubicBezTo>
                <a:cubicBezTo>
                  <a:pt x="275" y="656"/>
                  <a:pt x="277" y="656"/>
                  <a:pt x="276" y="657"/>
                </a:cubicBezTo>
                <a:cubicBezTo>
                  <a:pt x="275" y="658"/>
                  <a:pt x="272" y="658"/>
                  <a:pt x="274" y="659"/>
                </a:cubicBezTo>
                <a:cubicBezTo>
                  <a:pt x="274" y="660"/>
                  <a:pt x="276" y="659"/>
                  <a:pt x="277" y="659"/>
                </a:cubicBezTo>
                <a:cubicBezTo>
                  <a:pt x="278" y="659"/>
                  <a:pt x="280" y="659"/>
                  <a:pt x="281" y="659"/>
                </a:cubicBezTo>
                <a:cubicBezTo>
                  <a:pt x="283" y="659"/>
                  <a:pt x="284" y="659"/>
                  <a:pt x="286" y="660"/>
                </a:cubicBezTo>
                <a:cubicBezTo>
                  <a:pt x="286" y="660"/>
                  <a:pt x="287" y="660"/>
                  <a:pt x="286" y="661"/>
                </a:cubicBezTo>
                <a:cubicBezTo>
                  <a:pt x="285" y="661"/>
                  <a:pt x="285" y="661"/>
                  <a:pt x="284" y="661"/>
                </a:cubicBezTo>
                <a:cubicBezTo>
                  <a:pt x="283" y="662"/>
                  <a:pt x="281" y="663"/>
                  <a:pt x="283" y="663"/>
                </a:cubicBezTo>
                <a:cubicBezTo>
                  <a:pt x="284" y="663"/>
                  <a:pt x="284" y="663"/>
                  <a:pt x="285" y="663"/>
                </a:cubicBezTo>
                <a:cubicBezTo>
                  <a:pt x="286" y="664"/>
                  <a:pt x="287" y="664"/>
                  <a:pt x="286" y="665"/>
                </a:cubicBezTo>
                <a:cubicBezTo>
                  <a:pt x="284" y="665"/>
                  <a:pt x="283" y="665"/>
                  <a:pt x="282" y="664"/>
                </a:cubicBezTo>
                <a:cubicBezTo>
                  <a:pt x="280" y="663"/>
                  <a:pt x="279" y="662"/>
                  <a:pt x="277" y="662"/>
                </a:cubicBezTo>
                <a:cubicBezTo>
                  <a:pt x="276" y="662"/>
                  <a:pt x="275" y="662"/>
                  <a:pt x="275" y="663"/>
                </a:cubicBezTo>
                <a:cubicBezTo>
                  <a:pt x="274" y="663"/>
                  <a:pt x="273" y="663"/>
                  <a:pt x="272" y="663"/>
                </a:cubicBezTo>
                <a:cubicBezTo>
                  <a:pt x="271" y="663"/>
                  <a:pt x="271" y="663"/>
                  <a:pt x="270" y="663"/>
                </a:cubicBezTo>
                <a:cubicBezTo>
                  <a:pt x="269" y="662"/>
                  <a:pt x="268" y="663"/>
                  <a:pt x="266" y="663"/>
                </a:cubicBezTo>
                <a:cubicBezTo>
                  <a:pt x="265" y="663"/>
                  <a:pt x="263" y="664"/>
                  <a:pt x="262" y="664"/>
                </a:cubicBezTo>
                <a:cubicBezTo>
                  <a:pt x="261" y="664"/>
                  <a:pt x="260" y="663"/>
                  <a:pt x="260" y="664"/>
                </a:cubicBezTo>
                <a:cubicBezTo>
                  <a:pt x="260" y="665"/>
                  <a:pt x="261" y="665"/>
                  <a:pt x="262" y="665"/>
                </a:cubicBezTo>
                <a:cubicBezTo>
                  <a:pt x="262" y="665"/>
                  <a:pt x="264" y="665"/>
                  <a:pt x="264" y="665"/>
                </a:cubicBezTo>
                <a:cubicBezTo>
                  <a:pt x="265" y="666"/>
                  <a:pt x="263" y="666"/>
                  <a:pt x="263" y="666"/>
                </a:cubicBezTo>
                <a:cubicBezTo>
                  <a:pt x="261" y="667"/>
                  <a:pt x="264" y="668"/>
                  <a:pt x="265" y="668"/>
                </a:cubicBezTo>
                <a:cubicBezTo>
                  <a:pt x="265" y="667"/>
                  <a:pt x="266" y="667"/>
                  <a:pt x="267" y="667"/>
                </a:cubicBezTo>
                <a:cubicBezTo>
                  <a:pt x="267" y="667"/>
                  <a:pt x="268" y="667"/>
                  <a:pt x="269" y="667"/>
                </a:cubicBezTo>
                <a:cubicBezTo>
                  <a:pt x="269" y="667"/>
                  <a:pt x="270" y="667"/>
                  <a:pt x="270" y="667"/>
                </a:cubicBezTo>
                <a:cubicBezTo>
                  <a:pt x="271" y="668"/>
                  <a:pt x="269" y="668"/>
                  <a:pt x="269" y="668"/>
                </a:cubicBezTo>
                <a:cubicBezTo>
                  <a:pt x="268" y="668"/>
                  <a:pt x="267" y="667"/>
                  <a:pt x="265" y="668"/>
                </a:cubicBezTo>
                <a:cubicBezTo>
                  <a:pt x="265" y="668"/>
                  <a:pt x="265" y="669"/>
                  <a:pt x="264" y="669"/>
                </a:cubicBezTo>
                <a:cubicBezTo>
                  <a:pt x="263" y="669"/>
                  <a:pt x="263" y="669"/>
                  <a:pt x="262" y="670"/>
                </a:cubicBezTo>
                <a:cubicBezTo>
                  <a:pt x="262" y="671"/>
                  <a:pt x="262" y="671"/>
                  <a:pt x="261" y="671"/>
                </a:cubicBezTo>
                <a:cubicBezTo>
                  <a:pt x="260" y="670"/>
                  <a:pt x="260" y="670"/>
                  <a:pt x="259" y="670"/>
                </a:cubicBezTo>
                <a:cubicBezTo>
                  <a:pt x="259" y="670"/>
                  <a:pt x="259" y="671"/>
                  <a:pt x="258" y="671"/>
                </a:cubicBezTo>
                <a:cubicBezTo>
                  <a:pt x="258" y="672"/>
                  <a:pt x="257" y="672"/>
                  <a:pt x="257" y="672"/>
                </a:cubicBezTo>
                <a:cubicBezTo>
                  <a:pt x="256" y="673"/>
                  <a:pt x="254" y="673"/>
                  <a:pt x="254" y="674"/>
                </a:cubicBezTo>
                <a:cubicBezTo>
                  <a:pt x="254" y="675"/>
                  <a:pt x="254" y="675"/>
                  <a:pt x="255" y="676"/>
                </a:cubicBezTo>
                <a:cubicBezTo>
                  <a:pt x="256" y="676"/>
                  <a:pt x="255" y="677"/>
                  <a:pt x="255" y="677"/>
                </a:cubicBezTo>
                <a:cubicBezTo>
                  <a:pt x="254" y="677"/>
                  <a:pt x="254" y="677"/>
                  <a:pt x="254" y="677"/>
                </a:cubicBezTo>
                <a:cubicBezTo>
                  <a:pt x="253" y="678"/>
                  <a:pt x="253" y="678"/>
                  <a:pt x="253" y="678"/>
                </a:cubicBezTo>
                <a:cubicBezTo>
                  <a:pt x="253" y="679"/>
                  <a:pt x="252" y="679"/>
                  <a:pt x="252" y="678"/>
                </a:cubicBezTo>
                <a:cubicBezTo>
                  <a:pt x="251" y="677"/>
                  <a:pt x="252" y="677"/>
                  <a:pt x="252" y="676"/>
                </a:cubicBezTo>
                <a:cubicBezTo>
                  <a:pt x="251" y="676"/>
                  <a:pt x="250" y="675"/>
                  <a:pt x="250" y="675"/>
                </a:cubicBezTo>
                <a:cubicBezTo>
                  <a:pt x="249" y="675"/>
                  <a:pt x="249" y="676"/>
                  <a:pt x="248" y="676"/>
                </a:cubicBezTo>
                <a:cubicBezTo>
                  <a:pt x="247" y="676"/>
                  <a:pt x="247" y="676"/>
                  <a:pt x="248" y="675"/>
                </a:cubicBezTo>
                <a:cubicBezTo>
                  <a:pt x="248" y="675"/>
                  <a:pt x="249" y="674"/>
                  <a:pt x="250" y="674"/>
                </a:cubicBezTo>
                <a:cubicBezTo>
                  <a:pt x="250" y="673"/>
                  <a:pt x="250" y="673"/>
                  <a:pt x="251" y="673"/>
                </a:cubicBezTo>
                <a:cubicBezTo>
                  <a:pt x="251" y="673"/>
                  <a:pt x="251" y="674"/>
                  <a:pt x="251" y="674"/>
                </a:cubicBezTo>
                <a:cubicBezTo>
                  <a:pt x="252" y="674"/>
                  <a:pt x="252" y="674"/>
                  <a:pt x="252" y="674"/>
                </a:cubicBezTo>
                <a:cubicBezTo>
                  <a:pt x="253" y="673"/>
                  <a:pt x="253" y="673"/>
                  <a:pt x="253" y="672"/>
                </a:cubicBezTo>
                <a:cubicBezTo>
                  <a:pt x="253" y="671"/>
                  <a:pt x="254" y="671"/>
                  <a:pt x="255" y="671"/>
                </a:cubicBezTo>
                <a:cubicBezTo>
                  <a:pt x="255" y="670"/>
                  <a:pt x="256" y="670"/>
                  <a:pt x="255" y="669"/>
                </a:cubicBezTo>
                <a:cubicBezTo>
                  <a:pt x="255" y="669"/>
                  <a:pt x="254" y="669"/>
                  <a:pt x="253" y="670"/>
                </a:cubicBezTo>
                <a:cubicBezTo>
                  <a:pt x="253" y="670"/>
                  <a:pt x="252" y="669"/>
                  <a:pt x="251" y="670"/>
                </a:cubicBezTo>
                <a:cubicBezTo>
                  <a:pt x="251" y="670"/>
                  <a:pt x="251" y="671"/>
                  <a:pt x="251" y="671"/>
                </a:cubicBezTo>
                <a:cubicBezTo>
                  <a:pt x="251" y="672"/>
                  <a:pt x="250" y="672"/>
                  <a:pt x="249" y="672"/>
                </a:cubicBezTo>
                <a:cubicBezTo>
                  <a:pt x="249" y="672"/>
                  <a:pt x="249" y="673"/>
                  <a:pt x="248" y="673"/>
                </a:cubicBezTo>
                <a:cubicBezTo>
                  <a:pt x="248" y="674"/>
                  <a:pt x="247" y="674"/>
                  <a:pt x="247" y="674"/>
                </a:cubicBezTo>
                <a:cubicBezTo>
                  <a:pt x="246" y="674"/>
                  <a:pt x="246" y="674"/>
                  <a:pt x="246" y="675"/>
                </a:cubicBezTo>
                <a:cubicBezTo>
                  <a:pt x="246" y="675"/>
                  <a:pt x="246" y="676"/>
                  <a:pt x="245" y="676"/>
                </a:cubicBezTo>
                <a:cubicBezTo>
                  <a:pt x="245" y="675"/>
                  <a:pt x="244" y="676"/>
                  <a:pt x="244" y="676"/>
                </a:cubicBezTo>
                <a:cubicBezTo>
                  <a:pt x="243" y="677"/>
                  <a:pt x="244" y="677"/>
                  <a:pt x="243" y="677"/>
                </a:cubicBezTo>
                <a:cubicBezTo>
                  <a:pt x="243" y="677"/>
                  <a:pt x="242" y="677"/>
                  <a:pt x="242" y="677"/>
                </a:cubicBezTo>
                <a:cubicBezTo>
                  <a:pt x="242" y="676"/>
                  <a:pt x="241" y="676"/>
                  <a:pt x="241" y="676"/>
                </a:cubicBezTo>
                <a:cubicBezTo>
                  <a:pt x="240" y="675"/>
                  <a:pt x="240" y="674"/>
                  <a:pt x="239" y="674"/>
                </a:cubicBezTo>
                <a:cubicBezTo>
                  <a:pt x="238" y="675"/>
                  <a:pt x="239" y="676"/>
                  <a:pt x="240" y="676"/>
                </a:cubicBezTo>
                <a:cubicBezTo>
                  <a:pt x="240" y="677"/>
                  <a:pt x="240" y="677"/>
                  <a:pt x="241" y="678"/>
                </a:cubicBezTo>
                <a:cubicBezTo>
                  <a:pt x="241" y="679"/>
                  <a:pt x="241" y="679"/>
                  <a:pt x="242" y="679"/>
                </a:cubicBezTo>
                <a:cubicBezTo>
                  <a:pt x="242" y="680"/>
                  <a:pt x="242" y="679"/>
                  <a:pt x="243" y="680"/>
                </a:cubicBezTo>
                <a:cubicBezTo>
                  <a:pt x="243" y="680"/>
                  <a:pt x="242" y="681"/>
                  <a:pt x="242" y="681"/>
                </a:cubicBezTo>
                <a:cubicBezTo>
                  <a:pt x="242" y="681"/>
                  <a:pt x="241" y="681"/>
                  <a:pt x="240" y="681"/>
                </a:cubicBezTo>
                <a:cubicBezTo>
                  <a:pt x="239" y="682"/>
                  <a:pt x="239" y="682"/>
                  <a:pt x="239" y="683"/>
                </a:cubicBezTo>
                <a:cubicBezTo>
                  <a:pt x="239" y="683"/>
                  <a:pt x="242" y="683"/>
                  <a:pt x="241" y="684"/>
                </a:cubicBezTo>
                <a:cubicBezTo>
                  <a:pt x="241" y="685"/>
                  <a:pt x="239" y="686"/>
                  <a:pt x="238" y="686"/>
                </a:cubicBezTo>
                <a:cubicBezTo>
                  <a:pt x="237" y="686"/>
                  <a:pt x="235" y="685"/>
                  <a:pt x="234" y="685"/>
                </a:cubicBezTo>
                <a:cubicBezTo>
                  <a:pt x="233" y="685"/>
                  <a:pt x="233" y="685"/>
                  <a:pt x="232" y="686"/>
                </a:cubicBezTo>
                <a:cubicBezTo>
                  <a:pt x="232" y="687"/>
                  <a:pt x="233" y="687"/>
                  <a:pt x="233" y="687"/>
                </a:cubicBezTo>
                <a:cubicBezTo>
                  <a:pt x="234" y="688"/>
                  <a:pt x="234" y="688"/>
                  <a:pt x="235" y="688"/>
                </a:cubicBezTo>
                <a:cubicBezTo>
                  <a:pt x="236" y="687"/>
                  <a:pt x="236" y="687"/>
                  <a:pt x="237" y="687"/>
                </a:cubicBezTo>
                <a:cubicBezTo>
                  <a:pt x="237" y="687"/>
                  <a:pt x="237" y="687"/>
                  <a:pt x="237" y="687"/>
                </a:cubicBezTo>
                <a:cubicBezTo>
                  <a:pt x="238" y="689"/>
                  <a:pt x="236" y="689"/>
                  <a:pt x="235" y="690"/>
                </a:cubicBezTo>
                <a:cubicBezTo>
                  <a:pt x="234" y="692"/>
                  <a:pt x="238" y="690"/>
                  <a:pt x="237" y="692"/>
                </a:cubicBezTo>
                <a:cubicBezTo>
                  <a:pt x="237" y="692"/>
                  <a:pt x="235" y="693"/>
                  <a:pt x="236" y="694"/>
                </a:cubicBezTo>
                <a:cubicBezTo>
                  <a:pt x="237" y="694"/>
                  <a:pt x="238" y="693"/>
                  <a:pt x="238" y="693"/>
                </a:cubicBezTo>
                <a:cubicBezTo>
                  <a:pt x="239" y="693"/>
                  <a:pt x="239" y="694"/>
                  <a:pt x="240" y="694"/>
                </a:cubicBezTo>
                <a:cubicBezTo>
                  <a:pt x="240" y="694"/>
                  <a:pt x="241" y="694"/>
                  <a:pt x="241" y="695"/>
                </a:cubicBezTo>
                <a:cubicBezTo>
                  <a:pt x="241" y="695"/>
                  <a:pt x="241" y="696"/>
                  <a:pt x="241" y="697"/>
                </a:cubicBezTo>
                <a:cubicBezTo>
                  <a:pt x="240" y="697"/>
                  <a:pt x="239" y="697"/>
                  <a:pt x="239" y="697"/>
                </a:cubicBezTo>
                <a:cubicBezTo>
                  <a:pt x="237" y="697"/>
                  <a:pt x="236" y="698"/>
                  <a:pt x="237" y="700"/>
                </a:cubicBezTo>
                <a:cubicBezTo>
                  <a:pt x="237" y="701"/>
                  <a:pt x="238" y="700"/>
                  <a:pt x="238" y="701"/>
                </a:cubicBezTo>
                <a:cubicBezTo>
                  <a:pt x="239" y="702"/>
                  <a:pt x="237" y="702"/>
                  <a:pt x="237" y="702"/>
                </a:cubicBezTo>
                <a:cubicBezTo>
                  <a:pt x="236" y="703"/>
                  <a:pt x="235" y="705"/>
                  <a:pt x="236" y="705"/>
                </a:cubicBezTo>
                <a:cubicBezTo>
                  <a:pt x="237" y="706"/>
                  <a:pt x="238" y="706"/>
                  <a:pt x="239" y="706"/>
                </a:cubicBezTo>
                <a:cubicBezTo>
                  <a:pt x="239" y="707"/>
                  <a:pt x="240" y="708"/>
                  <a:pt x="241" y="708"/>
                </a:cubicBezTo>
                <a:cubicBezTo>
                  <a:pt x="242" y="709"/>
                  <a:pt x="243" y="708"/>
                  <a:pt x="245" y="708"/>
                </a:cubicBezTo>
                <a:cubicBezTo>
                  <a:pt x="246" y="708"/>
                  <a:pt x="248" y="708"/>
                  <a:pt x="249" y="708"/>
                </a:cubicBezTo>
                <a:cubicBezTo>
                  <a:pt x="251" y="708"/>
                  <a:pt x="252" y="707"/>
                  <a:pt x="253" y="707"/>
                </a:cubicBezTo>
                <a:cubicBezTo>
                  <a:pt x="254" y="707"/>
                  <a:pt x="256" y="707"/>
                  <a:pt x="258" y="707"/>
                </a:cubicBezTo>
                <a:cubicBezTo>
                  <a:pt x="259" y="707"/>
                  <a:pt x="260" y="709"/>
                  <a:pt x="261" y="709"/>
                </a:cubicBezTo>
                <a:cubicBezTo>
                  <a:pt x="264" y="709"/>
                  <a:pt x="265" y="704"/>
                  <a:pt x="268" y="705"/>
                </a:cubicBezTo>
                <a:cubicBezTo>
                  <a:pt x="271" y="706"/>
                  <a:pt x="274" y="706"/>
                  <a:pt x="277" y="706"/>
                </a:cubicBezTo>
                <a:cubicBezTo>
                  <a:pt x="278" y="706"/>
                  <a:pt x="280" y="706"/>
                  <a:pt x="280" y="705"/>
                </a:cubicBezTo>
                <a:cubicBezTo>
                  <a:pt x="281" y="703"/>
                  <a:pt x="279" y="702"/>
                  <a:pt x="280" y="701"/>
                </a:cubicBezTo>
                <a:cubicBezTo>
                  <a:pt x="280" y="700"/>
                  <a:pt x="281" y="700"/>
                  <a:pt x="282" y="700"/>
                </a:cubicBezTo>
                <a:cubicBezTo>
                  <a:pt x="281" y="701"/>
                  <a:pt x="281" y="702"/>
                  <a:pt x="281" y="703"/>
                </a:cubicBezTo>
                <a:cubicBezTo>
                  <a:pt x="281" y="704"/>
                  <a:pt x="281" y="705"/>
                  <a:pt x="282" y="706"/>
                </a:cubicBezTo>
                <a:cubicBezTo>
                  <a:pt x="282" y="706"/>
                  <a:pt x="281" y="705"/>
                  <a:pt x="280" y="706"/>
                </a:cubicBezTo>
                <a:cubicBezTo>
                  <a:pt x="280" y="706"/>
                  <a:pt x="280" y="707"/>
                  <a:pt x="279" y="707"/>
                </a:cubicBezTo>
                <a:cubicBezTo>
                  <a:pt x="278" y="707"/>
                  <a:pt x="277" y="707"/>
                  <a:pt x="277" y="708"/>
                </a:cubicBezTo>
                <a:cubicBezTo>
                  <a:pt x="276" y="708"/>
                  <a:pt x="275" y="709"/>
                  <a:pt x="275" y="709"/>
                </a:cubicBezTo>
                <a:cubicBezTo>
                  <a:pt x="274" y="711"/>
                  <a:pt x="275" y="711"/>
                  <a:pt x="276" y="712"/>
                </a:cubicBezTo>
                <a:cubicBezTo>
                  <a:pt x="277" y="712"/>
                  <a:pt x="277" y="713"/>
                  <a:pt x="277" y="714"/>
                </a:cubicBezTo>
                <a:cubicBezTo>
                  <a:pt x="276" y="714"/>
                  <a:pt x="276" y="714"/>
                  <a:pt x="276" y="714"/>
                </a:cubicBezTo>
                <a:cubicBezTo>
                  <a:pt x="276" y="714"/>
                  <a:pt x="275" y="714"/>
                  <a:pt x="275" y="714"/>
                </a:cubicBezTo>
                <a:cubicBezTo>
                  <a:pt x="275" y="714"/>
                  <a:pt x="275" y="713"/>
                  <a:pt x="275" y="713"/>
                </a:cubicBezTo>
                <a:cubicBezTo>
                  <a:pt x="274" y="713"/>
                  <a:pt x="273" y="714"/>
                  <a:pt x="273" y="712"/>
                </a:cubicBezTo>
                <a:cubicBezTo>
                  <a:pt x="274" y="712"/>
                  <a:pt x="274" y="712"/>
                  <a:pt x="274" y="711"/>
                </a:cubicBezTo>
                <a:cubicBezTo>
                  <a:pt x="274" y="710"/>
                  <a:pt x="274" y="710"/>
                  <a:pt x="274" y="709"/>
                </a:cubicBezTo>
                <a:cubicBezTo>
                  <a:pt x="273" y="709"/>
                  <a:pt x="272" y="709"/>
                  <a:pt x="272" y="708"/>
                </a:cubicBezTo>
                <a:cubicBezTo>
                  <a:pt x="270" y="708"/>
                  <a:pt x="268" y="706"/>
                  <a:pt x="267" y="706"/>
                </a:cubicBezTo>
                <a:cubicBezTo>
                  <a:pt x="266" y="707"/>
                  <a:pt x="264" y="708"/>
                  <a:pt x="264" y="709"/>
                </a:cubicBezTo>
                <a:cubicBezTo>
                  <a:pt x="263" y="710"/>
                  <a:pt x="262" y="711"/>
                  <a:pt x="261" y="710"/>
                </a:cubicBezTo>
                <a:cubicBezTo>
                  <a:pt x="260" y="709"/>
                  <a:pt x="259" y="709"/>
                  <a:pt x="258" y="708"/>
                </a:cubicBezTo>
                <a:cubicBezTo>
                  <a:pt x="257" y="707"/>
                  <a:pt x="256" y="708"/>
                  <a:pt x="254" y="708"/>
                </a:cubicBezTo>
                <a:cubicBezTo>
                  <a:pt x="253" y="708"/>
                  <a:pt x="252" y="708"/>
                  <a:pt x="251" y="708"/>
                </a:cubicBezTo>
                <a:cubicBezTo>
                  <a:pt x="249" y="709"/>
                  <a:pt x="248" y="709"/>
                  <a:pt x="247" y="709"/>
                </a:cubicBezTo>
                <a:cubicBezTo>
                  <a:pt x="245" y="709"/>
                  <a:pt x="244" y="709"/>
                  <a:pt x="243" y="709"/>
                </a:cubicBezTo>
                <a:cubicBezTo>
                  <a:pt x="241" y="709"/>
                  <a:pt x="240" y="708"/>
                  <a:pt x="239" y="708"/>
                </a:cubicBezTo>
                <a:cubicBezTo>
                  <a:pt x="238" y="708"/>
                  <a:pt x="237" y="709"/>
                  <a:pt x="237" y="709"/>
                </a:cubicBezTo>
                <a:cubicBezTo>
                  <a:pt x="236" y="710"/>
                  <a:pt x="237" y="710"/>
                  <a:pt x="237" y="711"/>
                </a:cubicBezTo>
                <a:cubicBezTo>
                  <a:pt x="238" y="711"/>
                  <a:pt x="240" y="712"/>
                  <a:pt x="238" y="713"/>
                </a:cubicBezTo>
                <a:cubicBezTo>
                  <a:pt x="238" y="713"/>
                  <a:pt x="237" y="713"/>
                  <a:pt x="236" y="713"/>
                </a:cubicBezTo>
                <a:cubicBezTo>
                  <a:pt x="236" y="713"/>
                  <a:pt x="235" y="712"/>
                  <a:pt x="235" y="713"/>
                </a:cubicBezTo>
                <a:cubicBezTo>
                  <a:pt x="234" y="713"/>
                  <a:pt x="235" y="714"/>
                  <a:pt x="236" y="714"/>
                </a:cubicBezTo>
                <a:cubicBezTo>
                  <a:pt x="236" y="715"/>
                  <a:pt x="235" y="715"/>
                  <a:pt x="236" y="716"/>
                </a:cubicBezTo>
                <a:cubicBezTo>
                  <a:pt x="237" y="717"/>
                  <a:pt x="239" y="715"/>
                  <a:pt x="240" y="716"/>
                </a:cubicBezTo>
                <a:cubicBezTo>
                  <a:pt x="241" y="716"/>
                  <a:pt x="241" y="716"/>
                  <a:pt x="241" y="717"/>
                </a:cubicBezTo>
                <a:cubicBezTo>
                  <a:pt x="241" y="719"/>
                  <a:pt x="241" y="718"/>
                  <a:pt x="242" y="719"/>
                </a:cubicBezTo>
                <a:cubicBezTo>
                  <a:pt x="243" y="720"/>
                  <a:pt x="241" y="721"/>
                  <a:pt x="240" y="722"/>
                </a:cubicBezTo>
                <a:cubicBezTo>
                  <a:pt x="239" y="722"/>
                  <a:pt x="239" y="722"/>
                  <a:pt x="239" y="723"/>
                </a:cubicBezTo>
                <a:cubicBezTo>
                  <a:pt x="239" y="724"/>
                  <a:pt x="240" y="723"/>
                  <a:pt x="240" y="724"/>
                </a:cubicBezTo>
                <a:cubicBezTo>
                  <a:pt x="241" y="724"/>
                  <a:pt x="241" y="724"/>
                  <a:pt x="242" y="724"/>
                </a:cubicBezTo>
                <a:cubicBezTo>
                  <a:pt x="243" y="724"/>
                  <a:pt x="244" y="724"/>
                  <a:pt x="244" y="723"/>
                </a:cubicBezTo>
                <a:cubicBezTo>
                  <a:pt x="245" y="722"/>
                  <a:pt x="244" y="722"/>
                  <a:pt x="245" y="721"/>
                </a:cubicBezTo>
                <a:cubicBezTo>
                  <a:pt x="246" y="721"/>
                  <a:pt x="246" y="721"/>
                  <a:pt x="247" y="721"/>
                </a:cubicBezTo>
                <a:cubicBezTo>
                  <a:pt x="247" y="720"/>
                  <a:pt x="248" y="720"/>
                  <a:pt x="249" y="720"/>
                </a:cubicBezTo>
                <a:cubicBezTo>
                  <a:pt x="249" y="720"/>
                  <a:pt x="249" y="721"/>
                  <a:pt x="249" y="721"/>
                </a:cubicBezTo>
                <a:cubicBezTo>
                  <a:pt x="249" y="722"/>
                  <a:pt x="249" y="723"/>
                  <a:pt x="248" y="723"/>
                </a:cubicBezTo>
                <a:cubicBezTo>
                  <a:pt x="248" y="724"/>
                  <a:pt x="248" y="724"/>
                  <a:pt x="248" y="725"/>
                </a:cubicBezTo>
                <a:cubicBezTo>
                  <a:pt x="248" y="726"/>
                  <a:pt x="247" y="727"/>
                  <a:pt x="247" y="727"/>
                </a:cubicBezTo>
                <a:cubicBezTo>
                  <a:pt x="246" y="727"/>
                  <a:pt x="245" y="728"/>
                  <a:pt x="244" y="728"/>
                </a:cubicBezTo>
                <a:cubicBezTo>
                  <a:pt x="243" y="728"/>
                  <a:pt x="242" y="726"/>
                  <a:pt x="241" y="726"/>
                </a:cubicBezTo>
                <a:cubicBezTo>
                  <a:pt x="241" y="725"/>
                  <a:pt x="240" y="725"/>
                  <a:pt x="240" y="726"/>
                </a:cubicBezTo>
                <a:cubicBezTo>
                  <a:pt x="240" y="726"/>
                  <a:pt x="240" y="726"/>
                  <a:pt x="240" y="727"/>
                </a:cubicBezTo>
                <a:cubicBezTo>
                  <a:pt x="240" y="727"/>
                  <a:pt x="240" y="727"/>
                  <a:pt x="239" y="728"/>
                </a:cubicBezTo>
                <a:cubicBezTo>
                  <a:pt x="239" y="728"/>
                  <a:pt x="238" y="730"/>
                  <a:pt x="239" y="731"/>
                </a:cubicBezTo>
                <a:cubicBezTo>
                  <a:pt x="239" y="732"/>
                  <a:pt x="240" y="732"/>
                  <a:pt x="240" y="733"/>
                </a:cubicBezTo>
                <a:cubicBezTo>
                  <a:pt x="241" y="733"/>
                  <a:pt x="241" y="734"/>
                  <a:pt x="241" y="734"/>
                </a:cubicBezTo>
                <a:cubicBezTo>
                  <a:pt x="242" y="736"/>
                  <a:pt x="243" y="737"/>
                  <a:pt x="244" y="736"/>
                </a:cubicBezTo>
                <a:cubicBezTo>
                  <a:pt x="245" y="735"/>
                  <a:pt x="244" y="734"/>
                  <a:pt x="245" y="734"/>
                </a:cubicBezTo>
                <a:cubicBezTo>
                  <a:pt x="246" y="733"/>
                  <a:pt x="246" y="734"/>
                  <a:pt x="247" y="735"/>
                </a:cubicBezTo>
                <a:cubicBezTo>
                  <a:pt x="247" y="736"/>
                  <a:pt x="247" y="736"/>
                  <a:pt x="248" y="736"/>
                </a:cubicBezTo>
                <a:cubicBezTo>
                  <a:pt x="249" y="736"/>
                  <a:pt x="249" y="736"/>
                  <a:pt x="250" y="737"/>
                </a:cubicBezTo>
                <a:cubicBezTo>
                  <a:pt x="250" y="738"/>
                  <a:pt x="249" y="739"/>
                  <a:pt x="249" y="741"/>
                </a:cubicBezTo>
                <a:cubicBezTo>
                  <a:pt x="250" y="742"/>
                  <a:pt x="251" y="741"/>
                  <a:pt x="252" y="740"/>
                </a:cubicBezTo>
                <a:cubicBezTo>
                  <a:pt x="252" y="739"/>
                  <a:pt x="252" y="738"/>
                  <a:pt x="253" y="737"/>
                </a:cubicBezTo>
                <a:cubicBezTo>
                  <a:pt x="254" y="736"/>
                  <a:pt x="254" y="736"/>
                  <a:pt x="254" y="736"/>
                </a:cubicBezTo>
                <a:cubicBezTo>
                  <a:pt x="255" y="735"/>
                  <a:pt x="255" y="735"/>
                  <a:pt x="256" y="735"/>
                </a:cubicBezTo>
                <a:cubicBezTo>
                  <a:pt x="257" y="735"/>
                  <a:pt x="256" y="736"/>
                  <a:pt x="257" y="737"/>
                </a:cubicBezTo>
                <a:cubicBezTo>
                  <a:pt x="257" y="738"/>
                  <a:pt x="259" y="737"/>
                  <a:pt x="259" y="739"/>
                </a:cubicBezTo>
                <a:cubicBezTo>
                  <a:pt x="258" y="739"/>
                  <a:pt x="257" y="739"/>
                  <a:pt x="257" y="739"/>
                </a:cubicBezTo>
                <a:cubicBezTo>
                  <a:pt x="256" y="739"/>
                  <a:pt x="256" y="740"/>
                  <a:pt x="255" y="740"/>
                </a:cubicBezTo>
                <a:cubicBezTo>
                  <a:pt x="254" y="741"/>
                  <a:pt x="253" y="742"/>
                  <a:pt x="253" y="743"/>
                </a:cubicBezTo>
                <a:cubicBezTo>
                  <a:pt x="252" y="743"/>
                  <a:pt x="251" y="743"/>
                  <a:pt x="251" y="744"/>
                </a:cubicBezTo>
                <a:cubicBezTo>
                  <a:pt x="250" y="744"/>
                  <a:pt x="249" y="745"/>
                  <a:pt x="249" y="745"/>
                </a:cubicBezTo>
                <a:cubicBezTo>
                  <a:pt x="248" y="745"/>
                  <a:pt x="248" y="745"/>
                  <a:pt x="248" y="746"/>
                </a:cubicBezTo>
                <a:cubicBezTo>
                  <a:pt x="248" y="746"/>
                  <a:pt x="248" y="746"/>
                  <a:pt x="248" y="746"/>
                </a:cubicBezTo>
                <a:cubicBezTo>
                  <a:pt x="249" y="746"/>
                  <a:pt x="249" y="746"/>
                  <a:pt x="249" y="746"/>
                </a:cubicBezTo>
                <a:cubicBezTo>
                  <a:pt x="250" y="746"/>
                  <a:pt x="250" y="747"/>
                  <a:pt x="250" y="747"/>
                </a:cubicBezTo>
                <a:cubicBezTo>
                  <a:pt x="250" y="747"/>
                  <a:pt x="251" y="747"/>
                  <a:pt x="252" y="747"/>
                </a:cubicBezTo>
                <a:cubicBezTo>
                  <a:pt x="253" y="747"/>
                  <a:pt x="253" y="747"/>
                  <a:pt x="254" y="748"/>
                </a:cubicBezTo>
                <a:cubicBezTo>
                  <a:pt x="254" y="749"/>
                  <a:pt x="253" y="749"/>
                  <a:pt x="253" y="749"/>
                </a:cubicBezTo>
                <a:cubicBezTo>
                  <a:pt x="252" y="749"/>
                  <a:pt x="252" y="749"/>
                  <a:pt x="251" y="750"/>
                </a:cubicBezTo>
                <a:cubicBezTo>
                  <a:pt x="251" y="751"/>
                  <a:pt x="251" y="751"/>
                  <a:pt x="251" y="752"/>
                </a:cubicBezTo>
                <a:cubicBezTo>
                  <a:pt x="249" y="753"/>
                  <a:pt x="248" y="750"/>
                  <a:pt x="247" y="751"/>
                </a:cubicBezTo>
                <a:cubicBezTo>
                  <a:pt x="246" y="751"/>
                  <a:pt x="245" y="756"/>
                  <a:pt x="244" y="755"/>
                </a:cubicBezTo>
                <a:cubicBezTo>
                  <a:pt x="244" y="754"/>
                  <a:pt x="245" y="754"/>
                  <a:pt x="245" y="753"/>
                </a:cubicBezTo>
                <a:cubicBezTo>
                  <a:pt x="245" y="753"/>
                  <a:pt x="245" y="752"/>
                  <a:pt x="245" y="752"/>
                </a:cubicBezTo>
                <a:cubicBezTo>
                  <a:pt x="245" y="752"/>
                  <a:pt x="245" y="751"/>
                  <a:pt x="245" y="751"/>
                </a:cubicBezTo>
                <a:cubicBezTo>
                  <a:pt x="245" y="750"/>
                  <a:pt x="245" y="750"/>
                  <a:pt x="244" y="750"/>
                </a:cubicBezTo>
                <a:cubicBezTo>
                  <a:pt x="243" y="750"/>
                  <a:pt x="243" y="751"/>
                  <a:pt x="243" y="751"/>
                </a:cubicBezTo>
                <a:cubicBezTo>
                  <a:pt x="242" y="752"/>
                  <a:pt x="240" y="751"/>
                  <a:pt x="240" y="753"/>
                </a:cubicBezTo>
                <a:cubicBezTo>
                  <a:pt x="240" y="754"/>
                  <a:pt x="240" y="754"/>
                  <a:pt x="240" y="755"/>
                </a:cubicBezTo>
                <a:cubicBezTo>
                  <a:pt x="240" y="756"/>
                  <a:pt x="240" y="756"/>
                  <a:pt x="240" y="757"/>
                </a:cubicBezTo>
                <a:cubicBezTo>
                  <a:pt x="239" y="758"/>
                  <a:pt x="240" y="758"/>
                  <a:pt x="241" y="758"/>
                </a:cubicBezTo>
                <a:cubicBezTo>
                  <a:pt x="242" y="758"/>
                  <a:pt x="242" y="758"/>
                  <a:pt x="242" y="759"/>
                </a:cubicBezTo>
                <a:cubicBezTo>
                  <a:pt x="243" y="760"/>
                  <a:pt x="243" y="760"/>
                  <a:pt x="244" y="760"/>
                </a:cubicBezTo>
                <a:cubicBezTo>
                  <a:pt x="244" y="761"/>
                  <a:pt x="244" y="761"/>
                  <a:pt x="245" y="762"/>
                </a:cubicBezTo>
                <a:cubicBezTo>
                  <a:pt x="245" y="762"/>
                  <a:pt x="246" y="762"/>
                  <a:pt x="247" y="762"/>
                </a:cubicBezTo>
                <a:cubicBezTo>
                  <a:pt x="248" y="761"/>
                  <a:pt x="247" y="762"/>
                  <a:pt x="248" y="762"/>
                </a:cubicBezTo>
                <a:cubicBezTo>
                  <a:pt x="250" y="763"/>
                  <a:pt x="249" y="760"/>
                  <a:pt x="249" y="759"/>
                </a:cubicBezTo>
                <a:cubicBezTo>
                  <a:pt x="249" y="759"/>
                  <a:pt x="250" y="758"/>
                  <a:pt x="250" y="758"/>
                </a:cubicBezTo>
                <a:cubicBezTo>
                  <a:pt x="250" y="758"/>
                  <a:pt x="250" y="757"/>
                  <a:pt x="250" y="757"/>
                </a:cubicBezTo>
                <a:cubicBezTo>
                  <a:pt x="250" y="756"/>
                  <a:pt x="250" y="756"/>
                  <a:pt x="251" y="756"/>
                </a:cubicBezTo>
                <a:cubicBezTo>
                  <a:pt x="252" y="757"/>
                  <a:pt x="252" y="757"/>
                  <a:pt x="253" y="756"/>
                </a:cubicBezTo>
                <a:cubicBezTo>
                  <a:pt x="254" y="756"/>
                  <a:pt x="254" y="756"/>
                  <a:pt x="255" y="756"/>
                </a:cubicBezTo>
                <a:cubicBezTo>
                  <a:pt x="256" y="756"/>
                  <a:pt x="258" y="757"/>
                  <a:pt x="259" y="756"/>
                </a:cubicBezTo>
                <a:cubicBezTo>
                  <a:pt x="260" y="755"/>
                  <a:pt x="260" y="754"/>
                  <a:pt x="260" y="754"/>
                </a:cubicBezTo>
                <a:cubicBezTo>
                  <a:pt x="261" y="754"/>
                  <a:pt x="262" y="754"/>
                  <a:pt x="262" y="754"/>
                </a:cubicBezTo>
                <a:cubicBezTo>
                  <a:pt x="263" y="754"/>
                  <a:pt x="264" y="754"/>
                  <a:pt x="263" y="755"/>
                </a:cubicBezTo>
                <a:cubicBezTo>
                  <a:pt x="262" y="755"/>
                  <a:pt x="261" y="755"/>
                  <a:pt x="261" y="755"/>
                </a:cubicBezTo>
                <a:cubicBezTo>
                  <a:pt x="260" y="756"/>
                  <a:pt x="260" y="757"/>
                  <a:pt x="259" y="757"/>
                </a:cubicBezTo>
                <a:cubicBezTo>
                  <a:pt x="259" y="757"/>
                  <a:pt x="258" y="757"/>
                  <a:pt x="257" y="757"/>
                </a:cubicBezTo>
                <a:cubicBezTo>
                  <a:pt x="256" y="757"/>
                  <a:pt x="254" y="758"/>
                  <a:pt x="254" y="759"/>
                </a:cubicBezTo>
                <a:cubicBezTo>
                  <a:pt x="254" y="760"/>
                  <a:pt x="255" y="760"/>
                  <a:pt x="256" y="760"/>
                </a:cubicBezTo>
                <a:cubicBezTo>
                  <a:pt x="256" y="760"/>
                  <a:pt x="256" y="761"/>
                  <a:pt x="257" y="761"/>
                </a:cubicBezTo>
                <a:cubicBezTo>
                  <a:pt x="258" y="761"/>
                  <a:pt x="260" y="760"/>
                  <a:pt x="261" y="761"/>
                </a:cubicBezTo>
                <a:cubicBezTo>
                  <a:pt x="261" y="762"/>
                  <a:pt x="261" y="762"/>
                  <a:pt x="260" y="763"/>
                </a:cubicBezTo>
                <a:cubicBezTo>
                  <a:pt x="260" y="763"/>
                  <a:pt x="259" y="763"/>
                  <a:pt x="258" y="763"/>
                </a:cubicBezTo>
                <a:cubicBezTo>
                  <a:pt x="258" y="763"/>
                  <a:pt x="257" y="764"/>
                  <a:pt x="257" y="764"/>
                </a:cubicBezTo>
                <a:cubicBezTo>
                  <a:pt x="256" y="765"/>
                  <a:pt x="255" y="766"/>
                  <a:pt x="253" y="767"/>
                </a:cubicBezTo>
                <a:cubicBezTo>
                  <a:pt x="253" y="768"/>
                  <a:pt x="252" y="770"/>
                  <a:pt x="254" y="770"/>
                </a:cubicBezTo>
                <a:cubicBezTo>
                  <a:pt x="255" y="770"/>
                  <a:pt x="255" y="769"/>
                  <a:pt x="256" y="770"/>
                </a:cubicBezTo>
                <a:cubicBezTo>
                  <a:pt x="257" y="770"/>
                  <a:pt x="257" y="770"/>
                  <a:pt x="258" y="770"/>
                </a:cubicBezTo>
                <a:cubicBezTo>
                  <a:pt x="259" y="770"/>
                  <a:pt x="260" y="770"/>
                  <a:pt x="259" y="771"/>
                </a:cubicBezTo>
                <a:cubicBezTo>
                  <a:pt x="259" y="771"/>
                  <a:pt x="258" y="771"/>
                  <a:pt x="258" y="772"/>
                </a:cubicBezTo>
                <a:cubicBezTo>
                  <a:pt x="258" y="773"/>
                  <a:pt x="258" y="773"/>
                  <a:pt x="258" y="774"/>
                </a:cubicBezTo>
                <a:cubicBezTo>
                  <a:pt x="258" y="775"/>
                  <a:pt x="257" y="775"/>
                  <a:pt x="256" y="774"/>
                </a:cubicBezTo>
                <a:cubicBezTo>
                  <a:pt x="256" y="774"/>
                  <a:pt x="256" y="774"/>
                  <a:pt x="256" y="774"/>
                </a:cubicBezTo>
                <a:cubicBezTo>
                  <a:pt x="255" y="774"/>
                  <a:pt x="255" y="774"/>
                  <a:pt x="255" y="774"/>
                </a:cubicBezTo>
                <a:cubicBezTo>
                  <a:pt x="254" y="773"/>
                  <a:pt x="253" y="773"/>
                  <a:pt x="253" y="773"/>
                </a:cubicBezTo>
                <a:cubicBezTo>
                  <a:pt x="251" y="772"/>
                  <a:pt x="250" y="773"/>
                  <a:pt x="249" y="773"/>
                </a:cubicBezTo>
                <a:cubicBezTo>
                  <a:pt x="249" y="772"/>
                  <a:pt x="249" y="772"/>
                  <a:pt x="248" y="772"/>
                </a:cubicBezTo>
                <a:cubicBezTo>
                  <a:pt x="248" y="771"/>
                  <a:pt x="246" y="770"/>
                  <a:pt x="246" y="771"/>
                </a:cubicBezTo>
                <a:cubicBezTo>
                  <a:pt x="246" y="771"/>
                  <a:pt x="247" y="771"/>
                  <a:pt x="247" y="772"/>
                </a:cubicBezTo>
                <a:cubicBezTo>
                  <a:pt x="247" y="773"/>
                  <a:pt x="246" y="773"/>
                  <a:pt x="246" y="774"/>
                </a:cubicBezTo>
                <a:cubicBezTo>
                  <a:pt x="245" y="774"/>
                  <a:pt x="245" y="775"/>
                  <a:pt x="245" y="776"/>
                </a:cubicBezTo>
                <a:cubicBezTo>
                  <a:pt x="245" y="777"/>
                  <a:pt x="245" y="777"/>
                  <a:pt x="245" y="778"/>
                </a:cubicBezTo>
                <a:cubicBezTo>
                  <a:pt x="244" y="779"/>
                  <a:pt x="246" y="780"/>
                  <a:pt x="247" y="781"/>
                </a:cubicBezTo>
                <a:cubicBezTo>
                  <a:pt x="248" y="782"/>
                  <a:pt x="248" y="784"/>
                  <a:pt x="249" y="785"/>
                </a:cubicBezTo>
                <a:cubicBezTo>
                  <a:pt x="250" y="786"/>
                  <a:pt x="252" y="786"/>
                  <a:pt x="253" y="787"/>
                </a:cubicBezTo>
                <a:cubicBezTo>
                  <a:pt x="255" y="788"/>
                  <a:pt x="255" y="789"/>
                  <a:pt x="257" y="790"/>
                </a:cubicBezTo>
                <a:cubicBezTo>
                  <a:pt x="258" y="790"/>
                  <a:pt x="260" y="790"/>
                  <a:pt x="261" y="791"/>
                </a:cubicBezTo>
                <a:cubicBezTo>
                  <a:pt x="262" y="791"/>
                  <a:pt x="263" y="792"/>
                  <a:pt x="265" y="792"/>
                </a:cubicBezTo>
                <a:cubicBezTo>
                  <a:pt x="266" y="792"/>
                  <a:pt x="269" y="791"/>
                  <a:pt x="269" y="793"/>
                </a:cubicBezTo>
                <a:cubicBezTo>
                  <a:pt x="269" y="793"/>
                  <a:pt x="268" y="794"/>
                  <a:pt x="268" y="794"/>
                </a:cubicBezTo>
                <a:cubicBezTo>
                  <a:pt x="267" y="795"/>
                  <a:pt x="266" y="795"/>
                  <a:pt x="266" y="796"/>
                </a:cubicBezTo>
                <a:cubicBezTo>
                  <a:pt x="265" y="797"/>
                  <a:pt x="268" y="797"/>
                  <a:pt x="269" y="797"/>
                </a:cubicBezTo>
                <a:cubicBezTo>
                  <a:pt x="270" y="797"/>
                  <a:pt x="270" y="797"/>
                  <a:pt x="271" y="797"/>
                </a:cubicBezTo>
                <a:cubicBezTo>
                  <a:pt x="272" y="798"/>
                  <a:pt x="273" y="798"/>
                  <a:pt x="273" y="798"/>
                </a:cubicBezTo>
                <a:cubicBezTo>
                  <a:pt x="274" y="798"/>
                  <a:pt x="274" y="798"/>
                  <a:pt x="275" y="799"/>
                </a:cubicBezTo>
                <a:cubicBezTo>
                  <a:pt x="275" y="799"/>
                  <a:pt x="276" y="799"/>
                  <a:pt x="277" y="799"/>
                </a:cubicBezTo>
                <a:cubicBezTo>
                  <a:pt x="277" y="799"/>
                  <a:pt x="278" y="798"/>
                  <a:pt x="279" y="798"/>
                </a:cubicBezTo>
                <a:cubicBezTo>
                  <a:pt x="280" y="798"/>
                  <a:pt x="280" y="798"/>
                  <a:pt x="281" y="798"/>
                </a:cubicBezTo>
                <a:cubicBezTo>
                  <a:pt x="283" y="799"/>
                  <a:pt x="284" y="798"/>
                  <a:pt x="286" y="798"/>
                </a:cubicBezTo>
                <a:cubicBezTo>
                  <a:pt x="287" y="797"/>
                  <a:pt x="287" y="797"/>
                  <a:pt x="288" y="797"/>
                </a:cubicBezTo>
                <a:cubicBezTo>
                  <a:pt x="288" y="797"/>
                  <a:pt x="288" y="796"/>
                  <a:pt x="289" y="796"/>
                </a:cubicBezTo>
                <a:cubicBezTo>
                  <a:pt x="289" y="796"/>
                  <a:pt x="290" y="796"/>
                  <a:pt x="290" y="796"/>
                </a:cubicBezTo>
                <a:cubicBezTo>
                  <a:pt x="293" y="795"/>
                  <a:pt x="296" y="796"/>
                  <a:pt x="298" y="794"/>
                </a:cubicBezTo>
                <a:cubicBezTo>
                  <a:pt x="300" y="794"/>
                  <a:pt x="302" y="793"/>
                  <a:pt x="303" y="791"/>
                </a:cubicBezTo>
                <a:cubicBezTo>
                  <a:pt x="305" y="789"/>
                  <a:pt x="309" y="788"/>
                  <a:pt x="311" y="785"/>
                </a:cubicBezTo>
                <a:cubicBezTo>
                  <a:pt x="312" y="783"/>
                  <a:pt x="312" y="782"/>
                  <a:pt x="314" y="781"/>
                </a:cubicBezTo>
                <a:cubicBezTo>
                  <a:pt x="315" y="781"/>
                  <a:pt x="316" y="781"/>
                  <a:pt x="317" y="780"/>
                </a:cubicBezTo>
                <a:cubicBezTo>
                  <a:pt x="317" y="780"/>
                  <a:pt x="317" y="780"/>
                  <a:pt x="318" y="779"/>
                </a:cubicBezTo>
                <a:cubicBezTo>
                  <a:pt x="318" y="779"/>
                  <a:pt x="317" y="779"/>
                  <a:pt x="318" y="778"/>
                </a:cubicBezTo>
                <a:cubicBezTo>
                  <a:pt x="318" y="777"/>
                  <a:pt x="320" y="778"/>
                  <a:pt x="320" y="777"/>
                </a:cubicBezTo>
                <a:cubicBezTo>
                  <a:pt x="321" y="776"/>
                  <a:pt x="320" y="775"/>
                  <a:pt x="320" y="775"/>
                </a:cubicBezTo>
                <a:cubicBezTo>
                  <a:pt x="321" y="774"/>
                  <a:pt x="321" y="773"/>
                  <a:pt x="322" y="773"/>
                </a:cubicBezTo>
                <a:cubicBezTo>
                  <a:pt x="323" y="773"/>
                  <a:pt x="323" y="773"/>
                  <a:pt x="324" y="773"/>
                </a:cubicBezTo>
                <a:cubicBezTo>
                  <a:pt x="325" y="773"/>
                  <a:pt x="325" y="772"/>
                  <a:pt x="326" y="772"/>
                </a:cubicBezTo>
                <a:cubicBezTo>
                  <a:pt x="326" y="771"/>
                  <a:pt x="327" y="771"/>
                  <a:pt x="327" y="770"/>
                </a:cubicBezTo>
                <a:cubicBezTo>
                  <a:pt x="327" y="770"/>
                  <a:pt x="326" y="769"/>
                  <a:pt x="325" y="769"/>
                </a:cubicBezTo>
                <a:cubicBezTo>
                  <a:pt x="325" y="768"/>
                  <a:pt x="325" y="768"/>
                  <a:pt x="325" y="767"/>
                </a:cubicBezTo>
                <a:cubicBezTo>
                  <a:pt x="326" y="767"/>
                  <a:pt x="327" y="768"/>
                  <a:pt x="327" y="768"/>
                </a:cubicBezTo>
                <a:cubicBezTo>
                  <a:pt x="329" y="769"/>
                  <a:pt x="330" y="769"/>
                  <a:pt x="331" y="769"/>
                </a:cubicBezTo>
                <a:cubicBezTo>
                  <a:pt x="333" y="769"/>
                  <a:pt x="334" y="769"/>
                  <a:pt x="336" y="769"/>
                </a:cubicBezTo>
                <a:cubicBezTo>
                  <a:pt x="337" y="768"/>
                  <a:pt x="338" y="767"/>
                  <a:pt x="339" y="766"/>
                </a:cubicBezTo>
                <a:cubicBezTo>
                  <a:pt x="339" y="765"/>
                  <a:pt x="339" y="764"/>
                  <a:pt x="340" y="764"/>
                </a:cubicBezTo>
                <a:cubicBezTo>
                  <a:pt x="341" y="763"/>
                  <a:pt x="341" y="764"/>
                  <a:pt x="341" y="764"/>
                </a:cubicBezTo>
                <a:cubicBezTo>
                  <a:pt x="343" y="766"/>
                  <a:pt x="343" y="763"/>
                  <a:pt x="343" y="762"/>
                </a:cubicBezTo>
                <a:cubicBezTo>
                  <a:pt x="343" y="761"/>
                  <a:pt x="343" y="759"/>
                  <a:pt x="342" y="758"/>
                </a:cubicBezTo>
                <a:cubicBezTo>
                  <a:pt x="341" y="757"/>
                  <a:pt x="338" y="756"/>
                  <a:pt x="340" y="754"/>
                </a:cubicBezTo>
                <a:cubicBezTo>
                  <a:pt x="340" y="754"/>
                  <a:pt x="341" y="754"/>
                  <a:pt x="342" y="754"/>
                </a:cubicBezTo>
                <a:cubicBezTo>
                  <a:pt x="343" y="754"/>
                  <a:pt x="343" y="753"/>
                  <a:pt x="343" y="753"/>
                </a:cubicBezTo>
                <a:cubicBezTo>
                  <a:pt x="344" y="752"/>
                  <a:pt x="345" y="753"/>
                  <a:pt x="345" y="752"/>
                </a:cubicBezTo>
                <a:cubicBezTo>
                  <a:pt x="345" y="751"/>
                  <a:pt x="344" y="751"/>
                  <a:pt x="344" y="750"/>
                </a:cubicBezTo>
                <a:cubicBezTo>
                  <a:pt x="343" y="749"/>
                  <a:pt x="343" y="748"/>
                  <a:pt x="344" y="746"/>
                </a:cubicBezTo>
                <a:cubicBezTo>
                  <a:pt x="344" y="745"/>
                  <a:pt x="344" y="744"/>
                  <a:pt x="346" y="744"/>
                </a:cubicBezTo>
                <a:cubicBezTo>
                  <a:pt x="346" y="744"/>
                  <a:pt x="346" y="744"/>
                  <a:pt x="347" y="744"/>
                </a:cubicBezTo>
                <a:cubicBezTo>
                  <a:pt x="347" y="744"/>
                  <a:pt x="347" y="743"/>
                  <a:pt x="348" y="743"/>
                </a:cubicBezTo>
                <a:cubicBezTo>
                  <a:pt x="349" y="744"/>
                  <a:pt x="347" y="745"/>
                  <a:pt x="347" y="745"/>
                </a:cubicBezTo>
                <a:cubicBezTo>
                  <a:pt x="346" y="745"/>
                  <a:pt x="346" y="746"/>
                  <a:pt x="346" y="746"/>
                </a:cubicBezTo>
                <a:cubicBezTo>
                  <a:pt x="346" y="747"/>
                  <a:pt x="346" y="747"/>
                  <a:pt x="345" y="748"/>
                </a:cubicBezTo>
                <a:cubicBezTo>
                  <a:pt x="344" y="749"/>
                  <a:pt x="344" y="750"/>
                  <a:pt x="345" y="751"/>
                </a:cubicBezTo>
                <a:cubicBezTo>
                  <a:pt x="347" y="754"/>
                  <a:pt x="346" y="757"/>
                  <a:pt x="346" y="759"/>
                </a:cubicBezTo>
                <a:cubicBezTo>
                  <a:pt x="346" y="760"/>
                  <a:pt x="346" y="761"/>
                  <a:pt x="346" y="761"/>
                </a:cubicBezTo>
                <a:cubicBezTo>
                  <a:pt x="347" y="762"/>
                  <a:pt x="348" y="761"/>
                  <a:pt x="348" y="762"/>
                </a:cubicBezTo>
                <a:cubicBezTo>
                  <a:pt x="349" y="763"/>
                  <a:pt x="348" y="765"/>
                  <a:pt x="350" y="765"/>
                </a:cubicBezTo>
                <a:cubicBezTo>
                  <a:pt x="351" y="766"/>
                  <a:pt x="357" y="764"/>
                  <a:pt x="357" y="767"/>
                </a:cubicBezTo>
                <a:cubicBezTo>
                  <a:pt x="357" y="768"/>
                  <a:pt x="356" y="768"/>
                  <a:pt x="356" y="769"/>
                </a:cubicBezTo>
                <a:cubicBezTo>
                  <a:pt x="355" y="769"/>
                  <a:pt x="355" y="770"/>
                  <a:pt x="355" y="770"/>
                </a:cubicBezTo>
                <a:cubicBezTo>
                  <a:pt x="355" y="772"/>
                  <a:pt x="356" y="773"/>
                  <a:pt x="356" y="774"/>
                </a:cubicBezTo>
                <a:cubicBezTo>
                  <a:pt x="356" y="776"/>
                  <a:pt x="356" y="777"/>
                  <a:pt x="356" y="779"/>
                </a:cubicBezTo>
                <a:cubicBezTo>
                  <a:pt x="356" y="780"/>
                  <a:pt x="357" y="781"/>
                  <a:pt x="357" y="782"/>
                </a:cubicBezTo>
                <a:cubicBezTo>
                  <a:pt x="357" y="783"/>
                  <a:pt x="357" y="784"/>
                  <a:pt x="357" y="785"/>
                </a:cubicBezTo>
                <a:cubicBezTo>
                  <a:pt x="357" y="786"/>
                  <a:pt x="357" y="787"/>
                  <a:pt x="358" y="788"/>
                </a:cubicBezTo>
                <a:cubicBezTo>
                  <a:pt x="359" y="789"/>
                  <a:pt x="360" y="789"/>
                  <a:pt x="361" y="790"/>
                </a:cubicBezTo>
                <a:cubicBezTo>
                  <a:pt x="361" y="791"/>
                  <a:pt x="361" y="791"/>
                  <a:pt x="362" y="791"/>
                </a:cubicBezTo>
                <a:cubicBezTo>
                  <a:pt x="364" y="791"/>
                  <a:pt x="365" y="791"/>
                  <a:pt x="364" y="789"/>
                </a:cubicBezTo>
                <a:cubicBezTo>
                  <a:pt x="364" y="789"/>
                  <a:pt x="364" y="788"/>
                  <a:pt x="364" y="787"/>
                </a:cubicBezTo>
                <a:cubicBezTo>
                  <a:pt x="364" y="787"/>
                  <a:pt x="365" y="787"/>
                  <a:pt x="366" y="787"/>
                </a:cubicBezTo>
                <a:cubicBezTo>
                  <a:pt x="366" y="788"/>
                  <a:pt x="365" y="789"/>
                  <a:pt x="365" y="789"/>
                </a:cubicBezTo>
                <a:cubicBezTo>
                  <a:pt x="365" y="790"/>
                  <a:pt x="365" y="791"/>
                  <a:pt x="365" y="792"/>
                </a:cubicBezTo>
                <a:cubicBezTo>
                  <a:pt x="365" y="793"/>
                  <a:pt x="363" y="793"/>
                  <a:pt x="362" y="794"/>
                </a:cubicBezTo>
                <a:cubicBezTo>
                  <a:pt x="361" y="795"/>
                  <a:pt x="361" y="796"/>
                  <a:pt x="363" y="796"/>
                </a:cubicBezTo>
                <a:cubicBezTo>
                  <a:pt x="364" y="795"/>
                  <a:pt x="364" y="795"/>
                  <a:pt x="365" y="795"/>
                </a:cubicBezTo>
                <a:cubicBezTo>
                  <a:pt x="366" y="795"/>
                  <a:pt x="366" y="796"/>
                  <a:pt x="367" y="796"/>
                </a:cubicBezTo>
                <a:cubicBezTo>
                  <a:pt x="368" y="796"/>
                  <a:pt x="368" y="795"/>
                  <a:pt x="368" y="795"/>
                </a:cubicBezTo>
                <a:cubicBezTo>
                  <a:pt x="369" y="794"/>
                  <a:pt x="369" y="794"/>
                  <a:pt x="369" y="794"/>
                </a:cubicBezTo>
                <a:cubicBezTo>
                  <a:pt x="371" y="792"/>
                  <a:pt x="367" y="792"/>
                  <a:pt x="368" y="791"/>
                </a:cubicBezTo>
                <a:cubicBezTo>
                  <a:pt x="368" y="790"/>
                  <a:pt x="369" y="790"/>
                  <a:pt x="369" y="791"/>
                </a:cubicBezTo>
                <a:cubicBezTo>
                  <a:pt x="370" y="791"/>
                  <a:pt x="370" y="792"/>
                  <a:pt x="370" y="792"/>
                </a:cubicBezTo>
                <a:cubicBezTo>
                  <a:pt x="370" y="794"/>
                  <a:pt x="369" y="795"/>
                  <a:pt x="369" y="796"/>
                </a:cubicBezTo>
                <a:cubicBezTo>
                  <a:pt x="368" y="797"/>
                  <a:pt x="368" y="798"/>
                  <a:pt x="368" y="800"/>
                </a:cubicBezTo>
                <a:cubicBezTo>
                  <a:pt x="368" y="801"/>
                  <a:pt x="368" y="801"/>
                  <a:pt x="367" y="801"/>
                </a:cubicBezTo>
                <a:cubicBezTo>
                  <a:pt x="367" y="802"/>
                  <a:pt x="367" y="802"/>
                  <a:pt x="367" y="803"/>
                </a:cubicBezTo>
                <a:cubicBezTo>
                  <a:pt x="367" y="803"/>
                  <a:pt x="367" y="804"/>
                  <a:pt x="367" y="805"/>
                </a:cubicBezTo>
                <a:cubicBezTo>
                  <a:pt x="367" y="805"/>
                  <a:pt x="368" y="805"/>
                  <a:pt x="368" y="806"/>
                </a:cubicBezTo>
                <a:cubicBezTo>
                  <a:pt x="368" y="807"/>
                  <a:pt x="367" y="808"/>
                  <a:pt x="369" y="809"/>
                </a:cubicBezTo>
                <a:cubicBezTo>
                  <a:pt x="370" y="811"/>
                  <a:pt x="371" y="812"/>
                  <a:pt x="371" y="814"/>
                </a:cubicBezTo>
                <a:cubicBezTo>
                  <a:pt x="370" y="816"/>
                  <a:pt x="370" y="817"/>
                  <a:pt x="372" y="818"/>
                </a:cubicBezTo>
                <a:cubicBezTo>
                  <a:pt x="373" y="819"/>
                  <a:pt x="373" y="820"/>
                  <a:pt x="374" y="821"/>
                </a:cubicBezTo>
                <a:cubicBezTo>
                  <a:pt x="374" y="823"/>
                  <a:pt x="375" y="823"/>
                  <a:pt x="376" y="825"/>
                </a:cubicBezTo>
                <a:cubicBezTo>
                  <a:pt x="378" y="827"/>
                  <a:pt x="378" y="829"/>
                  <a:pt x="381" y="831"/>
                </a:cubicBezTo>
                <a:cubicBezTo>
                  <a:pt x="382" y="832"/>
                  <a:pt x="383" y="832"/>
                  <a:pt x="384" y="834"/>
                </a:cubicBezTo>
                <a:cubicBezTo>
                  <a:pt x="384" y="835"/>
                  <a:pt x="385" y="836"/>
                  <a:pt x="386" y="837"/>
                </a:cubicBezTo>
                <a:cubicBezTo>
                  <a:pt x="386" y="837"/>
                  <a:pt x="387" y="837"/>
                  <a:pt x="387" y="838"/>
                </a:cubicBezTo>
                <a:cubicBezTo>
                  <a:pt x="388" y="838"/>
                  <a:pt x="388" y="838"/>
                  <a:pt x="389" y="839"/>
                </a:cubicBezTo>
                <a:cubicBezTo>
                  <a:pt x="390" y="839"/>
                  <a:pt x="391" y="841"/>
                  <a:pt x="390" y="842"/>
                </a:cubicBezTo>
                <a:cubicBezTo>
                  <a:pt x="390" y="843"/>
                  <a:pt x="388" y="843"/>
                  <a:pt x="387" y="843"/>
                </a:cubicBezTo>
                <a:cubicBezTo>
                  <a:pt x="386" y="843"/>
                  <a:pt x="385" y="843"/>
                  <a:pt x="385" y="844"/>
                </a:cubicBezTo>
                <a:cubicBezTo>
                  <a:pt x="385" y="844"/>
                  <a:pt x="386" y="844"/>
                  <a:pt x="386" y="845"/>
                </a:cubicBezTo>
                <a:cubicBezTo>
                  <a:pt x="387" y="845"/>
                  <a:pt x="388" y="847"/>
                  <a:pt x="387" y="848"/>
                </a:cubicBezTo>
                <a:cubicBezTo>
                  <a:pt x="386" y="849"/>
                  <a:pt x="384" y="848"/>
                  <a:pt x="383" y="847"/>
                </a:cubicBezTo>
                <a:cubicBezTo>
                  <a:pt x="382" y="847"/>
                  <a:pt x="382" y="848"/>
                  <a:pt x="382" y="848"/>
                </a:cubicBezTo>
                <a:cubicBezTo>
                  <a:pt x="383" y="850"/>
                  <a:pt x="384" y="850"/>
                  <a:pt x="385" y="851"/>
                </a:cubicBezTo>
                <a:cubicBezTo>
                  <a:pt x="385" y="853"/>
                  <a:pt x="385" y="854"/>
                  <a:pt x="386" y="855"/>
                </a:cubicBezTo>
                <a:cubicBezTo>
                  <a:pt x="387" y="856"/>
                  <a:pt x="388" y="857"/>
                  <a:pt x="388" y="858"/>
                </a:cubicBezTo>
                <a:cubicBezTo>
                  <a:pt x="389" y="859"/>
                  <a:pt x="389" y="861"/>
                  <a:pt x="389" y="862"/>
                </a:cubicBezTo>
                <a:cubicBezTo>
                  <a:pt x="390" y="862"/>
                  <a:pt x="390" y="862"/>
                  <a:pt x="391" y="863"/>
                </a:cubicBezTo>
                <a:cubicBezTo>
                  <a:pt x="391" y="863"/>
                  <a:pt x="391" y="863"/>
                  <a:pt x="392" y="864"/>
                </a:cubicBezTo>
                <a:cubicBezTo>
                  <a:pt x="392" y="864"/>
                  <a:pt x="393" y="865"/>
                  <a:pt x="393" y="865"/>
                </a:cubicBezTo>
                <a:cubicBezTo>
                  <a:pt x="392" y="866"/>
                  <a:pt x="392" y="866"/>
                  <a:pt x="391" y="866"/>
                </a:cubicBezTo>
                <a:cubicBezTo>
                  <a:pt x="391" y="868"/>
                  <a:pt x="392" y="870"/>
                  <a:pt x="390" y="871"/>
                </a:cubicBezTo>
                <a:cubicBezTo>
                  <a:pt x="390" y="872"/>
                  <a:pt x="389" y="873"/>
                  <a:pt x="388" y="873"/>
                </a:cubicBezTo>
                <a:cubicBezTo>
                  <a:pt x="388" y="874"/>
                  <a:pt x="390" y="874"/>
                  <a:pt x="390" y="874"/>
                </a:cubicBezTo>
                <a:cubicBezTo>
                  <a:pt x="391" y="873"/>
                  <a:pt x="391" y="873"/>
                  <a:pt x="392" y="873"/>
                </a:cubicBezTo>
                <a:cubicBezTo>
                  <a:pt x="393" y="873"/>
                  <a:pt x="394" y="873"/>
                  <a:pt x="396" y="874"/>
                </a:cubicBezTo>
                <a:cubicBezTo>
                  <a:pt x="397" y="874"/>
                  <a:pt x="398" y="875"/>
                  <a:pt x="400" y="875"/>
                </a:cubicBezTo>
                <a:cubicBezTo>
                  <a:pt x="401" y="875"/>
                  <a:pt x="402" y="875"/>
                  <a:pt x="404" y="875"/>
                </a:cubicBezTo>
                <a:cubicBezTo>
                  <a:pt x="405" y="875"/>
                  <a:pt x="406" y="874"/>
                  <a:pt x="407" y="873"/>
                </a:cubicBezTo>
                <a:cubicBezTo>
                  <a:pt x="408" y="873"/>
                  <a:pt x="410" y="873"/>
                  <a:pt x="411" y="873"/>
                </a:cubicBezTo>
                <a:cubicBezTo>
                  <a:pt x="413" y="873"/>
                  <a:pt x="413" y="874"/>
                  <a:pt x="415" y="874"/>
                </a:cubicBezTo>
                <a:cubicBezTo>
                  <a:pt x="416" y="874"/>
                  <a:pt x="417" y="872"/>
                  <a:pt x="417" y="871"/>
                </a:cubicBezTo>
                <a:cubicBezTo>
                  <a:pt x="418" y="870"/>
                  <a:pt x="420" y="868"/>
                  <a:pt x="419" y="867"/>
                </a:cubicBezTo>
                <a:cubicBezTo>
                  <a:pt x="418" y="866"/>
                  <a:pt x="418" y="866"/>
                  <a:pt x="418" y="865"/>
                </a:cubicBezTo>
                <a:cubicBezTo>
                  <a:pt x="417" y="864"/>
                  <a:pt x="418" y="863"/>
                  <a:pt x="417" y="863"/>
                </a:cubicBezTo>
                <a:cubicBezTo>
                  <a:pt x="417" y="861"/>
                  <a:pt x="417" y="860"/>
                  <a:pt x="417" y="859"/>
                </a:cubicBezTo>
                <a:cubicBezTo>
                  <a:pt x="418" y="858"/>
                  <a:pt x="418" y="858"/>
                  <a:pt x="418" y="857"/>
                </a:cubicBezTo>
                <a:cubicBezTo>
                  <a:pt x="419" y="857"/>
                  <a:pt x="419" y="856"/>
                  <a:pt x="420" y="856"/>
                </a:cubicBezTo>
                <a:cubicBezTo>
                  <a:pt x="421" y="855"/>
                  <a:pt x="422" y="854"/>
                  <a:pt x="424" y="854"/>
                </a:cubicBezTo>
                <a:cubicBezTo>
                  <a:pt x="424" y="854"/>
                  <a:pt x="425" y="853"/>
                  <a:pt x="426" y="853"/>
                </a:cubicBezTo>
                <a:cubicBezTo>
                  <a:pt x="427" y="853"/>
                  <a:pt x="428" y="853"/>
                  <a:pt x="429" y="853"/>
                </a:cubicBezTo>
                <a:cubicBezTo>
                  <a:pt x="432" y="853"/>
                  <a:pt x="434" y="851"/>
                  <a:pt x="436" y="851"/>
                </a:cubicBezTo>
                <a:cubicBezTo>
                  <a:pt x="437" y="851"/>
                  <a:pt x="438" y="851"/>
                  <a:pt x="439" y="851"/>
                </a:cubicBezTo>
                <a:cubicBezTo>
                  <a:pt x="439" y="851"/>
                  <a:pt x="440" y="850"/>
                  <a:pt x="440" y="850"/>
                </a:cubicBezTo>
                <a:cubicBezTo>
                  <a:pt x="442" y="850"/>
                  <a:pt x="444" y="850"/>
                  <a:pt x="445" y="851"/>
                </a:cubicBezTo>
                <a:cubicBezTo>
                  <a:pt x="446" y="851"/>
                  <a:pt x="446" y="852"/>
                  <a:pt x="447" y="853"/>
                </a:cubicBezTo>
                <a:cubicBezTo>
                  <a:pt x="448" y="853"/>
                  <a:pt x="448" y="853"/>
                  <a:pt x="449" y="853"/>
                </a:cubicBezTo>
                <a:cubicBezTo>
                  <a:pt x="449" y="852"/>
                  <a:pt x="450" y="852"/>
                  <a:pt x="450" y="851"/>
                </a:cubicBezTo>
                <a:cubicBezTo>
                  <a:pt x="451" y="850"/>
                  <a:pt x="451" y="849"/>
                  <a:pt x="452" y="848"/>
                </a:cubicBezTo>
                <a:cubicBezTo>
                  <a:pt x="453" y="846"/>
                  <a:pt x="454" y="844"/>
                  <a:pt x="455" y="842"/>
                </a:cubicBezTo>
                <a:cubicBezTo>
                  <a:pt x="456" y="841"/>
                  <a:pt x="457" y="840"/>
                  <a:pt x="458" y="838"/>
                </a:cubicBezTo>
                <a:cubicBezTo>
                  <a:pt x="458" y="837"/>
                  <a:pt x="459" y="836"/>
                  <a:pt x="460" y="835"/>
                </a:cubicBezTo>
                <a:cubicBezTo>
                  <a:pt x="461" y="834"/>
                  <a:pt x="461" y="833"/>
                  <a:pt x="460" y="831"/>
                </a:cubicBezTo>
                <a:cubicBezTo>
                  <a:pt x="460" y="830"/>
                  <a:pt x="460" y="829"/>
                  <a:pt x="460" y="828"/>
                </a:cubicBezTo>
                <a:cubicBezTo>
                  <a:pt x="461" y="827"/>
                  <a:pt x="463" y="826"/>
                  <a:pt x="462" y="825"/>
                </a:cubicBezTo>
                <a:cubicBezTo>
                  <a:pt x="462" y="824"/>
                  <a:pt x="461" y="824"/>
                  <a:pt x="461" y="823"/>
                </a:cubicBezTo>
                <a:cubicBezTo>
                  <a:pt x="461" y="823"/>
                  <a:pt x="461" y="822"/>
                  <a:pt x="461" y="821"/>
                </a:cubicBezTo>
                <a:cubicBezTo>
                  <a:pt x="461" y="820"/>
                  <a:pt x="461" y="818"/>
                  <a:pt x="462" y="817"/>
                </a:cubicBezTo>
                <a:cubicBezTo>
                  <a:pt x="464" y="816"/>
                  <a:pt x="465" y="816"/>
                  <a:pt x="464" y="814"/>
                </a:cubicBezTo>
                <a:cubicBezTo>
                  <a:pt x="464" y="812"/>
                  <a:pt x="462" y="812"/>
                  <a:pt x="463" y="810"/>
                </a:cubicBezTo>
                <a:cubicBezTo>
                  <a:pt x="463" y="810"/>
                  <a:pt x="463" y="809"/>
                  <a:pt x="464" y="809"/>
                </a:cubicBezTo>
                <a:cubicBezTo>
                  <a:pt x="464" y="808"/>
                  <a:pt x="465" y="808"/>
                  <a:pt x="465" y="808"/>
                </a:cubicBezTo>
                <a:cubicBezTo>
                  <a:pt x="466" y="807"/>
                  <a:pt x="465" y="805"/>
                  <a:pt x="464" y="804"/>
                </a:cubicBezTo>
                <a:cubicBezTo>
                  <a:pt x="464" y="804"/>
                  <a:pt x="463" y="804"/>
                  <a:pt x="463" y="803"/>
                </a:cubicBezTo>
                <a:cubicBezTo>
                  <a:pt x="463" y="802"/>
                  <a:pt x="463" y="802"/>
                  <a:pt x="463" y="802"/>
                </a:cubicBezTo>
                <a:cubicBezTo>
                  <a:pt x="464" y="802"/>
                  <a:pt x="464" y="802"/>
                  <a:pt x="464" y="802"/>
                </a:cubicBezTo>
                <a:cubicBezTo>
                  <a:pt x="465" y="803"/>
                  <a:pt x="466" y="803"/>
                  <a:pt x="467" y="802"/>
                </a:cubicBezTo>
                <a:cubicBezTo>
                  <a:pt x="468" y="801"/>
                  <a:pt x="463" y="799"/>
                  <a:pt x="465" y="798"/>
                </a:cubicBezTo>
                <a:cubicBezTo>
                  <a:pt x="466" y="797"/>
                  <a:pt x="467" y="797"/>
                  <a:pt x="467" y="797"/>
                </a:cubicBezTo>
                <a:cubicBezTo>
                  <a:pt x="468" y="796"/>
                  <a:pt x="468" y="795"/>
                  <a:pt x="468" y="795"/>
                </a:cubicBezTo>
                <a:cubicBezTo>
                  <a:pt x="468" y="793"/>
                  <a:pt x="467" y="792"/>
                  <a:pt x="466" y="791"/>
                </a:cubicBezTo>
                <a:cubicBezTo>
                  <a:pt x="465" y="790"/>
                  <a:pt x="466" y="788"/>
                  <a:pt x="464" y="787"/>
                </a:cubicBezTo>
                <a:cubicBezTo>
                  <a:pt x="464" y="787"/>
                  <a:pt x="463" y="787"/>
                  <a:pt x="462" y="787"/>
                </a:cubicBezTo>
                <a:cubicBezTo>
                  <a:pt x="461" y="786"/>
                  <a:pt x="462" y="786"/>
                  <a:pt x="463" y="786"/>
                </a:cubicBezTo>
                <a:cubicBezTo>
                  <a:pt x="463" y="786"/>
                  <a:pt x="464" y="787"/>
                  <a:pt x="464" y="787"/>
                </a:cubicBezTo>
                <a:cubicBezTo>
                  <a:pt x="465" y="787"/>
                  <a:pt x="466" y="787"/>
                  <a:pt x="466" y="787"/>
                </a:cubicBezTo>
                <a:cubicBezTo>
                  <a:pt x="467" y="788"/>
                  <a:pt x="468" y="787"/>
                  <a:pt x="468" y="787"/>
                </a:cubicBezTo>
                <a:cubicBezTo>
                  <a:pt x="469" y="787"/>
                  <a:pt x="470" y="787"/>
                  <a:pt x="470" y="786"/>
                </a:cubicBezTo>
                <a:cubicBezTo>
                  <a:pt x="471" y="785"/>
                  <a:pt x="468" y="784"/>
                  <a:pt x="467" y="784"/>
                </a:cubicBezTo>
                <a:cubicBezTo>
                  <a:pt x="467" y="783"/>
                  <a:pt x="467" y="783"/>
                  <a:pt x="466" y="783"/>
                </a:cubicBezTo>
                <a:cubicBezTo>
                  <a:pt x="466" y="782"/>
                  <a:pt x="465" y="782"/>
                  <a:pt x="464" y="782"/>
                </a:cubicBezTo>
                <a:cubicBezTo>
                  <a:pt x="464" y="782"/>
                  <a:pt x="463" y="782"/>
                  <a:pt x="464" y="781"/>
                </a:cubicBezTo>
                <a:cubicBezTo>
                  <a:pt x="464" y="781"/>
                  <a:pt x="465" y="782"/>
                  <a:pt x="465" y="782"/>
                </a:cubicBezTo>
                <a:cubicBezTo>
                  <a:pt x="466" y="782"/>
                  <a:pt x="468" y="781"/>
                  <a:pt x="469" y="781"/>
                </a:cubicBezTo>
                <a:cubicBezTo>
                  <a:pt x="470" y="781"/>
                  <a:pt x="470" y="782"/>
                  <a:pt x="471" y="782"/>
                </a:cubicBezTo>
                <a:cubicBezTo>
                  <a:pt x="471" y="781"/>
                  <a:pt x="472" y="780"/>
                  <a:pt x="472" y="780"/>
                </a:cubicBezTo>
                <a:cubicBezTo>
                  <a:pt x="473" y="779"/>
                  <a:pt x="474" y="780"/>
                  <a:pt x="475" y="780"/>
                </a:cubicBezTo>
                <a:cubicBezTo>
                  <a:pt x="476" y="780"/>
                  <a:pt x="477" y="779"/>
                  <a:pt x="479" y="778"/>
                </a:cubicBezTo>
                <a:cubicBezTo>
                  <a:pt x="479" y="778"/>
                  <a:pt x="480" y="778"/>
                  <a:pt x="481" y="777"/>
                </a:cubicBezTo>
                <a:cubicBezTo>
                  <a:pt x="481" y="777"/>
                  <a:pt x="481" y="776"/>
                  <a:pt x="482" y="775"/>
                </a:cubicBezTo>
                <a:cubicBezTo>
                  <a:pt x="482" y="775"/>
                  <a:pt x="482" y="774"/>
                  <a:pt x="483" y="773"/>
                </a:cubicBezTo>
                <a:cubicBezTo>
                  <a:pt x="483" y="773"/>
                  <a:pt x="484" y="773"/>
                  <a:pt x="484" y="773"/>
                </a:cubicBezTo>
                <a:cubicBezTo>
                  <a:pt x="485" y="772"/>
                  <a:pt x="485" y="771"/>
                  <a:pt x="485" y="771"/>
                </a:cubicBezTo>
                <a:cubicBezTo>
                  <a:pt x="485" y="770"/>
                  <a:pt x="485" y="769"/>
                  <a:pt x="485" y="769"/>
                </a:cubicBezTo>
                <a:cubicBezTo>
                  <a:pt x="486" y="768"/>
                  <a:pt x="486" y="771"/>
                  <a:pt x="486" y="771"/>
                </a:cubicBezTo>
                <a:cubicBezTo>
                  <a:pt x="486" y="772"/>
                  <a:pt x="486" y="773"/>
                  <a:pt x="486" y="774"/>
                </a:cubicBezTo>
                <a:cubicBezTo>
                  <a:pt x="486" y="775"/>
                  <a:pt x="486" y="774"/>
                  <a:pt x="487" y="775"/>
                </a:cubicBezTo>
                <a:cubicBezTo>
                  <a:pt x="488" y="775"/>
                  <a:pt x="487" y="776"/>
                  <a:pt x="488" y="776"/>
                </a:cubicBezTo>
                <a:cubicBezTo>
                  <a:pt x="490" y="775"/>
                  <a:pt x="489" y="773"/>
                  <a:pt x="491" y="772"/>
                </a:cubicBezTo>
                <a:cubicBezTo>
                  <a:pt x="491" y="772"/>
                  <a:pt x="492" y="772"/>
                  <a:pt x="493" y="771"/>
                </a:cubicBezTo>
                <a:cubicBezTo>
                  <a:pt x="493" y="771"/>
                  <a:pt x="494" y="770"/>
                  <a:pt x="494" y="770"/>
                </a:cubicBezTo>
                <a:cubicBezTo>
                  <a:pt x="495" y="769"/>
                  <a:pt x="495" y="768"/>
                  <a:pt x="496" y="768"/>
                </a:cubicBezTo>
                <a:cubicBezTo>
                  <a:pt x="497" y="768"/>
                  <a:pt x="497" y="768"/>
                  <a:pt x="498" y="767"/>
                </a:cubicBezTo>
                <a:cubicBezTo>
                  <a:pt x="499" y="767"/>
                  <a:pt x="500" y="766"/>
                  <a:pt x="500" y="766"/>
                </a:cubicBezTo>
                <a:cubicBezTo>
                  <a:pt x="500" y="765"/>
                  <a:pt x="499" y="765"/>
                  <a:pt x="499" y="764"/>
                </a:cubicBezTo>
                <a:cubicBezTo>
                  <a:pt x="498" y="764"/>
                  <a:pt x="498" y="763"/>
                  <a:pt x="498" y="762"/>
                </a:cubicBezTo>
                <a:cubicBezTo>
                  <a:pt x="499" y="762"/>
                  <a:pt x="500" y="763"/>
                  <a:pt x="500" y="763"/>
                </a:cubicBezTo>
                <a:cubicBezTo>
                  <a:pt x="501" y="764"/>
                  <a:pt x="501" y="764"/>
                  <a:pt x="502" y="763"/>
                </a:cubicBezTo>
                <a:cubicBezTo>
                  <a:pt x="503" y="763"/>
                  <a:pt x="505" y="762"/>
                  <a:pt x="504" y="761"/>
                </a:cubicBezTo>
                <a:cubicBezTo>
                  <a:pt x="504" y="761"/>
                  <a:pt x="503" y="761"/>
                  <a:pt x="503" y="761"/>
                </a:cubicBezTo>
                <a:cubicBezTo>
                  <a:pt x="502" y="760"/>
                  <a:pt x="502" y="760"/>
                  <a:pt x="502" y="759"/>
                </a:cubicBezTo>
                <a:cubicBezTo>
                  <a:pt x="501" y="759"/>
                  <a:pt x="500" y="758"/>
                  <a:pt x="499" y="758"/>
                </a:cubicBezTo>
                <a:cubicBezTo>
                  <a:pt x="499" y="759"/>
                  <a:pt x="499" y="759"/>
                  <a:pt x="499" y="760"/>
                </a:cubicBezTo>
                <a:cubicBezTo>
                  <a:pt x="498" y="760"/>
                  <a:pt x="497" y="759"/>
                  <a:pt x="497" y="759"/>
                </a:cubicBezTo>
                <a:cubicBezTo>
                  <a:pt x="495" y="759"/>
                  <a:pt x="495" y="761"/>
                  <a:pt x="494" y="761"/>
                </a:cubicBezTo>
                <a:cubicBezTo>
                  <a:pt x="493" y="759"/>
                  <a:pt x="495" y="759"/>
                  <a:pt x="496" y="759"/>
                </a:cubicBezTo>
                <a:cubicBezTo>
                  <a:pt x="497" y="758"/>
                  <a:pt x="497" y="758"/>
                  <a:pt x="497" y="758"/>
                </a:cubicBezTo>
                <a:cubicBezTo>
                  <a:pt x="497" y="756"/>
                  <a:pt x="499" y="755"/>
                  <a:pt x="500" y="754"/>
                </a:cubicBezTo>
                <a:cubicBezTo>
                  <a:pt x="501" y="753"/>
                  <a:pt x="503" y="753"/>
                  <a:pt x="504" y="752"/>
                </a:cubicBezTo>
                <a:cubicBezTo>
                  <a:pt x="505" y="751"/>
                  <a:pt x="506" y="750"/>
                  <a:pt x="507" y="750"/>
                </a:cubicBezTo>
                <a:cubicBezTo>
                  <a:pt x="508" y="750"/>
                  <a:pt x="508" y="749"/>
                  <a:pt x="509" y="749"/>
                </a:cubicBezTo>
                <a:cubicBezTo>
                  <a:pt x="510" y="749"/>
                  <a:pt x="510" y="749"/>
                  <a:pt x="511" y="749"/>
                </a:cubicBezTo>
                <a:cubicBezTo>
                  <a:pt x="512" y="749"/>
                  <a:pt x="512" y="748"/>
                  <a:pt x="512" y="748"/>
                </a:cubicBezTo>
                <a:cubicBezTo>
                  <a:pt x="512" y="747"/>
                  <a:pt x="511" y="746"/>
                  <a:pt x="511" y="746"/>
                </a:cubicBezTo>
                <a:cubicBezTo>
                  <a:pt x="510" y="745"/>
                  <a:pt x="510" y="744"/>
                  <a:pt x="509" y="742"/>
                </a:cubicBezTo>
                <a:cubicBezTo>
                  <a:pt x="509" y="742"/>
                  <a:pt x="509" y="741"/>
                  <a:pt x="508" y="741"/>
                </a:cubicBezTo>
                <a:cubicBezTo>
                  <a:pt x="508" y="740"/>
                  <a:pt x="508" y="739"/>
                  <a:pt x="508" y="739"/>
                </a:cubicBezTo>
                <a:cubicBezTo>
                  <a:pt x="507" y="737"/>
                  <a:pt x="505" y="737"/>
                  <a:pt x="504" y="737"/>
                </a:cubicBezTo>
                <a:cubicBezTo>
                  <a:pt x="502" y="737"/>
                  <a:pt x="502" y="737"/>
                  <a:pt x="502" y="735"/>
                </a:cubicBezTo>
                <a:cubicBezTo>
                  <a:pt x="502" y="733"/>
                  <a:pt x="502" y="732"/>
                  <a:pt x="500" y="731"/>
                </a:cubicBezTo>
                <a:cubicBezTo>
                  <a:pt x="498" y="729"/>
                  <a:pt x="495" y="729"/>
                  <a:pt x="493" y="726"/>
                </a:cubicBezTo>
                <a:cubicBezTo>
                  <a:pt x="492" y="725"/>
                  <a:pt x="490" y="721"/>
                  <a:pt x="488" y="724"/>
                </a:cubicBezTo>
                <a:cubicBezTo>
                  <a:pt x="487" y="725"/>
                  <a:pt x="486" y="726"/>
                  <a:pt x="484" y="726"/>
                </a:cubicBezTo>
                <a:cubicBezTo>
                  <a:pt x="483" y="726"/>
                  <a:pt x="482" y="724"/>
                  <a:pt x="481" y="723"/>
                </a:cubicBezTo>
                <a:cubicBezTo>
                  <a:pt x="480" y="722"/>
                  <a:pt x="479" y="722"/>
                  <a:pt x="478" y="721"/>
                </a:cubicBezTo>
                <a:cubicBezTo>
                  <a:pt x="477" y="721"/>
                  <a:pt x="474" y="720"/>
                  <a:pt x="476" y="720"/>
                </a:cubicBezTo>
                <a:cubicBezTo>
                  <a:pt x="477" y="720"/>
                  <a:pt x="478" y="720"/>
                  <a:pt x="477" y="719"/>
                </a:cubicBezTo>
                <a:cubicBezTo>
                  <a:pt x="477" y="718"/>
                  <a:pt x="477" y="718"/>
                  <a:pt x="476" y="717"/>
                </a:cubicBezTo>
                <a:cubicBezTo>
                  <a:pt x="476" y="717"/>
                  <a:pt x="475" y="716"/>
                  <a:pt x="475" y="715"/>
                </a:cubicBezTo>
                <a:cubicBezTo>
                  <a:pt x="475" y="715"/>
                  <a:pt x="475" y="714"/>
                  <a:pt x="475" y="714"/>
                </a:cubicBezTo>
                <a:cubicBezTo>
                  <a:pt x="474" y="713"/>
                  <a:pt x="474" y="712"/>
                  <a:pt x="473" y="712"/>
                </a:cubicBezTo>
                <a:cubicBezTo>
                  <a:pt x="472" y="710"/>
                  <a:pt x="473" y="707"/>
                  <a:pt x="473" y="706"/>
                </a:cubicBezTo>
                <a:cubicBezTo>
                  <a:pt x="473" y="705"/>
                  <a:pt x="473" y="704"/>
                  <a:pt x="473" y="704"/>
                </a:cubicBezTo>
                <a:cubicBezTo>
                  <a:pt x="474" y="703"/>
                  <a:pt x="474" y="704"/>
                  <a:pt x="475" y="703"/>
                </a:cubicBezTo>
                <a:cubicBezTo>
                  <a:pt x="476" y="703"/>
                  <a:pt x="475" y="702"/>
                  <a:pt x="475" y="702"/>
                </a:cubicBezTo>
                <a:cubicBezTo>
                  <a:pt x="474" y="701"/>
                  <a:pt x="474" y="701"/>
                  <a:pt x="473" y="700"/>
                </a:cubicBezTo>
                <a:cubicBezTo>
                  <a:pt x="473" y="699"/>
                  <a:pt x="473" y="699"/>
                  <a:pt x="473" y="698"/>
                </a:cubicBezTo>
                <a:cubicBezTo>
                  <a:pt x="473" y="697"/>
                  <a:pt x="473" y="696"/>
                  <a:pt x="473" y="696"/>
                </a:cubicBezTo>
                <a:cubicBezTo>
                  <a:pt x="473" y="695"/>
                  <a:pt x="474" y="696"/>
                  <a:pt x="475" y="695"/>
                </a:cubicBezTo>
                <a:cubicBezTo>
                  <a:pt x="475" y="693"/>
                  <a:pt x="473" y="693"/>
                  <a:pt x="474" y="691"/>
                </a:cubicBezTo>
                <a:cubicBezTo>
                  <a:pt x="474" y="690"/>
                  <a:pt x="476" y="689"/>
                  <a:pt x="477" y="690"/>
                </a:cubicBezTo>
                <a:cubicBezTo>
                  <a:pt x="477" y="690"/>
                  <a:pt x="478" y="691"/>
                  <a:pt x="478" y="691"/>
                </a:cubicBezTo>
                <a:cubicBezTo>
                  <a:pt x="479" y="692"/>
                  <a:pt x="479" y="692"/>
                  <a:pt x="479" y="693"/>
                </a:cubicBezTo>
                <a:cubicBezTo>
                  <a:pt x="480" y="693"/>
                  <a:pt x="481" y="693"/>
                  <a:pt x="480" y="692"/>
                </a:cubicBezTo>
                <a:cubicBezTo>
                  <a:pt x="480" y="691"/>
                  <a:pt x="479" y="691"/>
                  <a:pt x="479" y="690"/>
                </a:cubicBezTo>
                <a:cubicBezTo>
                  <a:pt x="479" y="690"/>
                  <a:pt x="479" y="689"/>
                  <a:pt x="479" y="689"/>
                </a:cubicBezTo>
                <a:cubicBezTo>
                  <a:pt x="478" y="688"/>
                  <a:pt x="478" y="688"/>
                  <a:pt x="478" y="687"/>
                </a:cubicBezTo>
                <a:cubicBezTo>
                  <a:pt x="477" y="686"/>
                  <a:pt x="477" y="685"/>
                  <a:pt x="478" y="683"/>
                </a:cubicBezTo>
                <a:cubicBezTo>
                  <a:pt x="478" y="683"/>
                  <a:pt x="478" y="682"/>
                  <a:pt x="479" y="682"/>
                </a:cubicBezTo>
                <a:cubicBezTo>
                  <a:pt x="479" y="681"/>
                  <a:pt x="479" y="681"/>
                  <a:pt x="479" y="680"/>
                </a:cubicBezTo>
                <a:cubicBezTo>
                  <a:pt x="480" y="679"/>
                  <a:pt x="481" y="678"/>
                  <a:pt x="481" y="676"/>
                </a:cubicBezTo>
                <a:cubicBezTo>
                  <a:pt x="481" y="675"/>
                  <a:pt x="481" y="673"/>
                  <a:pt x="481" y="672"/>
                </a:cubicBezTo>
                <a:cubicBezTo>
                  <a:pt x="480" y="672"/>
                  <a:pt x="480" y="672"/>
                  <a:pt x="479" y="671"/>
                </a:cubicBezTo>
                <a:cubicBezTo>
                  <a:pt x="479" y="671"/>
                  <a:pt x="479" y="670"/>
                  <a:pt x="479" y="669"/>
                </a:cubicBezTo>
                <a:cubicBezTo>
                  <a:pt x="479" y="669"/>
                  <a:pt x="479" y="667"/>
                  <a:pt x="479" y="667"/>
                </a:cubicBezTo>
                <a:cubicBezTo>
                  <a:pt x="480" y="666"/>
                  <a:pt x="480" y="667"/>
                  <a:pt x="481" y="667"/>
                </a:cubicBezTo>
                <a:cubicBezTo>
                  <a:pt x="482" y="668"/>
                  <a:pt x="483" y="669"/>
                  <a:pt x="484" y="668"/>
                </a:cubicBezTo>
                <a:cubicBezTo>
                  <a:pt x="486" y="667"/>
                  <a:pt x="487" y="667"/>
                  <a:pt x="487" y="666"/>
                </a:cubicBezTo>
                <a:cubicBezTo>
                  <a:pt x="488" y="665"/>
                  <a:pt x="487" y="664"/>
                  <a:pt x="488" y="663"/>
                </a:cubicBezTo>
                <a:cubicBezTo>
                  <a:pt x="488" y="663"/>
                  <a:pt x="488" y="662"/>
                  <a:pt x="488" y="662"/>
                </a:cubicBezTo>
                <a:cubicBezTo>
                  <a:pt x="489" y="661"/>
                  <a:pt x="490" y="659"/>
                  <a:pt x="490" y="658"/>
                </a:cubicBezTo>
                <a:cubicBezTo>
                  <a:pt x="490" y="657"/>
                  <a:pt x="489" y="657"/>
                  <a:pt x="489" y="656"/>
                </a:cubicBezTo>
                <a:cubicBezTo>
                  <a:pt x="489" y="655"/>
                  <a:pt x="489" y="655"/>
                  <a:pt x="488" y="654"/>
                </a:cubicBezTo>
                <a:cubicBezTo>
                  <a:pt x="488" y="653"/>
                  <a:pt x="487" y="653"/>
                  <a:pt x="487" y="652"/>
                </a:cubicBezTo>
                <a:cubicBezTo>
                  <a:pt x="486" y="652"/>
                  <a:pt x="485" y="651"/>
                  <a:pt x="485" y="650"/>
                </a:cubicBezTo>
                <a:cubicBezTo>
                  <a:pt x="486" y="650"/>
                  <a:pt x="487" y="652"/>
                  <a:pt x="488" y="652"/>
                </a:cubicBezTo>
                <a:cubicBezTo>
                  <a:pt x="488" y="653"/>
                  <a:pt x="489" y="653"/>
                  <a:pt x="489" y="654"/>
                </a:cubicBezTo>
                <a:cubicBezTo>
                  <a:pt x="489" y="654"/>
                  <a:pt x="489" y="655"/>
                  <a:pt x="489" y="656"/>
                </a:cubicBezTo>
                <a:cubicBezTo>
                  <a:pt x="490" y="657"/>
                  <a:pt x="490" y="656"/>
                  <a:pt x="491" y="656"/>
                </a:cubicBezTo>
                <a:cubicBezTo>
                  <a:pt x="492" y="656"/>
                  <a:pt x="492" y="657"/>
                  <a:pt x="492" y="657"/>
                </a:cubicBezTo>
                <a:cubicBezTo>
                  <a:pt x="493" y="658"/>
                  <a:pt x="493" y="658"/>
                  <a:pt x="494" y="657"/>
                </a:cubicBezTo>
                <a:cubicBezTo>
                  <a:pt x="494" y="657"/>
                  <a:pt x="494" y="656"/>
                  <a:pt x="494" y="655"/>
                </a:cubicBezTo>
                <a:cubicBezTo>
                  <a:pt x="494" y="655"/>
                  <a:pt x="495" y="655"/>
                  <a:pt x="495" y="654"/>
                </a:cubicBezTo>
                <a:cubicBezTo>
                  <a:pt x="496" y="653"/>
                  <a:pt x="496" y="653"/>
                  <a:pt x="496" y="652"/>
                </a:cubicBezTo>
                <a:cubicBezTo>
                  <a:pt x="496" y="650"/>
                  <a:pt x="497" y="650"/>
                  <a:pt x="499" y="649"/>
                </a:cubicBezTo>
                <a:cubicBezTo>
                  <a:pt x="500" y="649"/>
                  <a:pt x="502" y="648"/>
                  <a:pt x="503" y="647"/>
                </a:cubicBezTo>
                <a:cubicBezTo>
                  <a:pt x="504" y="646"/>
                  <a:pt x="505" y="646"/>
                  <a:pt x="507" y="645"/>
                </a:cubicBezTo>
                <a:cubicBezTo>
                  <a:pt x="507" y="645"/>
                  <a:pt x="508" y="645"/>
                  <a:pt x="509" y="645"/>
                </a:cubicBezTo>
                <a:cubicBezTo>
                  <a:pt x="510" y="644"/>
                  <a:pt x="510" y="645"/>
                  <a:pt x="511" y="645"/>
                </a:cubicBezTo>
                <a:cubicBezTo>
                  <a:pt x="512" y="645"/>
                  <a:pt x="512" y="644"/>
                  <a:pt x="512" y="644"/>
                </a:cubicBezTo>
                <a:cubicBezTo>
                  <a:pt x="512" y="643"/>
                  <a:pt x="512" y="643"/>
                  <a:pt x="513" y="642"/>
                </a:cubicBezTo>
                <a:cubicBezTo>
                  <a:pt x="513" y="642"/>
                  <a:pt x="513" y="641"/>
                  <a:pt x="514" y="640"/>
                </a:cubicBezTo>
                <a:cubicBezTo>
                  <a:pt x="515" y="639"/>
                  <a:pt x="515" y="638"/>
                  <a:pt x="515" y="638"/>
                </a:cubicBezTo>
                <a:cubicBezTo>
                  <a:pt x="516" y="637"/>
                  <a:pt x="516" y="637"/>
                  <a:pt x="517" y="637"/>
                </a:cubicBezTo>
                <a:cubicBezTo>
                  <a:pt x="517" y="636"/>
                  <a:pt x="518" y="637"/>
                  <a:pt x="519" y="637"/>
                </a:cubicBezTo>
                <a:cubicBezTo>
                  <a:pt x="519" y="637"/>
                  <a:pt x="519" y="637"/>
                  <a:pt x="519" y="637"/>
                </a:cubicBezTo>
                <a:cubicBezTo>
                  <a:pt x="520" y="637"/>
                  <a:pt x="520" y="637"/>
                  <a:pt x="520" y="638"/>
                </a:cubicBezTo>
                <a:cubicBezTo>
                  <a:pt x="521" y="638"/>
                  <a:pt x="521" y="637"/>
                  <a:pt x="520" y="636"/>
                </a:cubicBezTo>
                <a:cubicBezTo>
                  <a:pt x="520" y="636"/>
                  <a:pt x="519" y="635"/>
                  <a:pt x="520" y="635"/>
                </a:cubicBezTo>
                <a:cubicBezTo>
                  <a:pt x="520" y="634"/>
                  <a:pt x="521" y="635"/>
                  <a:pt x="521" y="636"/>
                </a:cubicBezTo>
                <a:cubicBezTo>
                  <a:pt x="522" y="636"/>
                  <a:pt x="522" y="636"/>
                  <a:pt x="523" y="636"/>
                </a:cubicBezTo>
                <a:cubicBezTo>
                  <a:pt x="524" y="637"/>
                  <a:pt x="524" y="637"/>
                  <a:pt x="525" y="637"/>
                </a:cubicBezTo>
                <a:cubicBezTo>
                  <a:pt x="526" y="637"/>
                  <a:pt x="527" y="635"/>
                  <a:pt x="528" y="634"/>
                </a:cubicBezTo>
                <a:cubicBezTo>
                  <a:pt x="528" y="634"/>
                  <a:pt x="529" y="633"/>
                  <a:pt x="530" y="633"/>
                </a:cubicBezTo>
                <a:cubicBezTo>
                  <a:pt x="531" y="633"/>
                  <a:pt x="531" y="632"/>
                  <a:pt x="532" y="631"/>
                </a:cubicBezTo>
                <a:cubicBezTo>
                  <a:pt x="533" y="630"/>
                  <a:pt x="534" y="631"/>
                  <a:pt x="535" y="630"/>
                </a:cubicBezTo>
                <a:cubicBezTo>
                  <a:pt x="536" y="629"/>
                  <a:pt x="536" y="629"/>
                  <a:pt x="536" y="629"/>
                </a:cubicBezTo>
                <a:cubicBezTo>
                  <a:pt x="537" y="629"/>
                  <a:pt x="537" y="629"/>
                  <a:pt x="538" y="629"/>
                </a:cubicBezTo>
                <a:cubicBezTo>
                  <a:pt x="539" y="629"/>
                  <a:pt x="540" y="629"/>
                  <a:pt x="541" y="628"/>
                </a:cubicBezTo>
                <a:cubicBezTo>
                  <a:pt x="543" y="626"/>
                  <a:pt x="545" y="624"/>
                  <a:pt x="546" y="622"/>
                </a:cubicBezTo>
                <a:cubicBezTo>
                  <a:pt x="548" y="621"/>
                  <a:pt x="548" y="620"/>
                  <a:pt x="549" y="618"/>
                </a:cubicBezTo>
                <a:cubicBezTo>
                  <a:pt x="550" y="615"/>
                  <a:pt x="553" y="613"/>
                  <a:pt x="555" y="611"/>
                </a:cubicBezTo>
                <a:cubicBezTo>
                  <a:pt x="557" y="610"/>
                  <a:pt x="558" y="609"/>
                  <a:pt x="559" y="608"/>
                </a:cubicBezTo>
                <a:cubicBezTo>
                  <a:pt x="559" y="607"/>
                  <a:pt x="560" y="607"/>
                  <a:pt x="560" y="607"/>
                </a:cubicBezTo>
                <a:cubicBezTo>
                  <a:pt x="561" y="606"/>
                  <a:pt x="562" y="606"/>
                  <a:pt x="562" y="606"/>
                </a:cubicBezTo>
                <a:cubicBezTo>
                  <a:pt x="562" y="605"/>
                  <a:pt x="558" y="606"/>
                  <a:pt x="559" y="604"/>
                </a:cubicBezTo>
                <a:cubicBezTo>
                  <a:pt x="560" y="603"/>
                  <a:pt x="561" y="604"/>
                  <a:pt x="561" y="603"/>
                </a:cubicBezTo>
                <a:cubicBezTo>
                  <a:pt x="561" y="602"/>
                  <a:pt x="560" y="602"/>
                  <a:pt x="559" y="601"/>
                </a:cubicBezTo>
                <a:cubicBezTo>
                  <a:pt x="558" y="601"/>
                  <a:pt x="555" y="601"/>
                  <a:pt x="555" y="599"/>
                </a:cubicBezTo>
                <a:cubicBezTo>
                  <a:pt x="555" y="599"/>
                  <a:pt x="556" y="599"/>
                  <a:pt x="556" y="598"/>
                </a:cubicBezTo>
                <a:cubicBezTo>
                  <a:pt x="556" y="597"/>
                  <a:pt x="555" y="597"/>
                  <a:pt x="555" y="597"/>
                </a:cubicBezTo>
                <a:cubicBezTo>
                  <a:pt x="555" y="596"/>
                  <a:pt x="555" y="596"/>
                  <a:pt x="555" y="596"/>
                </a:cubicBezTo>
                <a:cubicBezTo>
                  <a:pt x="554" y="594"/>
                  <a:pt x="550" y="596"/>
                  <a:pt x="551" y="594"/>
                </a:cubicBezTo>
                <a:cubicBezTo>
                  <a:pt x="551" y="592"/>
                  <a:pt x="553" y="592"/>
                  <a:pt x="554" y="591"/>
                </a:cubicBezTo>
                <a:cubicBezTo>
                  <a:pt x="555" y="590"/>
                  <a:pt x="555" y="589"/>
                  <a:pt x="557" y="588"/>
                </a:cubicBezTo>
                <a:cubicBezTo>
                  <a:pt x="558" y="588"/>
                  <a:pt x="559" y="587"/>
                  <a:pt x="560" y="586"/>
                </a:cubicBezTo>
                <a:cubicBezTo>
                  <a:pt x="561" y="585"/>
                  <a:pt x="562" y="584"/>
                  <a:pt x="562" y="583"/>
                </a:cubicBezTo>
                <a:cubicBezTo>
                  <a:pt x="561" y="582"/>
                  <a:pt x="560" y="580"/>
                  <a:pt x="562" y="579"/>
                </a:cubicBezTo>
                <a:cubicBezTo>
                  <a:pt x="563" y="579"/>
                  <a:pt x="565" y="578"/>
                  <a:pt x="563" y="577"/>
                </a:cubicBezTo>
                <a:cubicBezTo>
                  <a:pt x="563" y="577"/>
                  <a:pt x="562" y="577"/>
                  <a:pt x="562" y="576"/>
                </a:cubicBezTo>
                <a:cubicBezTo>
                  <a:pt x="561" y="576"/>
                  <a:pt x="560" y="577"/>
                  <a:pt x="560" y="576"/>
                </a:cubicBezTo>
                <a:cubicBezTo>
                  <a:pt x="559" y="575"/>
                  <a:pt x="562" y="575"/>
                  <a:pt x="562" y="574"/>
                </a:cubicBezTo>
                <a:cubicBezTo>
                  <a:pt x="564" y="574"/>
                  <a:pt x="564" y="572"/>
                  <a:pt x="566" y="572"/>
                </a:cubicBezTo>
                <a:cubicBezTo>
                  <a:pt x="567" y="571"/>
                  <a:pt x="568" y="571"/>
                  <a:pt x="569" y="569"/>
                </a:cubicBezTo>
                <a:cubicBezTo>
                  <a:pt x="570" y="569"/>
                  <a:pt x="570" y="568"/>
                  <a:pt x="571" y="568"/>
                </a:cubicBezTo>
                <a:cubicBezTo>
                  <a:pt x="572" y="568"/>
                  <a:pt x="572" y="569"/>
                  <a:pt x="573" y="569"/>
                </a:cubicBezTo>
                <a:cubicBezTo>
                  <a:pt x="574" y="570"/>
                  <a:pt x="575" y="570"/>
                  <a:pt x="576" y="570"/>
                </a:cubicBezTo>
                <a:cubicBezTo>
                  <a:pt x="578" y="570"/>
                  <a:pt x="578" y="568"/>
                  <a:pt x="577" y="567"/>
                </a:cubicBezTo>
                <a:cubicBezTo>
                  <a:pt x="577" y="566"/>
                  <a:pt x="575" y="565"/>
                  <a:pt x="575" y="564"/>
                </a:cubicBezTo>
                <a:cubicBezTo>
                  <a:pt x="576" y="564"/>
                  <a:pt x="577" y="564"/>
                  <a:pt x="577" y="563"/>
                </a:cubicBezTo>
                <a:cubicBezTo>
                  <a:pt x="577" y="563"/>
                  <a:pt x="575" y="562"/>
                  <a:pt x="576" y="561"/>
                </a:cubicBezTo>
                <a:cubicBezTo>
                  <a:pt x="578" y="560"/>
                  <a:pt x="579" y="562"/>
                  <a:pt x="580" y="562"/>
                </a:cubicBezTo>
                <a:cubicBezTo>
                  <a:pt x="580" y="562"/>
                  <a:pt x="581" y="563"/>
                  <a:pt x="581" y="563"/>
                </a:cubicBezTo>
                <a:cubicBezTo>
                  <a:pt x="582" y="563"/>
                  <a:pt x="583" y="563"/>
                  <a:pt x="583" y="562"/>
                </a:cubicBezTo>
                <a:cubicBezTo>
                  <a:pt x="584" y="562"/>
                  <a:pt x="583" y="561"/>
                  <a:pt x="584" y="561"/>
                </a:cubicBezTo>
                <a:cubicBezTo>
                  <a:pt x="585" y="560"/>
                  <a:pt x="585" y="561"/>
                  <a:pt x="586" y="561"/>
                </a:cubicBezTo>
                <a:cubicBezTo>
                  <a:pt x="587" y="562"/>
                  <a:pt x="588" y="562"/>
                  <a:pt x="589" y="563"/>
                </a:cubicBezTo>
                <a:cubicBezTo>
                  <a:pt x="589" y="564"/>
                  <a:pt x="589" y="564"/>
                  <a:pt x="590" y="565"/>
                </a:cubicBezTo>
                <a:cubicBezTo>
                  <a:pt x="590" y="565"/>
                  <a:pt x="591" y="565"/>
                  <a:pt x="591" y="564"/>
                </a:cubicBezTo>
                <a:cubicBezTo>
                  <a:pt x="592" y="564"/>
                  <a:pt x="592" y="564"/>
                  <a:pt x="592" y="564"/>
                </a:cubicBezTo>
                <a:cubicBezTo>
                  <a:pt x="592" y="563"/>
                  <a:pt x="592" y="563"/>
                  <a:pt x="593" y="563"/>
                </a:cubicBezTo>
                <a:cubicBezTo>
                  <a:pt x="593" y="562"/>
                  <a:pt x="593" y="562"/>
                  <a:pt x="594" y="561"/>
                </a:cubicBezTo>
                <a:cubicBezTo>
                  <a:pt x="594" y="561"/>
                  <a:pt x="595" y="561"/>
                  <a:pt x="596" y="561"/>
                </a:cubicBezTo>
                <a:cubicBezTo>
                  <a:pt x="597" y="561"/>
                  <a:pt x="598" y="562"/>
                  <a:pt x="600" y="562"/>
                </a:cubicBezTo>
                <a:cubicBezTo>
                  <a:pt x="601" y="562"/>
                  <a:pt x="603" y="561"/>
                  <a:pt x="605" y="561"/>
                </a:cubicBezTo>
                <a:cubicBezTo>
                  <a:pt x="606" y="561"/>
                  <a:pt x="607" y="561"/>
                  <a:pt x="609" y="562"/>
                </a:cubicBezTo>
                <a:cubicBezTo>
                  <a:pt x="610" y="562"/>
                  <a:pt x="611" y="562"/>
                  <a:pt x="613" y="562"/>
                </a:cubicBezTo>
                <a:cubicBezTo>
                  <a:pt x="614" y="562"/>
                  <a:pt x="615" y="563"/>
                  <a:pt x="617" y="563"/>
                </a:cubicBezTo>
                <a:cubicBezTo>
                  <a:pt x="618" y="564"/>
                  <a:pt x="619" y="565"/>
                  <a:pt x="620" y="566"/>
                </a:cubicBezTo>
                <a:cubicBezTo>
                  <a:pt x="621" y="567"/>
                  <a:pt x="623" y="567"/>
                  <a:pt x="624" y="567"/>
                </a:cubicBezTo>
                <a:cubicBezTo>
                  <a:pt x="625" y="568"/>
                  <a:pt x="627" y="568"/>
                  <a:pt x="628" y="569"/>
                </a:cubicBezTo>
                <a:cubicBezTo>
                  <a:pt x="630" y="569"/>
                  <a:pt x="632" y="569"/>
                  <a:pt x="633" y="570"/>
                </a:cubicBezTo>
                <a:cubicBezTo>
                  <a:pt x="633" y="571"/>
                  <a:pt x="633" y="572"/>
                  <a:pt x="634" y="573"/>
                </a:cubicBezTo>
                <a:cubicBezTo>
                  <a:pt x="634" y="574"/>
                  <a:pt x="635" y="575"/>
                  <a:pt x="635" y="577"/>
                </a:cubicBezTo>
                <a:cubicBezTo>
                  <a:pt x="634" y="578"/>
                  <a:pt x="634" y="579"/>
                  <a:pt x="634" y="580"/>
                </a:cubicBezTo>
                <a:cubicBezTo>
                  <a:pt x="633" y="582"/>
                  <a:pt x="632" y="583"/>
                  <a:pt x="634" y="585"/>
                </a:cubicBezTo>
                <a:cubicBezTo>
                  <a:pt x="635" y="586"/>
                  <a:pt x="636" y="586"/>
                  <a:pt x="637" y="587"/>
                </a:cubicBezTo>
                <a:cubicBezTo>
                  <a:pt x="637" y="588"/>
                  <a:pt x="637" y="589"/>
                  <a:pt x="637" y="589"/>
                </a:cubicBezTo>
                <a:cubicBezTo>
                  <a:pt x="636" y="589"/>
                  <a:pt x="636" y="589"/>
                  <a:pt x="635" y="589"/>
                </a:cubicBezTo>
                <a:cubicBezTo>
                  <a:pt x="635" y="588"/>
                  <a:pt x="633" y="588"/>
                  <a:pt x="633" y="589"/>
                </a:cubicBezTo>
                <a:cubicBezTo>
                  <a:pt x="634" y="590"/>
                  <a:pt x="634" y="590"/>
                  <a:pt x="635" y="590"/>
                </a:cubicBezTo>
                <a:cubicBezTo>
                  <a:pt x="635" y="590"/>
                  <a:pt x="635" y="591"/>
                  <a:pt x="635" y="592"/>
                </a:cubicBezTo>
                <a:cubicBezTo>
                  <a:pt x="635" y="592"/>
                  <a:pt x="635" y="593"/>
                  <a:pt x="635" y="593"/>
                </a:cubicBezTo>
                <a:cubicBezTo>
                  <a:pt x="634" y="594"/>
                  <a:pt x="634" y="593"/>
                  <a:pt x="633" y="593"/>
                </a:cubicBezTo>
                <a:cubicBezTo>
                  <a:pt x="632" y="592"/>
                  <a:pt x="631" y="592"/>
                  <a:pt x="630" y="591"/>
                </a:cubicBezTo>
                <a:cubicBezTo>
                  <a:pt x="630" y="591"/>
                  <a:pt x="630" y="591"/>
                  <a:pt x="629" y="591"/>
                </a:cubicBezTo>
                <a:cubicBezTo>
                  <a:pt x="627" y="590"/>
                  <a:pt x="625" y="592"/>
                  <a:pt x="623" y="593"/>
                </a:cubicBezTo>
                <a:cubicBezTo>
                  <a:pt x="621" y="594"/>
                  <a:pt x="620" y="595"/>
                  <a:pt x="619" y="596"/>
                </a:cubicBezTo>
                <a:cubicBezTo>
                  <a:pt x="618" y="597"/>
                  <a:pt x="617" y="599"/>
                  <a:pt x="616" y="601"/>
                </a:cubicBezTo>
                <a:cubicBezTo>
                  <a:pt x="615" y="602"/>
                  <a:pt x="614" y="604"/>
                  <a:pt x="613" y="605"/>
                </a:cubicBezTo>
                <a:cubicBezTo>
                  <a:pt x="612" y="606"/>
                  <a:pt x="611" y="607"/>
                  <a:pt x="609" y="608"/>
                </a:cubicBezTo>
                <a:cubicBezTo>
                  <a:pt x="608" y="610"/>
                  <a:pt x="606" y="611"/>
                  <a:pt x="605" y="612"/>
                </a:cubicBezTo>
                <a:cubicBezTo>
                  <a:pt x="604" y="614"/>
                  <a:pt x="602" y="615"/>
                  <a:pt x="602" y="617"/>
                </a:cubicBezTo>
                <a:cubicBezTo>
                  <a:pt x="601" y="617"/>
                  <a:pt x="601" y="618"/>
                  <a:pt x="600" y="618"/>
                </a:cubicBezTo>
                <a:cubicBezTo>
                  <a:pt x="599" y="618"/>
                  <a:pt x="599" y="618"/>
                  <a:pt x="598" y="618"/>
                </a:cubicBezTo>
                <a:cubicBezTo>
                  <a:pt x="596" y="617"/>
                  <a:pt x="596" y="619"/>
                  <a:pt x="596" y="620"/>
                </a:cubicBezTo>
                <a:cubicBezTo>
                  <a:pt x="597" y="622"/>
                  <a:pt x="595" y="622"/>
                  <a:pt x="594" y="623"/>
                </a:cubicBezTo>
                <a:cubicBezTo>
                  <a:pt x="593" y="623"/>
                  <a:pt x="592" y="625"/>
                  <a:pt x="591" y="626"/>
                </a:cubicBezTo>
                <a:cubicBezTo>
                  <a:pt x="590" y="627"/>
                  <a:pt x="589" y="628"/>
                  <a:pt x="587" y="629"/>
                </a:cubicBezTo>
                <a:cubicBezTo>
                  <a:pt x="586" y="630"/>
                  <a:pt x="584" y="630"/>
                  <a:pt x="583" y="630"/>
                </a:cubicBezTo>
                <a:cubicBezTo>
                  <a:pt x="582" y="631"/>
                  <a:pt x="580" y="631"/>
                  <a:pt x="579" y="632"/>
                </a:cubicBezTo>
                <a:cubicBezTo>
                  <a:pt x="578" y="633"/>
                  <a:pt x="576" y="633"/>
                  <a:pt x="575" y="634"/>
                </a:cubicBezTo>
                <a:cubicBezTo>
                  <a:pt x="574" y="636"/>
                  <a:pt x="575" y="636"/>
                  <a:pt x="575" y="638"/>
                </a:cubicBezTo>
                <a:cubicBezTo>
                  <a:pt x="576" y="639"/>
                  <a:pt x="576" y="641"/>
                  <a:pt x="575" y="642"/>
                </a:cubicBezTo>
                <a:cubicBezTo>
                  <a:pt x="575" y="643"/>
                  <a:pt x="573" y="643"/>
                  <a:pt x="572" y="643"/>
                </a:cubicBezTo>
                <a:cubicBezTo>
                  <a:pt x="571" y="644"/>
                  <a:pt x="570" y="646"/>
                  <a:pt x="569" y="645"/>
                </a:cubicBezTo>
                <a:cubicBezTo>
                  <a:pt x="569" y="644"/>
                  <a:pt x="569" y="643"/>
                  <a:pt x="569" y="643"/>
                </a:cubicBezTo>
                <a:cubicBezTo>
                  <a:pt x="568" y="642"/>
                  <a:pt x="567" y="642"/>
                  <a:pt x="567" y="642"/>
                </a:cubicBezTo>
                <a:cubicBezTo>
                  <a:pt x="564" y="642"/>
                  <a:pt x="563" y="643"/>
                  <a:pt x="562" y="644"/>
                </a:cubicBezTo>
                <a:cubicBezTo>
                  <a:pt x="561" y="645"/>
                  <a:pt x="560" y="645"/>
                  <a:pt x="561" y="646"/>
                </a:cubicBezTo>
                <a:cubicBezTo>
                  <a:pt x="561" y="647"/>
                  <a:pt x="562" y="646"/>
                  <a:pt x="562" y="647"/>
                </a:cubicBezTo>
                <a:cubicBezTo>
                  <a:pt x="562" y="647"/>
                  <a:pt x="563" y="649"/>
                  <a:pt x="562" y="649"/>
                </a:cubicBezTo>
                <a:cubicBezTo>
                  <a:pt x="562" y="650"/>
                  <a:pt x="561" y="650"/>
                  <a:pt x="561" y="650"/>
                </a:cubicBezTo>
                <a:cubicBezTo>
                  <a:pt x="560" y="650"/>
                  <a:pt x="558" y="651"/>
                  <a:pt x="557" y="652"/>
                </a:cubicBezTo>
                <a:cubicBezTo>
                  <a:pt x="555" y="654"/>
                  <a:pt x="554" y="657"/>
                  <a:pt x="553" y="659"/>
                </a:cubicBezTo>
                <a:cubicBezTo>
                  <a:pt x="552" y="661"/>
                  <a:pt x="552" y="662"/>
                  <a:pt x="552" y="663"/>
                </a:cubicBezTo>
                <a:cubicBezTo>
                  <a:pt x="552" y="664"/>
                  <a:pt x="552" y="665"/>
                  <a:pt x="552" y="666"/>
                </a:cubicBezTo>
                <a:cubicBezTo>
                  <a:pt x="553" y="666"/>
                  <a:pt x="553" y="667"/>
                  <a:pt x="553" y="668"/>
                </a:cubicBezTo>
                <a:cubicBezTo>
                  <a:pt x="553" y="669"/>
                  <a:pt x="554" y="670"/>
                  <a:pt x="555" y="671"/>
                </a:cubicBezTo>
                <a:cubicBezTo>
                  <a:pt x="557" y="672"/>
                  <a:pt x="558" y="673"/>
                  <a:pt x="558" y="674"/>
                </a:cubicBezTo>
                <a:cubicBezTo>
                  <a:pt x="558" y="675"/>
                  <a:pt x="558" y="675"/>
                  <a:pt x="558" y="676"/>
                </a:cubicBezTo>
                <a:cubicBezTo>
                  <a:pt x="558" y="678"/>
                  <a:pt x="557" y="679"/>
                  <a:pt x="556" y="680"/>
                </a:cubicBezTo>
                <a:cubicBezTo>
                  <a:pt x="556" y="682"/>
                  <a:pt x="556" y="684"/>
                  <a:pt x="557" y="685"/>
                </a:cubicBezTo>
                <a:cubicBezTo>
                  <a:pt x="558" y="686"/>
                  <a:pt x="559" y="687"/>
                  <a:pt x="559" y="689"/>
                </a:cubicBezTo>
                <a:cubicBezTo>
                  <a:pt x="560" y="690"/>
                  <a:pt x="561" y="690"/>
                  <a:pt x="562" y="691"/>
                </a:cubicBezTo>
                <a:cubicBezTo>
                  <a:pt x="562" y="692"/>
                  <a:pt x="562" y="693"/>
                  <a:pt x="563" y="693"/>
                </a:cubicBezTo>
                <a:cubicBezTo>
                  <a:pt x="563" y="694"/>
                  <a:pt x="562" y="694"/>
                  <a:pt x="561" y="694"/>
                </a:cubicBezTo>
                <a:cubicBezTo>
                  <a:pt x="561" y="694"/>
                  <a:pt x="560" y="694"/>
                  <a:pt x="559" y="694"/>
                </a:cubicBezTo>
                <a:cubicBezTo>
                  <a:pt x="558" y="694"/>
                  <a:pt x="558" y="695"/>
                  <a:pt x="559" y="695"/>
                </a:cubicBezTo>
                <a:cubicBezTo>
                  <a:pt x="559" y="697"/>
                  <a:pt x="559" y="698"/>
                  <a:pt x="559" y="700"/>
                </a:cubicBezTo>
                <a:cubicBezTo>
                  <a:pt x="559" y="701"/>
                  <a:pt x="560" y="701"/>
                  <a:pt x="560" y="702"/>
                </a:cubicBezTo>
                <a:cubicBezTo>
                  <a:pt x="560" y="702"/>
                  <a:pt x="560" y="703"/>
                  <a:pt x="560" y="704"/>
                </a:cubicBezTo>
                <a:cubicBezTo>
                  <a:pt x="560" y="705"/>
                  <a:pt x="559" y="706"/>
                  <a:pt x="558" y="707"/>
                </a:cubicBezTo>
                <a:cubicBezTo>
                  <a:pt x="557" y="707"/>
                  <a:pt x="556" y="708"/>
                  <a:pt x="556" y="710"/>
                </a:cubicBezTo>
                <a:cubicBezTo>
                  <a:pt x="556" y="711"/>
                  <a:pt x="557" y="712"/>
                  <a:pt x="558" y="714"/>
                </a:cubicBezTo>
                <a:cubicBezTo>
                  <a:pt x="558" y="715"/>
                  <a:pt x="558" y="717"/>
                  <a:pt x="558" y="718"/>
                </a:cubicBezTo>
                <a:cubicBezTo>
                  <a:pt x="558" y="720"/>
                  <a:pt x="558" y="722"/>
                  <a:pt x="558" y="723"/>
                </a:cubicBezTo>
                <a:cubicBezTo>
                  <a:pt x="558" y="724"/>
                  <a:pt x="559" y="724"/>
                  <a:pt x="559" y="725"/>
                </a:cubicBezTo>
                <a:cubicBezTo>
                  <a:pt x="560" y="725"/>
                  <a:pt x="560" y="725"/>
                  <a:pt x="561" y="726"/>
                </a:cubicBezTo>
                <a:cubicBezTo>
                  <a:pt x="562" y="728"/>
                  <a:pt x="563" y="726"/>
                  <a:pt x="563" y="725"/>
                </a:cubicBezTo>
                <a:cubicBezTo>
                  <a:pt x="563" y="723"/>
                  <a:pt x="564" y="722"/>
                  <a:pt x="566" y="724"/>
                </a:cubicBezTo>
                <a:cubicBezTo>
                  <a:pt x="567" y="725"/>
                  <a:pt x="568" y="725"/>
                  <a:pt x="569" y="726"/>
                </a:cubicBezTo>
                <a:cubicBezTo>
                  <a:pt x="570" y="727"/>
                  <a:pt x="571" y="728"/>
                  <a:pt x="572" y="728"/>
                </a:cubicBezTo>
                <a:cubicBezTo>
                  <a:pt x="574" y="728"/>
                  <a:pt x="575" y="729"/>
                  <a:pt x="576" y="729"/>
                </a:cubicBezTo>
                <a:cubicBezTo>
                  <a:pt x="577" y="730"/>
                  <a:pt x="578" y="729"/>
                  <a:pt x="578" y="730"/>
                </a:cubicBezTo>
                <a:cubicBezTo>
                  <a:pt x="579" y="730"/>
                  <a:pt x="579" y="730"/>
                  <a:pt x="580" y="731"/>
                </a:cubicBezTo>
                <a:cubicBezTo>
                  <a:pt x="580" y="731"/>
                  <a:pt x="581" y="731"/>
                  <a:pt x="581" y="732"/>
                </a:cubicBezTo>
                <a:cubicBezTo>
                  <a:pt x="581" y="732"/>
                  <a:pt x="581" y="733"/>
                  <a:pt x="580" y="734"/>
                </a:cubicBezTo>
                <a:cubicBezTo>
                  <a:pt x="580" y="734"/>
                  <a:pt x="578" y="735"/>
                  <a:pt x="578" y="736"/>
                </a:cubicBezTo>
                <a:cubicBezTo>
                  <a:pt x="578" y="737"/>
                  <a:pt x="578" y="737"/>
                  <a:pt x="578" y="738"/>
                </a:cubicBezTo>
                <a:cubicBezTo>
                  <a:pt x="578" y="739"/>
                  <a:pt x="577" y="739"/>
                  <a:pt x="577" y="739"/>
                </a:cubicBezTo>
                <a:cubicBezTo>
                  <a:pt x="576" y="742"/>
                  <a:pt x="579" y="741"/>
                  <a:pt x="580" y="741"/>
                </a:cubicBezTo>
                <a:cubicBezTo>
                  <a:pt x="582" y="741"/>
                  <a:pt x="583" y="742"/>
                  <a:pt x="584" y="741"/>
                </a:cubicBezTo>
                <a:cubicBezTo>
                  <a:pt x="585" y="740"/>
                  <a:pt x="585" y="738"/>
                  <a:pt x="586" y="738"/>
                </a:cubicBezTo>
                <a:cubicBezTo>
                  <a:pt x="587" y="737"/>
                  <a:pt x="587" y="737"/>
                  <a:pt x="588" y="737"/>
                </a:cubicBezTo>
                <a:cubicBezTo>
                  <a:pt x="589" y="738"/>
                  <a:pt x="588" y="738"/>
                  <a:pt x="589" y="739"/>
                </a:cubicBezTo>
                <a:cubicBezTo>
                  <a:pt x="590" y="739"/>
                  <a:pt x="592" y="739"/>
                  <a:pt x="593" y="740"/>
                </a:cubicBezTo>
                <a:cubicBezTo>
                  <a:pt x="593" y="742"/>
                  <a:pt x="592" y="742"/>
                  <a:pt x="592" y="744"/>
                </a:cubicBezTo>
                <a:cubicBezTo>
                  <a:pt x="592" y="746"/>
                  <a:pt x="594" y="744"/>
                  <a:pt x="595" y="743"/>
                </a:cubicBezTo>
                <a:cubicBezTo>
                  <a:pt x="596" y="743"/>
                  <a:pt x="596" y="743"/>
                  <a:pt x="597" y="742"/>
                </a:cubicBezTo>
                <a:cubicBezTo>
                  <a:pt x="597" y="742"/>
                  <a:pt x="598" y="742"/>
                  <a:pt x="599" y="742"/>
                </a:cubicBezTo>
                <a:cubicBezTo>
                  <a:pt x="601" y="742"/>
                  <a:pt x="603" y="742"/>
                  <a:pt x="605" y="742"/>
                </a:cubicBezTo>
                <a:cubicBezTo>
                  <a:pt x="607" y="742"/>
                  <a:pt x="608" y="741"/>
                  <a:pt x="609" y="741"/>
                </a:cubicBezTo>
                <a:cubicBezTo>
                  <a:pt x="611" y="741"/>
                  <a:pt x="612" y="741"/>
                  <a:pt x="613" y="740"/>
                </a:cubicBezTo>
                <a:cubicBezTo>
                  <a:pt x="614" y="740"/>
                  <a:pt x="614" y="739"/>
                  <a:pt x="615" y="739"/>
                </a:cubicBezTo>
                <a:cubicBezTo>
                  <a:pt x="615" y="740"/>
                  <a:pt x="616" y="740"/>
                  <a:pt x="616" y="740"/>
                </a:cubicBezTo>
                <a:cubicBezTo>
                  <a:pt x="616" y="740"/>
                  <a:pt x="616" y="740"/>
                  <a:pt x="617" y="740"/>
                </a:cubicBezTo>
                <a:cubicBezTo>
                  <a:pt x="617" y="741"/>
                  <a:pt x="617" y="742"/>
                  <a:pt x="618" y="742"/>
                </a:cubicBezTo>
                <a:cubicBezTo>
                  <a:pt x="619" y="742"/>
                  <a:pt x="619" y="741"/>
                  <a:pt x="619" y="741"/>
                </a:cubicBezTo>
                <a:cubicBezTo>
                  <a:pt x="619" y="740"/>
                  <a:pt x="620" y="740"/>
                  <a:pt x="620" y="739"/>
                </a:cubicBezTo>
                <a:cubicBezTo>
                  <a:pt x="620" y="738"/>
                  <a:pt x="620" y="738"/>
                  <a:pt x="620" y="737"/>
                </a:cubicBezTo>
                <a:cubicBezTo>
                  <a:pt x="620" y="736"/>
                  <a:pt x="622" y="736"/>
                  <a:pt x="623" y="736"/>
                </a:cubicBezTo>
                <a:cubicBezTo>
                  <a:pt x="625" y="736"/>
                  <a:pt x="626" y="735"/>
                  <a:pt x="628" y="735"/>
                </a:cubicBezTo>
                <a:cubicBezTo>
                  <a:pt x="629" y="735"/>
                  <a:pt x="631" y="736"/>
                  <a:pt x="632" y="735"/>
                </a:cubicBezTo>
                <a:cubicBezTo>
                  <a:pt x="634" y="735"/>
                  <a:pt x="635" y="735"/>
                  <a:pt x="637" y="734"/>
                </a:cubicBezTo>
                <a:cubicBezTo>
                  <a:pt x="638" y="734"/>
                  <a:pt x="639" y="734"/>
                  <a:pt x="640" y="732"/>
                </a:cubicBezTo>
                <a:cubicBezTo>
                  <a:pt x="640" y="730"/>
                  <a:pt x="642" y="731"/>
                  <a:pt x="643" y="732"/>
                </a:cubicBezTo>
                <a:cubicBezTo>
                  <a:pt x="643" y="732"/>
                  <a:pt x="644" y="732"/>
                  <a:pt x="645" y="733"/>
                </a:cubicBezTo>
                <a:cubicBezTo>
                  <a:pt x="645" y="733"/>
                  <a:pt x="645" y="733"/>
                  <a:pt x="646" y="733"/>
                </a:cubicBezTo>
                <a:cubicBezTo>
                  <a:pt x="646" y="733"/>
                  <a:pt x="646" y="734"/>
                  <a:pt x="646" y="734"/>
                </a:cubicBezTo>
                <a:cubicBezTo>
                  <a:pt x="648" y="734"/>
                  <a:pt x="646" y="730"/>
                  <a:pt x="648" y="730"/>
                </a:cubicBezTo>
                <a:cubicBezTo>
                  <a:pt x="648" y="732"/>
                  <a:pt x="651" y="732"/>
                  <a:pt x="650" y="730"/>
                </a:cubicBezTo>
                <a:cubicBezTo>
                  <a:pt x="650" y="730"/>
                  <a:pt x="649" y="729"/>
                  <a:pt x="649" y="729"/>
                </a:cubicBezTo>
                <a:cubicBezTo>
                  <a:pt x="649" y="727"/>
                  <a:pt x="650" y="728"/>
                  <a:pt x="650" y="728"/>
                </a:cubicBezTo>
                <a:cubicBezTo>
                  <a:pt x="651" y="729"/>
                  <a:pt x="651" y="729"/>
                  <a:pt x="652" y="729"/>
                </a:cubicBezTo>
                <a:cubicBezTo>
                  <a:pt x="653" y="729"/>
                  <a:pt x="653" y="729"/>
                  <a:pt x="654" y="729"/>
                </a:cubicBezTo>
                <a:cubicBezTo>
                  <a:pt x="656" y="729"/>
                  <a:pt x="657" y="728"/>
                  <a:pt x="658" y="727"/>
                </a:cubicBezTo>
                <a:cubicBezTo>
                  <a:pt x="660" y="726"/>
                  <a:pt x="661" y="726"/>
                  <a:pt x="663" y="726"/>
                </a:cubicBezTo>
                <a:cubicBezTo>
                  <a:pt x="665" y="726"/>
                  <a:pt x="667" y="726"/>
                  <a:pt x="669" y="726"/>
                </a:cubicBezTo>
                <a:cubicBezTo>
                  <a:pt x="672" y="726"/>
                  <a:pt x="675" y="726"/>
                  <a:pt x="678" y="726"/>
                </a:cubicBezTo>
                <a:cubicBezTo>
                  <a:pt x="679" y="726"/>
                  <a:pt x="680" y="727"/>
                  <a:pt x="681" y="726"/>
                </a:cubicBezTo>
                <a:cubicBezTo>
                  <a:pt x="682" y="726"/>
                  <a:pt x="683" y="725"/>
                  <a:pt x="684" y="725"/>
                </a:cubicBezTo>
                <a:cubicBezTo>
                  <a:pt x="685" y="725"/>
                  <a:pt x="687" y="724"/>
                  <a:pt x="689" y="724"/>
                </a:cubicBezTo>
                <a:cubicBezTo>
                  <a:pt x="691" y="724"/>
                  <a:pt x="692" y="724"/>
                  <a:pt x="693" y="723"/>
                </a:cubicBezTo>
                <a:cubicBezTo>
                  <a:pt x="695" y="723"/>
                  <a:pt x="696" y="722"/>
                  <a:pt x="697" y="721"/>
                </a:cubicBezTo>
                <a:cubicBezTo>
                  <a:pt x="698" y="721"/>
                  <a:pt x="699" y="721"/>
                  <a:pt x="699" y="721"/>
                </a:cubicBezTo>
                <a:cubicBezTo>
                  <a:pt x="700" y="721"/>
                  <a:pt x="700" y="720"/>
                  <a:pt x="701" y="719"/>
                </a:cubicBezTo>
                <a:cubicBezTo>
                  <a:pt x="701" y="721"/>
                  <a:pt x="700" y="722"/>
                  <a:pt x="699" y="722"/>
                </a:cubicBezTo>
                <a:cubicBezTo>
                  <a:pt x="698" y="723"/>
                  <a:pt x="698" y="723"/>
                  <a:pt x="698" y="724"/>
                </a:cubicBezTo>
                <a:cubicBezTo>
                  <a:pt x="698" y="724"/>
                  <a:pt x="699" y="724"/>
                  <a:pt x="699" y="724"/>
                </a:cubicBezTo>
                <a:cubicBezTo>
                  <a:pt x="699" y="724"/>
                  <a:pt x="699" y="724"/>
                  <a:pt x="699" y="725"/>
                </a:cubicBezTo>
                <a:cubicBezTo>
                  <a:pt x="699" y="725"/>
                  <a:pt x="700" y="726"/>
                  <a:pt x="699" y="727"/>
                </a:cubicBezTo>
                <a:cubicBezTo>
                  <a:pt x="699" y="727"/>
                  <a:pt x="699" y="726"/>
                  <a:pt x="698" y="726"/>
                </a:cubicBezTo>
                <a:cubicBezTo>
                  <a:pt x="698" y="725"/>
                  <a:pt x="697" y="725"/>
                  <a:pt x="697" y="725"/>
                </a:cubicBezTo>
                <a:cubicBezTo>
                  <a:pt x="696" y="724"/>
                  <a:pt x="696" y="724"/>
                  <a:pt x="695" y="724"/>
                </a:cubicBezTo>
                <a:cubicBezTo>
                  <a:pt x="696" y="725"/>
                  <a:pt x="696" y="725"/>
                  <a:pt x="697" y="725"/>
                </a:cubicBezTo>
                <a:cubicBezTo>
                  <a:pt x="697" y="726"/>
                  <a:pt x="697" y="726"/>
                  <a:pt x="697" y="727"/>
                </a:cubicBezTo>
                <a:cubicBezTo>
                  <a:pt x="698" y="728"/>
                  <a:pt x="698" y="727"/>
                  <a:pt x="699" y="728"/>
                </a:cubicBezTo>
                <a:cubicBezTo>
                  <a:pt x="699" y="728"/>
                  <a:pt x="700" y="729"/>
                  <a:pt x="700" y="730"/>
                </a:cubicBezTo>
                <a:cubicBezTo>
                  <a:pt x="701" y="731"/>
                  <a:pt x="702" y="731"/>
                  <a:pt x="704" y="731"/>
                </a:cubicBezTo>
                <a:cubicBezTo>
                  <a:pt x="705" y="732"/>
                  <a:pt x="706" y="733"/>
                  <a:pt x="707" y="733"/>
                </a:cubicBezTo>
                <a:cubicBezTo>
                  <a:pt x="708" y="734"/>
                  <a:pt x="710" y="734"/>
                  <a:pt x="711" y="734"/>
                </a:cubicBezTo>
                <a:cubicBezTo>
                  <a:pt x="712" y="735"/>
                  <a:pt x="713" y="736"/>
                  <a:pt x="715" y="736"/>
                </a:cubicBezTo>
                <a:cubicBezTo>
                  <a:pt x="716" y="736"/>
                  <a:pt x="718" y="737"/>
                  <a:pt x="719" y="738"/>
                </a:cubicBezTo>
                <a:cubicBezTo>
                  <a:pt x="720" y="738"/>
                  <a:pt x="721" y="738"/>
                  <a:pt x="722" y="738"/>
                </a:cubicBezTo>
                <a:cubicBezTo>
                  <a:pt x="723" y="739"/>
                  <a:pt x="725" y="739"/>
                  <a:pt x="726" y="740"/>
                </a:cubicBezTo>
                <a:cubicBezTo>
                  <a:pt x="727" y="741"/>
                  <a:pt x="727" y="741"/>
                  <a:pt x="728" y="741"/>
                </a:cubicBezTo>
                <a:cubicBezTo>
                  <a:pt x="729" y="742"/>
                  <a:pt x="729" y="741"/>
                  <a:pt x="729" y="742"/>
                </a:cubicBezTo>
                <a:cubicBezTo>
                  <a:pt x="730" y="743"/>
                  <a:pt x="731" y="745"/>
                  <a:pt x="729" y="745"/>
                </a:cubicBezTo>
                <a:cubicBezTo>
                  <a:pt x="728" y="745"/>
                  <a:pt x="728" y="744"/>
                  <a:pt x="727" y="744"/>
                </a:cubicBezTo>
                <a:cubicBezTo>
                  <a:pt x="727" y="744"/>
                  <a:pt x="726" y="744"/>
                  <a:pt x="725" y="744"/>
                </a:cubicBezTo>
                <a:cubicBezTo>
                  <a:pt x="724" y="743"/>
                  <a:pt x="723" y="743"/>
                  <a:pt x="722" y="743"/>
                </a:cubicBezTo>
                <a:cubicBezTo>
                  <a:pt x="721" y="743"/>
                  <a:pt x="721" y="743"/>
                  <a:pt x="720" y="743"/>
                </a:cubicBezTo>
                <a:cubicBezTo>
                  <a:pt x="719" y="743"/>
                  <a:pt x="719" y="742"/>
                  <a:pt x="719" y="742"/>
                </a:cubicBezTo>
                <a:cubicBezTo>
                  <a:pt x="718" y="742"/>
                  <a:pt x="717" y="742"/>
                  <a:pt x="717" y="742"/>
                </a:cubicBezTo>
                <a:cubicBezTo>
                  <a:pt x="716" y="742"/>
                  <a:pt x="716" y="741"/>
                  <a:pt x="715" y="741"/>
                </a:cubicBezTo>
                <a:cubicBezTo>
                  <a:pt x="711" y="740"/>
                  <a:pt x="707" y="743"/>
                  <a:pt x="705" y="746"/>
                </a:cubicBezTo>
                <a:cubicBezTo>
                  <a:pt x="704" y="747"/>
                  <a:pt x="703" y="747"/>
                  <a:pt x="702" y="747"/>
                </a:cubicBezTo>
                <a:cubicBezTo>
                  <a:pt x="701" y="747"/>
                  <a:pt x="700" y="746"/>
                  <a:pt x="698" y="746"/>
                </a:cubicBezTo>
                <a:cubicBezTo>
                  <a:pt x="697" y="745"/>
                  <a:pt x="696" y="746"/>
                  <a:pt x="695" y="746"/>
                </a:cubicBezTo>
                <a:cubicBezTo>
                  <a:pt x="694" y="747"/>
                  <a:pt x="693" y="747"/>
                  <a:pt x="692" y="748"/>
                </a:cubicBezTo>
                <a:cubicBezTo>
                  <a:pt x="691" y="748"/>
                  <a:pt x="691" y="747"/>
                  <a:pt x="690" y="747"/>
                </a:cubicBezTo>
                <a:cubicBezTo>
                  <a:pt x="689" y="747"/>
                  <a:pt x="688" y="749"/>
                  <a:pt x="688" y="749"/>
                </a:cubicBezTo>
                <a:cubicBezTo>
                  <a:pt x="687" y="751"/>
                  <a:pt x="688" y="752"/>
                  <a:pt x="688" y="753"/>
                </a:cubicBezTo>
                <a:cubicBezTo>
                  <a:pt x="688" y="754"/>
                  <a:pt x="687" y="754"/>
                  <a:pt x="687" y="755"/>
                </a:cubicBezTo>
                <a:cubicBezTo>
                  <a:pt x="687" y="755"/>
                  <a:pt x="687" y="756"/>
                  <a:pt x="687" y="757"/>
                </a:cubicBezTo>
                <a:cubicBezTo>
                  <a:pt x="686" y="757"/>
                  <a:pt x="685" y="757"/>
                  <a:pt x="685" y="758"/>
                </a:cubicBezTo>
                <a:cubicBezTo>
                  <a:pt x="684" y="758"/>
                  <a:pt x="684" y="758"/>
                  <a:pt x="683" y="758"/>
                </a:cubicBezTo>
                <a:cubicBezTo>
                  <a:pt x="682" y="759"/>
                  <a:pt x="681" y="758"/>
                  <a:pt x="679" y="757"/>
                </a:cubicBezTo>
                <a:cubicBezTo>
                  <a:pt x="676" y="757"/>
                  <a:pt x="673" y="758"/>
                  <a:pt x="670" y="758"/>
                </a:cubicBezTo>
                <a:cubicBezTo>
                  <a:pt x="668" y="758"/>
                  <a:pt x="667" y="757"/>
                  <a:pt x="666" y="757"/>
                </a:cubicBezTo>
                <a:cubicBezTo>
                  <a:pt x="664" y="756"/>
                  <a:pt x="663" y="756"/>
                  <a:pt x="662" y="755"/>
                </a:cubicBezTo>
                <a:cubicBezTo>
                  <a:pt x="661" y="755"/>
                  <a:pt x="659" y="755"/>
                  <a:pt x="658" y="755"/>
                </a:cubicBezTo>
                <a:cubicBezTo>
                  <a:pt x="656" y="755"/>
                  <a:pt x="655" y="754"/>
                  <a:pt x="653" y="754"/>
                </a:cubicBezTo>
                <a:cubicBezTo>
                  <a:pt x="652" y="754"/>
                  <a:pt x="651" y="754"/>
                  <a:pt x="649" y="754"/>
                </a:cubicBezTo>
                <a:cubicBezTo>
                  <a:pt x="648" y="754"/>
                  <a:pt x="646" y="754"/>
                  <a:pt x="645" y="753"/>
                </a:cubicBezTo>
                <a:cubicBezTo>
                  <a:pt x="643" y="753"/>
                  <a:pt x="642" y="754"/>
                  <a:pt x="641" y="753"/>
                </a:cubicBezTo>
                <a:cubicBezTo>
                  <a:pt x="640" y="753"/>
                  <a:pt x="639" y="752"/>
                  <a:pt x="638" y="751"/>
                </a:cubicBezTo>
                <a:cubicBezTo>
                  <a:pt x="637" y="750"/>
                  <a:pt x="637" y="751"/>
                  <a:pt x="637" y="752"/>
                </a:cubicBezTo>
                <a:cubicBezTo>
                  <a:pt x="637" y="752"/>
                  <a:pt x="637" y="752"/>
                  <a:pt x="638" y="753"/>
                </a:cubicBezTo>
                <a:cubicBezTo>
                  <a:pt x="638" y="753"/>
                  <a:pt x="638" y="753"/>
                  <a:pt x="638" y="754"/>
                </a:cubicBezTo>
                <a:cubicBezTo>
                  <a:pt x="639" y="754"/>
                  <a:pt x="637" y="755"/>
                  <a:pt x="637" y="755"/>
                </a:cubicBezTo>
                <a:cubicBezTo>
                  <a:pt x="636" y="755"/>
                  <a:pt x="635" y="755"/>
                  <a:pt x="634" y="756"/>
                </a:cubicBezTo>
                <a:cubicBezTo>
                  <a:pt x="633" y="756"/>
                  <a:pt x="633" y="756"/>
                  <a:pt x="632" y="756"/>
                </a:cubicBezTo>
                <a:cubicBezTo>
                  <a:pt x="631" y="756"/>
                  <a:pt x="629" y="756"/>
                  <a:pt x="628" y="756"/>
                </a:cubicBezTo>
                <a:cubicBezTo>
                  <a:pt x="627" y="756"/>
                  <a:pt x="625" y="756"/>
                  <a:pt x="624" y="756"/>
                </a:cubicBezTo>
                <a:cubicBezTo>
                  <a:pt x="622" y="756"/>
                  <a:pt x="621" y="757"/>
                  <a:pt x="619" y="757"/>
                </a:cubicBezTo>
                <a:cubicBezTo>
                  <a:pt x="618" y="757"/>
                  <a:pt x="617" y="758"/>
                  <a:pt x="615" y="758"/>
                </a:cubicBezTo>
                <a:cubicBezTo>
                  <a:pt x="614" y="759"/>
                  <a:pt x="612" y="759"/>
                  <a:pt x="611" y="760"/>
                </a:cubicBezTo>
                <a:cubicBezTo>
                  <a:pt x="610" y="761"/>
                  <a:pt x="609" y="762"/>
                  <a:pt x="607" y="762"/>
                </a:cubicBezTo>
                <a:cubicBezTo>
                  <a:pt x="606" y="763"/>
                  <a:pt x="605" y="763"/>
                  <a:pt x="603" y="763"/>
                </a:cubicBezTo>
                <a:cubicBezTo>
                  <a:pt x="602" y="763"/>
                  <a:pt x="601" y="763"/>
                  <a:pt x="599" y="764"/>
                </a:cubicBezTo>
                <a:cubicBezTo>
                  <a:pt x="599" y="765"/>
                  <a:pt x="598" y="765"/>
                  <a:pt x="597" y="765"/>
                </a:cubicBezTo>
                <a:cubicBezTo>
                  <a:pt x="597" y="766"/>
                  <a:pt x="597" y="767"/>
                  <a:pt x="597" y="767"/>
                </a:cubicBezTo>
                <a:cubicBezTo>
                  <a:pt x="597" y="768"/>
                  <a:pt x="596" y="769"/>
                  <a:pt x="596" y="769"/>
                </a:cubicBezTo>
                <a:cubicBezTo>
                  <a:pt x="597" y="770"/>
                  <a:pt x="598" y="770"/>
                  <a:pt x="598" y="770"/>
                </a:cubicBezTo>
                <a:cubicBezTo>
                  <a:pt x="599" y="770"/>
                  <a:pt x="600" y="769"/>
                  <a:pt x="601" y="770"/>
                </a:cubicBezTo>
                <a:cubicBezTo>
                  <a:pt x="601" y="771"/>
                  <a:pt x="599" y="772"/>
                  <a:pt x="599" y="772"/>
                </a:cubicBezTo>
                <a:cubicBezTo>
                  <a:pt x="598" y="773"/>
                  <a:pt x="599" y="774"/>
                  <a:pt x="598" y="775"/>
                </a:cubicBezTo>
                <a:cubicBezTo>
                  <a:pt x="598" y="776"/>
                  <a:pt x="597" y="776"/>
                  <a:pt x="597" y="777"/>
                </a:cubicBezTo>
                <a:cubicBezTo>
                  <a:pt x="598" y="777"/>
                  <a:pt x="600" y="777"/>
                  <a:pt x="601" y="777"/>
                </a:cubicBezTo>
                <a:cubicBezTo>
                  <a:pt x="602" y="777"/>
                  <a:pt x="603" y="776"/>
                  <a:pt x="603" y="777"/>
                </a:cubicBezTo>
                <a:cubicBezTo>
                  <a:pt x="603" y="778"/>
                  <a:pt x="601" y="778"/>
                  <a:pt x="601" y="778"/>
                </a:cubicBezTo>
                <a:cubicBezTo>
                  <a:pt x="600" y="778"/>
                  <a:pt x="599" y="777"/>
                  <a:pt x="599" y="778"/>
                </a:cubicBezTo>
                <a:cubicBezTo>
                  <a:pt x="598" y="779"/>
                  <a:pt x="599" y="779"/>
                  <a:pt x="599" y="780"/>
                </a:cubicBezTo>
                <a:cubicBezTo>
                  <a:pt x="599" y="781"/>
                  <a:pt x="598" y="780"/>
                  <a:pt x="598" y="781"/>
                </a:cubicBezTo>
                <a:cubicBezTo>
                  <a:pt x="598" y="782"/>
                  <a:pt x="598" y="783"/>
                  <a:pt x="599" y="783"/>
                </a:cubicBezTo>
                <a:cubicBezTo>
                  <a:pt x="599" y="784"/>
                  <a:pt x="600" y="784"/>
                  <a:pt x="601" y="785"/>
                </a:cubicBezTo>
                <a:cubicBezTo>
                  <a:pt x="602" y="786"/>
                  <a:pt x="602" y="786"/>
                  <a:pt x="603" y="787"/>
                </a:cubicBezTo>
                <a:cubicBezTo>
                  <a:pt x="604" y="787"/>
                  <a:pt x="605" y="788"/>
                  <a:pt x="605" y="789"/>
                </a:cubicBezTo>
                <a:cubicBezTo>
                  <a:pt x="607" y="790"/>
                  <a:pt x="608" y="790"/>
                  <a:pt x="609" y="790"/>
                </a:cubicBezTo>
                <a:cubicBezTo>
                  <a:pt x="610" y="791"/>
                  <a:pt x="611" y="791"/>
                  <a:pt x="613" y="791"/>
                </a:cubicBezTo>
                <a:cubicBezTo>
                  <a:pt x="614" y="791"/>
                  <a:pt x="615" y="790"/>
                  <a:pt x="616" y="789"/>
                </a:cubicBezTo>
                <a:cubicBezTo>
                  <a:pt x="617" y="788"/>
                  <a:pt x="619" y="789"/>
                  <a:pt x="619" y="790"/>
                </a:cubicBezTo>
                <a:cubicBezTo>
                  <a:pt x="618" y="792"/>
                  <a:pt x="617" y="793"/>
                  <a:pt x="617" y="794"/>
                </a:cubicBezTo>
                <a:cubicBezTo>
                  <a:pt x="617" y="795"/>
                  <a:pt x="617" y="797"/>
                  <a:pt x="616" y="798"/>
                </a:cubicBezTo>
                <a:cubicBezTo>
                  <a:pt x="616" y="799"/>
                  <a:pt x="615" y="801"/>
                  <a:pt x="615" y="802"/>
                </a:cubicBezTo>
                <a:cubicBezTo>
                  <a:pt x="614" y="804"/>
                  <a:pt x="613" y="808"/>
                  <a:pt x="614" y="810"/>
                </a:cubicBezTo>
                <a:cubicBezTo>
                  <a:pt x="615" y="811"/>
                  <a:pt x="615" y="812"/>
                  <a:pt x="616" y="814"/>
                </a:cubicBezTo>
                <a:cubicBezTo>
                  <a:pt x="616" y="815"/>
                  <a:pt x="616" y="817"/>
                  <a:pt x="616" y="818"/>
                </a:cubicBezTo>
                <a:cubicBezTo>
                  <a:pt x="616" y="819"/>
                  <a:pt x="615" y="821"/>
                  <a:pt x="614" y="822"/>
                </a:cubicBezTo>
                <a:cubicBezTo>
                  <a:pt x="613" y="823"/>
                  <a:pt x="612" y="823"/>
                  <a:pt x="611" y="824"/>
                </a:cubicBezTo>
                <a:cubicBezTo>
                  <a:pt x="610" y="825"/>
                  <a:pt x="610" y="825"/>
                  <a:pt x="609" y="826"/>
                </a:cubicBezTo>
                <a:cubicBezTo>
                  <a:pt x="609" y="826"/>
                  <a:pt x="608" y="826"/>
                  <a:pt x="607" y="827"/>
                </a:cubicBezTo>
                <a:cubicBezTo>
                  <a:pt x="605" y="828"/>
                  <a:pt x="601" y="828"/>
                  <a:pt x="598" y="827"/>
                </a:cubicBezTo>
                <a:cubicBezTo>
                  <a:pt x="597" y="826"/>
                  <a:pt x="596" y="825"/>
                  <a:pt x="595" y="824"/>
                </a:cubicBezTo>
                <a:cubicBezTo>
                  <a:pt x="595" y="824"/>
                  <a:pt x="594" y="823"/>
                  <a:pt x="594" y="823"/>
                </a:cubicBezTo>
                <a:cubicBezTo>
                  <a:pt x="594" y="822"/>
                  <a:pt x="594" y="822"/>
                  <a:pt x="593" y="821"/>
                </a:cubicBezTo>
                <a:cubicBezTo>
                  <a:pt x="593" y="818"/>
                  <a:pt x="590" y="816"/>
                  <a:pt x="587" y="815"/>
                </a:cubicBezTo>
                <a:cubicBezTo>
                  <a:pt x="586" y="814"/>
                  <a:pt x="586" y="813"/>
                  <a:pt x="585" y="812"/>
                </a:cubicBezTo>
                <a:cubicBezTo>
                  <a:pt x="584" y="811"/>
                  <a:pt x="583" y="810"/>
                  <a:pt x="582" y="809"/>
                </a:cubicBezTo>
                <a:cubicBezTo>
                  <a:pt x="580" y="807"/>
                  <a:pt x="577" y="808"/>
                  <a:pt x="574" y="808"/>
                </a:cubicBezTo>
                <a:cubicBezTo>
                  <a:pt x="572" y="809"/>
                  <a:pt x="570" y="809"/>
                  <a:pt x="567" y="810"/>
                </a:cubicBezTo>
                <a:cubicBezTo>
                  <a:pt x="566" y="810"/>
                  <a:pt x="565" y="810"/>
                  <a:pt x="564" y="811"/>
                </a:cubicBezTo>
                <a:cubicBezTo>
                  <a:pt x="563" y="812"/>
                  <a:pt x="562" y="812"/>
                  <a:pt x="562" y="813"/>
                </a:cubicBezTo>
                <a:cubicBezTo>
                  <a:pt x="561" y="814"/>
                  <a:pt x="560" y="815"/>
                  <a:pt x="560" y="816"/>
                </a:cubicBezTo>
                <a:cubicBezTo>
                  <a:pt x="558" y="817"/>
                  <a:pt x="558" y="818"/>
                  <a:pt x="558" y="820"/>
                </a:cubicBezTo>
                <a:cubicBezTo>
                  <a:pt x="558" y="822"/>
                  <a:pt x="558" y="823"/>
                  <a:pt x="557" y="825"/>
                </a:cubicBezTo>
                <a:cubicBezTo>
                  <a:pt x="557" y="827"/>
                  <a:pt x="556" y="827"/>
                  <a:pt x="555" y="828"/>
                </a:cubicBezTo>
                <a:cubicBezTo>
                  <a:pt x="553" y="830"/>
                  <a:pt x="550" y="832"/>
                  <a:pt x="550" y="835"/>
                </a:cubicBezTo>
                <a:cubicBezTo>
                  <a:pt x="550" y="836"/>
                  <a:pt x="550" y="838"/>
                  <a:pt x="550" y="839"/>
                </a:cubicBezTo>
                <a:cubicBezTo>
                  <a:pt x="550" y="841"/>
                  <a:pt x="550" y="842"/>
                  <a:pt x="550" y="844"/>
                </a:cubicBezTo>
                <a:cubicBezTo>
                  <a:pt x="549" y="845"/>
                  <a:pt x="549" y="846"/>
                  <a:pt x="549" y="848"/>
                </a:cubicBezTo>
                <a:cubicBezTo>
                  <a:pt x="549" y="849"/>
                  <a:pt x="550" y="850"/>
                  <a:pt x="550" y="852"/>
                </a:cubicBezTo>
                <a:cubicBezTo>
                  <a:pt x="550" y="853"/>
                  <a:pt x="550" y="855"/>
                  <a:pt x="550" y="857"/>
                </a:cubicBezTo>
                <a:cubicBezTo>
                  <a:pt x="550" y="858"/>
                  <a:pt x="550" y="860"/>
                  <a:pt x="550" y="861"/>
                </a:cubicBezTo>
                <a:cubicBezTo>
                  <a:pt x="551" y="864"/>
                  <a:pt x="552" y="866"/>
                  <a:pt x="551" y="870"/>
                </a:cubicBezTo>
                <a:cubicBezTo>
                  <a:pt x="550" y="872"/>
                  <a:pt x="548" y="874"/>
                  <a:pt x="546" y="876"/>
                </a:cubicBezTo>
                <a:cubicBezTo>
                  <a:pt x="544" y="878"/>
                  <a:pt x="542" y="880"/>
                  <a:pt x="540" y="881"/>
                </a:cubicBezTo>
                <a:cubicBezTo>
                  <a:pt x="537" y="883"/>
                  <a:pt x="535" y="883"/>
                  <a:pt x="532" y="884"/>
                </a:cubicBezTo>
                <a:cubicBezTo>
                  <a:pt x="531" y="884"/>
                  <a:pt x="528" y="885"/>
                  <a:pt x="528" y="886"/>
                </a:cubicBezTo>
                <a:cubicBezTo>
                  <a:pt x="527" y="887"/>
                  <a:pt x="528" y="889"/>
                  <a:pt x="527" y="890"/>
                </a:cubicBezTo>
                <a:cubicBezTo>
                  <a:pt x="527" y="892"/>
                  <a:pt x="526" y="893"/>
                  <a:pt x="525" y="894"/>
                </a:cubicBezTo>
                <a:cubicBezTo>
                  <a:pt x="524" y="895"/>
                  <a:pt x="523" y="896"/>
                  <a:pt x="522" y="897"/>
                </a:cubicBezTo>
                <a:cubicBezTo>
                  <a:pt x="521" y="898"/>
                  <a:pt x="520" y="898"/>
                  <a:pt x="519" y="898"/>
                </a:cubicBezTo>
                <a:cubicBezTo>
                  <a:pt x="517" y="898"/>
                  <a:pt x="516" y="899"/>
                  <a:pt x="514" y="899"/>
                </a:cubicBezTo>
                <a:cubicBezTo>
                  <a:pt x="514" y="899"/>
                  <a:pt x="513" y="899"/>
                  <a:pt x="512" y="899"/>
                </a:cubicBezTo>
                <a:cubicBezTo>
                  <a:pt x="512" y="899"/>
                  <a:pt x="511" y="900"/>
                  <a:pt x="510" y="900"/>
                </a:cubicBezTo>
                <a:cubicBezTo>
                  <a:pt x="509" y="901"/>
                  <a:pt x="508" y="901"/>
                  <a:pt x="506" y="900"/>
                </a:cubicBezTo>
                <a:cubicBezTo>
                  <a:pt x="504" y="900"/>
                  <a:pt x="501" y="898"/>
                  <a:pt x="501" y="896"/>
                </a:cubicBezTo>
                <a:cubicBezTo>
                  <a:pt x="500" y="895"/>
                  <a:pt x="500" y="894"/>
                  <a:pt x="499" y="893"/>
                </a:cubicBezTo>
                <a:cubicBezTo>
                  <a:pt x="499" y="892"/>
                  <a:pt x="498" y="889"/>
                  <a:pt x="499" y="889"/>
                </a:cubicBezTo>
                <a:cubicBezTo>
                  <a:pt x="501" y="889"/>
                  <a:pt x="503" y="891"/>
                  <a:pt x="504" y="892"/>
                </a:cubicBezTo>
                <a:cubicBezTo>
                  <a:pt x="504" y="892"/>
                  <a:pt x="505" y="893"/>
                  <a:pt x="505" y="893"/>
                </a:cubicBezTo>
                <a:cubicBezTo>
                  <a:pt x="506" y="893"/>
                  <a:pt x="506" y="893"/>
                  <a:pt x="505" y="892"/>
                </a:cubicBezTo>
                <a:cubicBezTo>
                  <a:pt x="504" y="891"/>
                  <a:pt x="503" y="890"/>
                  <a:pt x="501" y="889"/>
                </a:cubicBezTo>
                <a:cubicBezTo>
                  <a:pt x="500" y="888"/>
                  <a:pt x="499" y="888"/>
                  <a:pt x="498" y="887"/>
                </a:cubicBezTo>
                <a:cubicBezTo>
                  <a:pt x="497" y="887"/>
                  <a:pt x="495" y="887"/>
                  <a:pt x="494" y="887"/>
                </a:cubicBezTo>
                <a:cubicBezTo>
                  <a:pt x="493" y="887"/>
                  <a:pt x="492" y="887"/>
                  <a:pt x="491" y="887"/>
                </a:cubicBezTo>
                <a:cubicBezTo>
                  <a:pt x="489" y="887"/>
                  <a:pt x="487" y="887"/>
                  <a:pt x="486" y="888"/>
                </a:cubicBezTo>
                <a:cubicBezTo>
                  <a:pt x="484" y="888"/>
                  <a:pt x="483" y="888"/>
                  <a:pt x="482" y="889"/>
                </a:cubicBezTo>
                <a:cubicBezTo>
                  <a:pt x="480" y="889"/>
                  <a:pt x="479" y="890"/>
                  <a:pt x="478" y="891"/>
                </a:cubicBezTo>
                <a:cubicBezTo>
                  <a:pt x="476" y="891"/>
                  <a:pt x="475" y="892"/>
                  <a:pt x="473" y="892"/>
                </a:cubicBezTo>
                <a:cubicBezTo>
                  <a:pt x="472" y="892"/>
                  <a:pt x="470" y="893"/>
                  <a:pt x="469" y="893"/>
                </a:cubicBezTo>
                <a:cubicBezTo>
                  <a:pt x="468" y="894"/>
                  <a:pt x="466" y="894"/>
                  <a:pt x="465" y="895"/>
                </a:cubicBezTo>
                <a:cubicBezTo>
                  <a:pt x="463" y="895"/>
                  <a:pt x="462" y="895"/>
                  <a:pt x="461" y="896"/>
                </a:cubicBezTo>
                <a:cubicBezTo>
                  <a:pt x="459" y="896"/>
                  <a:pt x="458" y="898"/>
                  <a:pt x="457" y="899"/>
                </a:cubicBezTo>
                <a:cubicBezTo>
                  <a:pt x="456" y="900"/>
                  <a:pt x="455" y="902"/>
                  <a:pt x="454" y="903"/>
                </a:cubicBezTo>
                <a:cubicBezTo>
                  <a:pt x="453" y="904"/>
                  <a:pt x="452" y="904"/>
                  <a:pt x="450" y="904"/>
                </a:cubicBezTo>
                <a:cubicBezTo>
                  <a:pt x="447" y="905"/>
                  <a:pt x="444" y="905"/>
                  <a:pt x="441" y="905"/>
                </a:cubicBezTo>
                <a:cubicBezTo>
                  <a:pt x="435" y="907"/>
                  <a:pt x="430" y="908"/>
                  <a:pt x="424" y="910"/>
                </a:cubicBezTo>
                <a:cubicBezTo>
                  <a:pt x="421" y="910"/>
                  <a:pt x="418" y="912"/>
                  <a:pt x="415" y="912"/>
                </a:cubicBezTo>
                <a:cubicBezTo>
                  <a:pt x="414" y="912"/>
                  <a:pt x="413" y="911"/>
                  <a:pt x="413" y="910"/>
                </a:cubicBezTo>
                <a:cubicBezTo>
                  <a:pt x="412" y="910"/>
                  <a:pt x="412" y="909"/>
                  <a:pt x="411" y="910"/>
                </a:cubicBezTo>
                <a:cubicBezTo>
                  <a:pt x="411" y="910"/>
                  <a:pt x="411" y="910"/>
                  <a:pt x="411" y="911"/>
                </a:cubicBezTo>
                <a:cubicBezTo>
                  <a:pt x="410" y="911"/>
                  <a:pt x="410" y="911"/>
                  <a:pt x="410" y="911"/>
                </a:cubicBezTo>
                <a:cubicBezTo>
                  <a:pt x="409" y="912"/>
                  <a:pt x="409" y="913"/>
                  <a:pt x="408" y="913"/>
                </a:cubicBezTo>
                <a:cubicBezTo>
                  <a:pt x="407" y="913"/>
                  <a:pt x="407" y="912"/>
                  <a:pt x="407" y="911"/>
                </a:cubicBezTo>
                <a:cubicBezTo>
                  <a:pt x="407" y="910"/>
                  <a:pt x="408" y="910"/>
                  <a:pt x="407" y="909"/>
                </a:cubicBezTo>
                <a:cubicBezTo>
                  <a:pt x="407" y="908"/>
                  <a:pt x="407" y="906"/>
                  <a:pt x="405" y="906"/>
                </a:cubicBezTo>
                <a:cubicBezTo>
                  <a:pt x="404" y="906"/>
                  <a:pt x="403" y="906"/>
                  <a:pt x="402" y="906"/>
                </a:cubicBezTo>
                <a:cubicBezTo>
                  <a:pt x="401" y="906"/>
                  <a:pt x="401" y="906"/>
                  <a:pt x="400" y="906"/>
                </a:cubicBezTo>
                <a:cubicBezTo>
                  <a:pt x="399" y="905"/>
                  <a:pt x="399" y="905"/>
                  <a:pt x="398" y="905"/>
                </a:cubicBezTo>
                <a:cubicBezTo>
                  <a:pt x="398" y="905"/>
                  <a:pt x="398" y="905"/>
                  <a:pt x="397" y="904"/>
                </a:cubicBezTo>
                <a:cubicBezTo>
                  <a:pt x="397" y="904"/>
                  <a:pt x="397" y="903"/>
                  <a:pt x="397" y="903"/>
                </a:cubicBezTo>
                <a:cubicBezTo>
                  <a:pt x="397" y="902"/>
                  <a:pt x="398" y="905"/>
                  <a:pt x="400" y="904"/>
                </a:cubicBezTo>
                <a:cubicBezTo>
                  <a:pt x="400" y="903"/>
                  <a:pt x="400" y="903"/>
                  <a:pt x="400" y="902"/>
                </a:cubicBezTo>
                <a:cubicBezTo>
                  <a:pt x="401" y="901"/>
                  <a:pt x="401" y="902"/>
                  <a:pt x="402" y="902"/>
                </a:cubicBezTo>
                <a:cubicBezTo>
                  <a:pt x="403" y="902"/>
                  <a:pt x="403" y="901"/>
                  <a:pt x="404" y="901"/>
                </a:cubicBezTo>
                <a:cubicBezTo>
                  <a:pt x="404" y="901"/>
                  <a:pt x="405" y="901"/>
                  <a:pt x="405" y="902"/>
                </a:cubicBezTo>
                <a:cubicBezTo>
                  <a:pt x="405" y="902"/>
                  <a:pt x="406" y="903"/>
                  <a:pt x="406" y="902"/>
                </a:cubicBezTo>
                <a:cubicBezTo>
                  <a:pt x="407" y="902"/>
                  <a:pt x="406" y="901"/>
                  <a:pt x="406" y="901"/>
                </a:cubicBezTo>
                <a:cubicBezTo>
                  <a:pt x="405" y="900"/>
                  <a:pt x="406" y="900"/>
                  <a:pt x="405" y="899"/>
                </a:cubicBezTo>
                <a:cubicBezTo>
                  <a:pt x="404" y="899"/>
                  <a:pt x="404" y="899"/>
                  <a:pt x="403" y="898"/>
                </a:cubicBezTo>
                <a:cubicBezTo>
                  <a:pt x="403" y="897"/>
                  <a:pt x="403" y="897"/>
                  <a:pt x="404" y="896"/>
                </a:cubicBezTo>
                <a:cubicBezTo>
                  <a:pt x="404" y="896"/>
                  <a:pt x="405" y="896"/>
                  <a:pt x="405" y="895"/>
                </a:cubicBezTo>
                <a:cubicBezTo>
                  <a:pt x="405" y="894"/>
                  <a:pt x="402" y="895"/>
                  <a:pt x="401" y="895"/>
                </a:cubicBezTo>
                <a:cubicBezTo>
                  <a:pt x="401" y="895"/>
                  <a:pt x="401" y="895"/>
                  <a:pt x="400" y="895"/>
                </a:cubicBezTo>
                <a:cubicBezTo>
                  <a:pt x="400" y="895"/>
                  <a:pt x="400" y="895"/>
                  <a:pt x="399" y="895"/>
                </a:cubicBezTo>
                <a:cubicBezTo>
                  <a:pt x="399" y="895"/>
                  <a:pt x="398" y="895"/>
                  <a:pt x="399" y="894"/>
                </a:cubicBezTo>
                <a:cubicBezTo>
                  <a:pt x="399" y="893"/>
                  <a:pt x="399" y="892"/>
                  <a:pt x="400" y="892"/>
                </a:cubicBezTo>
                <a:cubicBezTo>
                  <a:pt x="400" y="892"/>
                  <a:pt x="401" y="893"/>
                  <a:pt x="401" y="892"/>
                </a:cubicBezTo>
                <a:cubicBezTo>
                  <a:pt x="401" y="892"/>
                  <a:pt x="400" y="891"/>
                  <a:pt x="400" y="891"/>
                </a:cubicBezTo>
                <a:cubicBezTo>
                  <a:pt x="400" y="891"/>
                  <a:pt x="399" y="892"/>
                  <a:pt x="399" y="892"/>
                </a:cubicBezTo>
                <a:cubicBezTo>
                  <a:pt x="398" y="892"/>
                  <a:pt x="398" y="892"/>
                  <a:pt x="397" y="892"/>
                </a:cubicBezTo>
                <a:cubicBezTo>
                  <a:pt x="397" y="892"/>
                  <a:pt x="396" y="893"/>
                  <a:pt x="396" y="893"/>
                </a:cubicBezTo>
                <a:cubicBezTo>
                  <a:pt x="396" y="893"/>
                  <a:pt x="397" y="894"/>
                  <a:pt x="397" y="894"/>
                </a:cubicBezTo>
                <a:cubicBezTo>
                  <a:pt x="398" y="894"/>
                  <a:pt x="398" y="895"/>
                  <a:pt x="397" y="895"/>
                </a:cubicBezTo>
                <a:cubicBezTo>
                  <a:pt x="396" y="896"/>
                  <a:pt x="396" y="895"/>
                  <a:pt x="395" y="895"/>
                </a:cubicBezTo>
                <a:cubicBezTo>
                  <a:pt x="394" y="895"/>
                  <a:pt x="394" y="896"/>
                  <a:pt x="394" y="896"/>
                </a:cubicBezTo>
                <a:cubicBezTo>
                  <a:pt x="394" y="897"/>
                  <a:pt x="394" y="898"/>
                  <a:pt x="394" y="898"/>
                </a:cubicBezTo>
                <a:cubicBezTo>
                  <a:pt x="394" y="899"/>
                  <a:pt x="394" y="898"/>
                  <a:pt x="394" y="899"/>
                </a:cubicBezTo>
                <a:cubicBezTo>
                  <a:pt x="394" y="899"/>
                  <a:pt x="394" y="900"/>
                  <a:pt x="394" y="900"/>
                </a:cubicBezTo>
                <a:cubicBezTo>
                  <a:pt x="395" y="901"/>
                  <a:pt x="394" y="900"/>
                  <a:pt x="393" y="900"/>
                </a:cubicBezTo>
                <a:cubicBezTo>
                  <a:pt x="393" y="899"/>
                  <a:pt x="393" y="898"/>
                  <a:pt x="392" y="898"/>
                </a:cubicBezTo>
                <a:cubicBezTo>
                  <a:pt x="391" y="898"/>
                  <a:pt x="391" y="899"/>
                  <a:pt x="391" y="899"/>
                </a:cubicBezTo>
                <a:cubicBezTo>
                  <a:pt x="390" y="899"/>
                  <a:pt x="389" y="899"/>
                  <a:pt x="389" y="899"/>
                </a:cubicBezTo>
                <a:cubicBezTo>
                  <a:pt x="388" y="900"/>
                  <a:pt x="387" y="900"/>
                  <a:pt x="386" y="901"/>
                </a:cubicBezTo>
                <a:cubicBezTo>
                  <a:pt x="386" y="901"/>
                  <a:pt x="385" y="901"/>
                  <a:pt x="384" y="901"/>
                </a:cubicBezTo>
                <a:cubicBezTo>
                  <a:pt x="383" y="901"/>
                  <a:pt x="382" y="901"/>
                  <a:pt x="381" y="901"/>
                </a:cubicBezTo>
                <a:cubicBezTo>
                  <a:pt x="381" y="900"/>
                  <a:pt x="382" y="900"/>
                  <a:pt x="382" y="900"/>
                </a:cubicBezTo>
                <a:cubicBezTo>
                  <a:pt x="383" y="900"/>
                  <a:pt x="383" y="900"/>
                  <a:pt x="384" y="899"/>
                </a:cubicBezTo>
                <a:cubicBezTo>
                  <a:pt x="385" y="899"/>
                  <a:pt x="385" y="899"/>
                  <a:pt x="386" y="899"/>
                </a:cubicBezTo>
                <a:cubicBezTo>
                  <a:pt x="387" y="899"/>
                  <a:pt x="388" y="899"/>
                  <a:pt x="388" y="899"/>
                </a:cubicBezTo>
                <a:cubicBezTo>
                  <a:pt x="389" y="898"/>
                  <a:pt x="389" y="898"/>
                  <a:pt x="388" y="898"/>
                </a:cubicBezTo>
                <a:cubicBezTo>
                  <a:pt x="387" y="898"/>
                  <a:pt x="387" y="898"/>
                  <a:pt x="386" y="898"/>
                </a:cubicBezTo>
                <a:cubicBezTo>
                  <a:pt x="385" y="898"/>
                  <a:pt x="383" y="896"/>
                  <a:pt x="382" y="897"/>
                </a:cubicBezTo>
                <a:cubicBezTo>
                  <a:pt x="382" y="898"/>
                  <a:pt x="381" y="898"/>
                  <a:pt x="381" y="899"/>
                </a:cubicBezTo>
                <a:cubicBezTo>
                  <a:pt x="381" y="899"/>
                  <a:pt x="380" y="899"/>
                  <a:pt x="380" y="900"/>
                </a:cubicBezTo>
                <a:cubicBezTo>
                  <a:pt x="378" y="901"/>
                  <a:pt x="378" y="902"/>
                  <a:pt x="378" y="903"/>
                </a:cubicBezTo>
                <a:cubicBezTo>
                  <a:pt x="377" y="904"/>
                  <a:pt x="376" y="905"/>
                  <a:pt x="376" y="906"/>
                </a:cubicBezTo>
                <a:cubicBezTo>
                  <a:pt x="375" y="906"/>
                  <a:pt x="375" y="907"/>
                  <a:pt x="374" y="907"/>
                </a:cubicBezTo>
                <a:cubicBezTo>
                  <a:pt x="374" y="907"/>
                  <a:pt x="373" y="907"/>
                  <a:pt x="372" y="907"/>
                </a:cubicBezTo>
                <a:cubicBezTo>
                  <a:pt x="372" y="907"/>
                  <a:pt x="372" y="907"/>
                  <a:pt x="372" y="906"/>
                </a:cubicBezTo>
                <a:cubicBezTo>
                  <a:pt x="371" y="906"/>
                  <a:pt x="369" y="906"/>
                  <a:pt x="368" y="906"/>
                </a:cubicBezTo>
                <a:cubicBezTo>
                  <a:pt x="368" y="907"/>
                  <a:pt x="367" y="907"/>
                  <a:pt x="367" y="908"/>
                </a:cubicBezTo>
                <a:cubicBezTo>
                  <a:pt x="366" y="908"/>
                  <a:pt x="364" y="909"/>
                  <a:pt x="363" y="909"/>
                </a:cubicBezTo>
                <a:cubicBezTo>
                  <a:pt x="362" y="910"/>
                  <a:pt x="361" y="911"/>
                  <a:pt x="359" y="911"/>
                </a:cubicBezTo>
                <a:cubicBezTo>
                  <a:pt x="358" y="912"/>
                  <a:pt x="356" y="912"/>
                  <a:pt x="355" y="912"/>
                </a:cubicBezTo>
                <a:cubicBezTo>
                  <a:pt x="354" y="912"/>
                  <a:pt x="350" y="912"/>
                  <a:pt x="350" y="911"/>
                </a:cubicBezTo>
                <a:cubicBezTo>
                  <a:pt x="349" y="910"/>
                  <a:pt x="350" y="908"/>
                  <a:pt x="351" y="908"/>
                </a:cubicBezTo>
                <a:cubicBezTo>
                  <a:pt x="352" y="906"/>
                  <a:pt x="352" y="905"/>
                  <a:pt x="352" y="904"/>
                </a:cubicBezTo>
                <a:cubicBezTo>
                  <a:pt x="353" y="904"/>
                  <a:pt x="353" y="903"/>
                  <a:pt x="353" y="903"/>
                </a:cubicBezTo>
                <a:cubicBezTo>
                  <a:pt x="354" y="902"/>
                  <a:pt x="354" y="902"/>
                  <a:pt x="355" y="901"/>
                </a:cubicBezTo>
                <a:cubicBezTo>
                  <a:pt x="356" y="900"/>
                  <a:pt x="352" y="900"/>
                  <a:pt x="351" y="900"/>
                </a:cubicBezTo>
                <a:cubicBezTo>
                  <a:pt x="350" y="900"/>
                  <a:pt x="350" y="900"/>
                  <a:pt x="349" y="900"/>
                </a:cubicBezTo>
                <a:cubicBezTo>
                  <a:pt x="348" y="901"/>
                  <a:pt x="347" y="902"/>
                  <a:pt x="345" y="902"/>
                </a:cubicBezTo>
                <a:cubicBezTo>
                  <a:pt x="345" y="902"/>
                  <a:pt x="344" y="901"/>
                  <a:pt x="344" y="901"/>
                </a:cubicBezTo>
                <a:cubicBezTo>
                  <a:pt x="343" y="901"/>
                  <a:pt x="343" y="900"/>
                  <a:pt x="342" y="900"/>
                </a:cubicBezTo>
                <a:cubicBezTo>
                  <a:pt x="341" y="900"/>
                  <a:pt x="340" y="898"/>
                  <a:pt x="339" y="898"/>
                </a:cubicBezTo>
                <a:cubicBezTo>
                  <a:pt x="338" y="898"/>
                  <a:pt x="338" y="899"/>
                  <a:pt x="337" y="899"/>
                </a:cubicBezTo>
                <a:cubicBezTo>
                  <a:pt x="336" y="899"/>
                  <a:pt x="336" y="899"/>
                  <a:pt x="336" y="898"/>
                </a:cubicBezTo>
                <a:cubicBezTo>
                  <a:pt x="335" y="897"/>
                  <a:pt x="333" y="898"/>
                  <a:pt x="332" y="897"/>
                </a:cubicBezTo>
                <a:cubicBezTo>
                  <a:pt x="331" y="896"/>
                  <a:pt x="333" y="895"/>
                  <a:pt x="333" y="894"/>
                </a:cubicBezTo>
                <a:cubicBezTo>
                  <a:pt x="333" y="893"/>
                  <a:pt x="332" y="892"/>
                  <a:pt x="332" y="891"/>
                </a:cubicBezTo>
                <a:cubicBezTo>
                  <a:pt x="332" y="890"/>
                  <a:pt x="333" y="889"/>
                  <a:pt x="332" y="889"/>
                </a:cubicBezTo>
                <a:cubicBezTo>
                  <a:pt x="331" y="888"/>
                  <a:pt x="331" y="889"/>
                  <a:pt x="331" y="889"/>
                </a:cubicBezTo>
                <a:cubicBezTo>
                  <a:pt x="330" y="890"/>
                  <a:pt x="329" y="889"/>
                  <a:pt x="329" y="889"/>
                </a:cubicBezTo>
                <a:cubicBezTo>
                  <a:pt x="327" y="887"/>
                  <a:pt x="325" y="889"/>
                  <a:pt x="323" y="889"/>
                </a:cubicBezTo>
                <a:cubicBezTo>
                  <a:pt x="323" y="888"/>
                  <a:pt x="323" y="888"/>
                  <a:pt x="324" y="887"/>
                </a:cubicBezTo>
                <a:cubicBezTo>
                  <a:pt x="324" y="887"/>
                  <a:pt x="324" y="887"/>
                  <a:pt x="324" y="886"/>
                </a:cubicBezTo>
                <a:cubicBezTo>
                  <a:pt x="324" y="886"/>
                  <a:pt x="326" y="885"/>
                  <a:pt x="326" y="885"/>
                </a:cubicBezTo>
                <a:cubicBezTo>
                  <a:pt x="327" y="887"/>
                  <a:pt x="329" y="885"/>
                  <a:pt x="327" y="884"/>
                </a:cubicBezTo>
                <a:cubicBezTo>
                  <a:pt x="327" y="884"/>
                  <a:pt x="326" y="884"/>
                  <a:pt x="326" y="883"/>
                </a:cubicBezTo>
                <a:cubicBezTo>
                  <a:pt x="326" y="882"/>
                  <a:pt x="327" y="882"/>
                  <a:pt x="327" y="882"/>
                </a:cubicBezTo>
                <a:cubicBezTo>
                  <a:pt x="328" y="882"/>
                  <a:pt x="327" y="883"/>
                  <a:pt x="328" y="884"/>
                </a:cubicBezTo>
                <a:cubicBezTo>
                  <a:pt x="329" y="884"/>
                  <a:pt x="329" y="884"/>
                  <a:pt x="330" y="885"/>
                </a:cubicBezTo>
                <a:cubicBezTo>
                  <a:pt x="330" y="886"/>
                  <a:pt x="331" y="888"/>
                  <a:pt x="332" y="887"/>
                </a:cubicBezTo>
                <a:cubicBezTo>
                  <a:pt x="332" y="886"/>
                  <a:pt x="332" y="887"/>
                  <a:pt x="332" y="886"/>
                </a:cubicBezTo>
                <a:cubicBezTo>
                  <a:pt x="332" y="886"/>
                  <a:pt x="332" y="885"/>
                  <a:pt x="333" y="885"/>
                </a:cubicBezTo>
                <a:cubicBezTo>
                  <a:pt x="333" y="884"/>
                  <a:pt x="334" y="884"/>
                  <a:pt x="333" y="884"/>
                </a:cubicBezTo>
                <a:cubicBezTo>
                  <a:pt x="333" y="883"/>
                  <a:pt x="332" y="883"/>
                  <a:pt x="331" y="883"/>
                </a:cubicBezTo>
                <a:cubicBezTo>
                  <a:pt x="331" y="882"/>
                  <a:pt x="331" y="882"/>
                  <a:pt x="330" y="881"/>
                </a:cubicBezTo>
                <a:cubicBezTo>
                  <a:pt x="330" y="881"/>
                  <a:pt x="329" y="881"/>
                  <a:pt x="328" y="881"/>
                </a:cubicBezTo>
                <a:cubicBezTo>
                  <a:pt x="327" y="881"/>
                  <a:pt x="327" y="881"/>
                  <a:pt x="326" y="881"/>
                </a:cubicBezTo>
                <a:cubicBezTo>
                  <a:pt x="326" y="881"/>
                  <a:pt x="326" y="882"/>
                  <a:pt x="325" y="882"/>
                </a:cubicBezTo>
                <a:cubicBezTo>
                  <a:pt x="324" y="883"/>
                  <a:pt x="324" y="882"/>
                  <a:pt x="323" y="882"/>
                </a:cubicBezTo>
                <a:cubicBezTo>
                  <a:pt x="323" y="881"/>
                  <a:pt x="322" y="882"/>
                  <a:pt x="322" y="881"/>
                </a:cubicBezTo>
                <a:cubicBezTo>
                  <a:pt x="322" y="880"/>
                  <a:pt x="322" y="880"/>
                  <a:pt x="323" y="879"/>
                </a:cubicBezTo>
                <a:cubicBezTo>
                  <a:pt x="323" y="879"/>
                  <a:pt x="323" y="878"/>
                  <a:pt x="324" y="878"/>
                </a:cubicBezTo>
                <a:cubicBezTo>
                  <a:pt x="325" y="878"/>
                  <a:pt x="325" y="879"/>
                  <a:pt x="326" y="878"/>
                </a:cubicBezTo>
                <a:cubicBezTo>
                  <a:pt x="327" y="878"/>
                  <a:pt x="327" y="876"/>
                  <a:pt x="326" y="875"/>
                </a:cubicBezTo>
                <a:cubicBezTo>
                  <a:pt x="326" y="875"/>
                  <a:pt x="325" y="874"/>
                  <a:pt x="325" y="874"/>
                </a:cubicBezTo>
                <a:cubicBezTo>
                  <a:pt x="324" y="873"/>
                  <a:pt x="325" y="872"/>
                  <a:pt x="324" y="871"/>
                </a:cubicBezTo>
                <a:cubicBezTo>
                  <a:pt x="324" y="870"/>
                  <a:pt x="324" y="869"/>
                  <a:pt x="324" y="869"/>
                </a:cubicBezTo>
                <a:cubicBezTo>
                  <a:pt x="325" y="868"/>
                  <a:pt x="325" y="868"/>
                  <a:pt x="326" y="868"/>
                </a:cubicBezTo>
                <a:cubicBezTo>
                  <a:pt x="326" y="867"/>
                  <a:pt x="327" y="867"/>
                  <a:pt x="327" y="866"/>
                </a:cubicBezTo>
                <a:cubicBezTo>
                  <a:pt x="327" y="865"/>
                  <a:pt x="327" y="865"/>
                  <a:pt x="326" y="865"/>
                </a:cubicBezTo>
                <a:cubicBezTo>
                  <a:pt x="325" y="864"/>
                  <a:pt x="325" y="864"/>
                  <a:pt x="326" y="863"/>
                </a:cubicBezTo>
                <a:cubicBezTo>
                  <a:pt x="327" y="863"/>
                  <a:pt x="327" y="864"/>
                  <a:pt x="328" y="864"/>
                </a:cubicBezTo>
                <a:cubicBezTo>
                  <a:pt x="329" y="864"/>
                  <a:pt x="330" y="864"/>
                  <a:pt x="330" y="864"/>
                </a:cubicBezTo>
                <a:cubicBezTo>
                  <a:pt x="332" y="863"/>
                  <a:pt x="333" y="863"/>
                  <a:pt x="333" y="862"/>
                </a:cubicBezTo>
                <a:cubicBezTo>
                  <a:pt x="333" y="861"/>
                  <a:pt x="332" y="858"/>
                  <a:pt x="334" y="859"/>
                </a:cubicBezTo>
                <a:cubicBezTo>
                  <a:pt x="335" y="860"/>
                  <a:pt x="336" y="861"/>
                  <a:pt x="337" y="859"/>
                </a:cubicBezTo>
                <a:cubicBezTo>
                  <a:pt x="337" y="859"/>
                  <a:pt x="337" y="858"/>
                  <a:pt x="337" y="857"/>
                </a:cubicBezTo>
                <a:cubicBezTo>
                  <a:pt x="337" y="856"/>
                  <a:pt x="337" y="856"/>
                  <a:pt x="338" y="855"/>
                </a:cubicBezTo>
                <a:cubicBezTo>
                  <a:pt x="339" y="854"/>
                  <a:pt x="338" y="853"/>
                  <a:pt x="338" y="851"/>
                </a:cubicBezTo>
                <a:cubicBezTo>
                  <a:pt x="339" y="851"/>
                  <a:pt x="339" y="850"/>
                  <a:pt x="339" y="850"/>
                </a:cubicBezTo>
                <a:cubicBezTo>
                  <a:pt x="340" y="849"/>
                  <a:pt x="339" y="848"/>
                  <a:pt x="340" y="848"/>
                </a:cubicBezTo>
                <a:cubicBezTo>
                  <a:pt x="341" y="848"/>
                  <a:pt x="342" y="848"/>
                  <a:pt x="341" y="849"/>
                </a:cubicBezTo>
                <a:cubicBezTo>
                  <a:pt x="341" y="849"/>
                  <a:pt x="340" y="849"/>
                  <a:pt x="340" y="850"/>
                </a:cubicBezTo>
                <a:cubicBezTo>
                  <a:pt x="340" y="851"/>
                  <a:pt x="341" y="851"/>
                  <a:pt x="341" y="851"/>
                </a:cubicBezTo>
                <a:cubicBezTo>
                  <a:pt x="342" y="852"/>
                  <a:pt x="342" y="852"/>
                  <a:pt x="342" y="853"/>
                </a:cubicBezTo>
                <a:cubicBezTo>
                  <a:pt x="344" y="854"/>
                  <a:pt x="345" y="852"/>
                  <a:pt x="345" y="851"/>
                </a:cubicBezTo>
                <a:cubicBezTo>
                  <a:pt x="346" y="850"/>
                  <a:pt x="348" y="849"/>
                  <a:pt x="348" y="848"/>
                </a:cubicBezTo>
                <a:cubicBezTo>
                  <a:pt x="349" y="847"/>
                  <a:pt x="349" y="847"/>
                  <a:pt x="349" y="846"/>
                </a:cubicBezTo>
                <a:cubicBezTo>
                  <a:pt x="349" y="845"/>
                  <a:pt x="350" y="845"/>
                  <a:pt x="350" y="844"/>
                </a:cubicBezTo>
                <a:cubicBezTo>
                  <a:pt x="351" y="843"/>
                  <a:pt x="349" y="842"/>
                  <a:pt x="348" y="842"/>
                </a:cubicBezTo>
                <a:cubicBezTo>
                  <a:pt x="347" y="842"/>
                  <a:pt x="347" y="841"/>
                  <a:pt x="346" y="841"/>
                </a:cubicBezTo>
                <a:cubicBezTo>
                  <a:pt x="345" y="841"/>
                  <a:pt x="343" y="842"/>
                  <a:pt x="342" y="840"/>
                </a:cubicBezTo>
                <a:cubicBezTo>
                  <a:pt x="342" y="840"/>
                  <a:pt x="341" y="839"/>
                  <a:pt x="340" y="839"/>
                </a:cubicBezTo>
                <a:cubicBezTo>
                  <a:pt x="340" y="839"/>
                  <a:pt x="339" y="840"/>
                  <a:pt x="339" y="839"/>
                </a:cubicBezTo>
                <a:cubicBezTo>
                  <a:pt x="338" y="838"/>
                  <a:pt x="339" y="837"/>
                  <a:pt x="339" y="837"/>
                </a:cubicBezTo>
                <a:cubicBezTo>
                  <a:pt x="338" y="836"/>
                  <a:pt x="337" y="836"/>
                  <a:pt x="337" y="836"/>
                </a:cubicBezTo>
                <a:cubicBezTo>
                  <a:pt x="336" y="835"/>
                  <a:pt x="337" y="835"/>
                  <a:pt x="338" y="835"/>
                </a:cubicBezTo>
                <a:cubicBezTo>
                  <a:pt x="339" y="834"/>
                  <a:pt x="339" y="832"/>
                  <a:pt x="339" y="831"/>
                </a:cubicBezTo>
                <a:cubicBezTo>
                  <a:pt x="339" y="830"/>
                  <a:pt x="339" y="828"/>
                  <a:pt x="338" y="828"/>
                </a:cubicBezTo>
                <a:cubicBezTo>
                  <a:pt x="337" y="827"/>
                  <a:pt x="337" y="827"/>
                  <a:pt x="336" y="827"/>
                </a:cubicBezTo>
                <a:cubicBezTo>
                  <a:pt x="334" y="827"/>
                  <a:pt x="332" y="827"/>
                  <a:pt x="331" y="827"/>
                </a:cubicBezTo>
                <a:cubicBezTo>
                  <a:pt x="330" y="827"/>
                  <a:pt x="329" y="826"/>
                  <a:pt x="328" y="827"/>
                </a:cubicBezTo>
                <a:cubicBezTo>
                  <a:pt x="328" y="827"/>
                  <a:pt x="327" y="827"/>
                  <a:pt x="326" y="827"/>
                </a:cubicBezTo>
                <a:cubicBezTo>
                  <a:pt x="325" y="828"/>
                  <a:pt x="324" y="827"/>
                  <a:pt x="323" y="826"/>
                </a:cubicBezTo>
                <a:cubicBezTo>
                  <a:pt x="322" y="825"/>
                  <a:pt x="325" y="826"/>
                  <a:pt x="326" y="826"/>
                </a:cubicBezTo>
                <a:cubicBezTo>
                  <a:pt x="328" y="826"/>
                  <a:pt x="329" y="826"/>
                  <a:pt x="330" y="826"/>
                </a:cubicBezTo>
                <a:cubicBezTo>
                  <a:pt x="332" y="825"/>
                  <a:pt x="333" y="825"/>
                  <a:pt x="335" y="825"/>
                </a:cubicBezTo>
                <a:cubicBezTo>
                  <a:pt x="336" y="825"/>
                  <a:pt x="338" y="826"/>
                  <a:pt x="339" y="826"/>
                </a:cubicBezTo>
                <a:cubicBezTo>
                  <a:pt x="340" y="825"/>
                  <a:pt x="341" y="824"/>
                  <a:pt x="341" y="822"/>
                </a:cubicBezTo>
                <a:cubicBezTo>
                  <a:pt x="342" y="821"/>
                  <a:pt x="343" y="820"/>
                  <a:pt x="343" y="818"/>
                </a:cubicBezTo>
                <a:cubicBezTo>
                  <a:pt x="343" y="817"/>
                  <a:pt x="343" y="815"/>
                  <a:pt x="342" y="814"/>
                </a:cubicBezTo>
                <a:cubicBezTo>
                  <a:pt x="341" y="813"/>
                  <a:pt x="340" y="811"/>
                  <a:pt x="342" y="810"/>
                </a:cubicBezTo>
                <a:cubicBezTo>
                  <a:pt x="342" y="810"/>
                  <a:pt x="343" y="810"/>
                  <a:pt x="343" y="809"/>
                </a:cubicBezTo>
                <a:cubicBezTo>
                  <a:pt x="344" y="809"/>
                  <a:pt x="344" y="808"/>
                  <a:pt x="344" y="808"/>
                </a:cubicBezTo>
                <a:cubicBezTo>
                  <a:pt x="345" y="808"/>
                  <a:pt x="346" y="807"/>
                  <a:pt x="345" y="807"/>
                </a:cubicBezTo>
                <a:cubicBezTo>
                  <a:pt x="345" y="806"/>
                  <a:pt x="344" y="806"/>
                  <a:pt x="344" y="807"/>
                </a:cubicBezTo>
                <a:cubicBezTo>
                  <a:pt x="342" y="808"/>
                  <a:pt x="341" y="808"/>
                  <a:pt x="340" y="809"/>
                </a:cubicBezTo>
                <a:cubicBezTo>
                  <a:pt x="339" y="810"/>
                  <a:pt x="337" y="810"/>
                  <a:pt x="336" y="811"/>
                </a:cubicBezTo>
                <a:cubicBezTo>
                  <a:pt x="335" y="811"/>
                  <a:pt x="334" y="812"/>
                  <a:pt x="332" y="812"/>
                </a:cubicBezTo>
                <a:cubicBezTo>
                  <a:pt x="331" y="813"/>
                  <a:pt x="330" y="812"/>
                  <a:pt x="329" y="813"/>
                </a:cubicBezTo>
                <a:cubicBezTo>
                  <a:pt x="328" y="814"/>
                  <a:pt x="327" y="815"/>
                  <a:pt x="326" y="816"/>
                </a:cubicBezTo>
                <a:cubicBezTo>
                  <a:pt x="326" y="817"/>
                  <a:pt x="325" y="819"/>
                  <a:pt x="324" y="820"/>
                </a:cubicBezTo>
                <a:cubicBezTo>
                  <a:pt x="324" y="821"/>
                  <a:pt x="323" y="822"/>
                  <a:pt x="322" y="823"/>
                </a:cubicBezTo>
                <a:cubicBezTo>
                  <a:pt x="321" y="823"/>
                  <a:pt x="320" y="823"/>
                  <a:pt x="319" y="823"/>
                </a:cubicBezTo>
                <a:cubicBezTo>
                  <a:pt x="318" y="824"/>
                  <a:pt x="317" y="824"/>
                  <a:pt x="317" y="824"/>
                </a:cubicBezTo>
                <a:cubicBezTo>
                  <a:pt x="315" y="823"/>
                  <a:pt x="313" y="824"/>
                  <a:pt x="311" y="824"/>
                </a:cubicBezTo>
                <a:cubicBezTo>
                  <a:pt x="310" y="823"/>
                  <a:pt x="308" y="823"/>
                  <a:pt x="306" y="824"/>
                </a:cubicBezTo>
                <a:cubicBezTo>
                  <a:pt x="303" y="825"/>
                  <a:pt x="302" y="828"/>
                  <a:pt x="300" y="830"/>
                </a:cubicBezTo>
                <a:cubicBezTo>
                  <a:pt x="299" y="831"/>
                  <a:pt x="299" y="832"/>
                  <a:pt x="298" y="834"/>
                </a:cubicBezTo>
                <a:cubicBezTo>
                  <a:pt x="298" y="835"/>
                  <a:pt x="298" y="836"/>
                  <a:pt x="300" y="837"/>
                </a:cubicBezTo>
                <a:cubicBezTo>
                  <a:pt x="300" y="837"/>
                  <a:pt x="301" y="837"/>
                  <a:pt x="301" y="838"/>
                </a:cubicBezTo>
                <a:cubicBezTo>
                  <a:pt x="302" y="838"/>
                  <a:pt x="302" y="838"/>
                  <a:pt x="303" y="838"/>
                </a:cubicBezTo>
                <a:cubicBezTo>
                  <a:pt x="303" y="838"/>
                  <a:pt x="304" y="839"/>
                  <a:pt x="305" y="839"/>
                </a:cubicBezTo>
                <a:cubicBezTo>
                  <a:pt x="305" y="838"/>
                  <a:pt x="304" y="838"/>
                  <a:pt x="304" y="838"/>
                </a:cubicBezTo>
                <a:cubicBezTo>
                  <a:pt x="302" y="837"/>
                  <a:pt x="301" y="836"/>
                  <a:pt x="302" y="835"/>
                </a:cubicBezTo>
                <a:cubicBezTo>
                  <a:pt x="303" y="834"/>
                  <a:pt x="304" y="834"/>
                  <a:pt x="304" y="834"/>
                </a:cubicBezTo>
                <a:cubicBezTo>
                  <a:pt x="305" y="835"/>
                  <a:pt x="305" y="835"/>
                  <a:pt x="305" y="836"/>
                </a:cubicBezTo>
                <a:cubicBezTo>
                  <a:pt x="306" y="837"/>
                  <a:pt x="306" y="836"/>
                  <a:pt x="307" y="836"/>
                </a:cubicBezTo>
                <a:cubicBezTo>
                  <a:pt x="308" y="836"/>
                  <a:pt x="308" y="837"/>
                  <a:pt x="309" y="836"/>
                </a:cubicBezTo>
                <a:cubicBezTo>
                  <a:pt x="310" y="836"/>
                  <a:pt x="309" y="835"/>
                  <a:pt x="310" y="834"/>
                </a:cubicBezTo>
                <a:cubicBezTo>
                  <a:pt x="310" y="834"/>
                  <a:pt x="310" y="833"/>
                  <a:pt x="310" y="833"/>
                </a:cubicBezTo>
                <a:cubicBezTo>
                  <a:pt x="311" y="832"/>
                  <a:pt x="310" y="831"/>
                  <a:pt x="310" y="831"/>
                </a:cubicBezTo>
                <a:cubicBezTo>
                  <a:pt x="310" y="830"/>
                  <a:pt x="311" y="830"/>
                  <a:pt x="311" y="829"/>
                </a:cubicBezTo>
                <a:cubicBezTo>
                  <a:pt x="312" y="829"/>
                  <a:pt x="312" y="829"/>
                  <a:pt x="313" y="828"/>
                </a:cubicBezTo>
                <a:cubicBezTo>
                  <a:pt x="313" y="827"/>
                  <a:pt x="313" y="827"/>
                  <a:pt x="314" y="827"/>
                </a:cubicBezTo>
                <a:cubicBezTo>
                  <a:pt x="315" y="826"/>
                  <a:pt x="316" y="827"/>
                  <a:pt x="316" y="827"/>
                </a:cubicBezTo>
                <a:cubicBezTo>
                  <a:pt x="317" y="827"/>
                  <a:pt x="318" y="827"/>
                  <a:pt x="318" y="827"/>
                </a:cubicBezTo>
                <a:cubicBezTo>
                  <a:pt x="319" y="827"/>
                  <a:pt x="320" y="826"/>
                  <a:pt x="320" y="827"/>
                </a:cubicBezTo>
                <a:cubicBezTo>
                  <a:pt x="321" y="827"/>
                  <a:pt x="320" y="828"/>
                  <a:pt x="320" y="829"/>
                </a:cubicBezTo>
                <a:cubicBezTo>
                  <a:pt x="319" y="829"/>
                  <a:pt x="319" y="829"/>
                  <a:pt x="318" y="830"/>
                </a:cubicBezTo>
                <a:cubicBezTo>
                  <a:pt x="318" y="830"/>
                  <a:pt x="318" y="831"/>
                  <a:pt x="317" y="832"/>
                </a:cubicBezTo>
                <a:cubicBezTo>
                  <a:pt x="317" y="832"/>
                  <a:pt x="317" y="833"/>
                  <a:pt x="316" y="833"/>
                </a:cubicBezTo>
                <a:cubicBezTo>
                  <a:pt x="316" y="834"/>
                  <a:pt x="316" y="834"/>
                  <a:pt x="316" y="835"/>
                </a:cubicBezTo>
                <a:cubicBezTo>
                  <a:pt x="317" y="836"/>
                  <a:pt x="316" y="836"/>
                  <a:pt x="317" y="837"/>
                </a:cubicBezTo>
                <a:cubicBezTo>
                  <a:pt x="318" y="837"/>
                  <a:pt x="318" y="836"/>
                  <a:pt x="319" y="837"/>
                </a:cubicBezTo>
                <a:cubicBezTo>
                  <a:pt x="319" y="838"/>
                  <a:pt x="321" y="840"/>
                  <a:pt x="319" y="840"/>
                </a:cubicBezTo>
                <a:cubicBezTo>
                  <a:pt x="319" y="840"/>
                  <a:pt x="319" y="840"/>
                  <a:pt x="318" y="839"/>
                </a:cubicBezTo>
                <a:cubicBezTo>
                  <a:pt x="318" y="839"/>
                  <a:pt x="317" y="839"/>
                  <a:pt x="316" y="839"/>
                </a:cubicBezTo>
                <a:cubicBezTo>
                  <a:pt x="316" y="839"/>
                  <a:pt x="315" y="839"/>
                  <a:pt x="315" y="838"/>
                </a:cubicBezTo>
                <a:cubicBezTo>
                  <a:pt x="314" y="837"/>
                  <a:pt x="315" y="837"/>
                  <a:pt x="315" y="837"/>
                </a:cubicBezTo>
                <a:cubicBezTo>
                  <a:pt x="316" y="836"/>
                  <a:pt x="316" y="835"/>
                  <a:pt x="315" y="835"/>
                </a:cubicBezTo>
                <a:cubicBezTo>
                  <a:pt x="315" y="835"/>
                  <a:pt x="315" y="835"/>
                  <a:pt x="314" y="834"/>
                </a:cubicBezTo>
                <a:cubicBezTo>
                  <a:pt x="314" y="834"/>
                  <a:pt x="314" y="834"/>
                  <a:pt x="314" y="834"/>
                </a:cubicBezTo>
                <a:cubicBezTo>
                  <a:pt x="313" y="834"/>
                  <a:pt x="312" y="833"/>
                  <a:pt x="312" y="833"/>
                </a:cubicBezTo>
                <a:cubicBezTo>
                  <a:pt x="311" y="834"/>
                  <a:pt x="311" y="834"/>
                  <a:pt x="311" y="835"/>
                </a:cubicBezTo>
                <a:cubicBezTo>
                  <a:pt x="310" y="836"/>
                  <a:pt x="309" y="837"/>
                  <a:pt x="308" y="837"/>
                </a:cubicBezTo>
                <a:cubicBezTo>
                  <a:pt x="307" y="837"/>
                  <a:pt x="306" y="837"/>
                  <a:pt x="306" y="838"/>
                </a:cubicBezTo>
                <a:cubicBezTo>
                  <a:pt x="306" y="838"/>
                  <a:pt x="307" y="838"/>
                  <a:pt x="307" y="839"/>
                </a:cubicBezTo>
                <a:cubicBezTo>
                  <a:pt x="307" y="839"/>
                  <a:pt x="307" y="840"/>
                  <a:pt x="307" y="840"/>
                </a:cubicBezTo>
                <a:cubicBezTo>
                  <a:pt x="307" y="840"/>
                  <a:pt x="308" y="840"/>
                  <a:pt x="308" y="841"/>
                </a:cubicBezTo>
                <a:cubicBezTo>
                  <a:pt x="308" y="842"/>
                  <a:pt x="307" y="842"/>
                  <a:pt x="306" y="841"/>
                </a:cubicBezTo>
                <a:cubicBezTo>
                  <a:pt x="306" y="841"/>
                  <a:pt x="305" y="841"/>
                  <a:pt x="304" y="841"/>
                </a:cubicBezTo>
                <a:cubicBezTo>
                  <a:pt x="303" y="841"/>
                  <a:pt x="303" y="840"/>
                  <a:pt x="302" y="839"/>
                </a:cubicBezTo>
                <a:cubicBezTo>
                  <a:pt x="301" y="839"/>
                  <a:pt x="301" y="839"/>
                  <a:pt x="300" y="839"/>
                </a:cubicBezTo>
                <a:cubicBezTo>
                  <a:pt x="300" y="838"/>
                  <a:pt x="299" y="838"/>
                  <a:pt x="299" y="837"/>
                </a:cubicBezTo>
                <a:cubicBezTo>
                  <a:pt x="298" y="837"/>
                  <a:pt x="298" y="836"/>
                  <a:pt x="298" y="836"/>
                </a:cubicBezTo>
                <a:cubicBezTo>
                  <a:pt x="297" y="836"/>
                  <a:pt x="297" y="837"/>
                  <a:pt x="297" y="838"/>
                </a:cubicBezTo>
                <a:cubicBezTo>
                  <a:pt x="297" y="839"/>
                  <a:pt x="296" y="839"/>
                  <a:pt x="296" y="839"/>
                </a:cubicBezTo>
                <a:cubicBezTo>
                  <a:pt x="295" y="840"/>
                  <a:pt x="295" y="840"/>
                  <a:pt x="295" y="841"/>
                </a:cubicBezTo>
                <a:cubicBezTo>
                  <a:pt x="295" y="841"/>
                  <a:pt x="295" y="842"/>
                  <a:pt x="295" y="843"/>
                </a:cubicBezTo>
                <a:cubicBezTo>
                  <a:pt x="295" y="844"/>
                  <a:pt x="296" y="846"/>
                  <a:pt x="296" y="847"/>
                </a:cubicBezTo>
                <a:cubicBezTo>
                  <a:pt x="296" y="848"/>
                  <a:pt x="296" y="849"/>
                  <a:pt x="296" y="849"/>
                </a:cubicBezTo>
                <a:cubicBezTo>
                  <a:pt x="296" y="850"/>
                  <a:pt x="295" y="851"/>
                  <a:pt x="295" y="851"/>
                </a:cubicBezTo>
                <a:cubicBezTo>
                  <a:pt x="295" y="852"/>
                  <a:pt x="295" y="855"/>
                  <a:pt x="296" y="855"/>
                </a:cubicBezTo>
                <a:cubicBezTo>
                  <a:pt x="297" y="855"/>
                  <a:pt x="296" y="852"/>
                  <a:pt x="298" y="853"/>
                </a:cubicBezTo>
                <a:cubicBezTo>
                  <a:pt x="299" y="854"/>
                  <a:pt x="299" y="854"/>
                  <a:pt x="299" y="855"/>
                </a:cubicBezTo>
                <a:cubicBezTo>
                  <a:pt x="299" y="855"/>
                  <a:pt x="300" y="856"/>
                  <a:pt x="300" y="857"/>
                </a:cubicBezTo>
                <a:cubicBezTo>
                  <a:pt x="300" y="857"/>
                  <a:pt x="299" y="857"/>
                  <a:pt x="298" y="857"/>
                </a:cubicBezTo>
                <a:cubicBezTo>
                  <a:pt x="297" y="858"/>
                  <a:pt x="297" y="857"/>
                  <a:pt x="297" y="857"/>
                </a:cubicBezTo>
                <a:cubicBezTo>
                  <a:pt x="295" y="856"/>
                  <a:pt x="296" y="858"/>
                  <a:pt x="296" y="859"/>
                </a:cubicBezTo>
                <a:cubicBezTo>
                  <a:pt x="297" y="860"/>
                  <a:pt x="296" y="862"/>
                  <a:pt x="296" y="863"/>
                </a:cubicBezTo>
                <a:cubicBezTo>
                  <a:pt x="296" y="864"/>
                  <a:pt x="296" y="865"/>
                  <a:pt x="296" y="866"/>
                </a:cubicBezTo>
                <a:cubicBezTo>
                  <a:pt x="296" y="866"/>
                  <a:pt x="295" y="867"/>
                  <a:pt x="295" y="868"/>
                </a:cubicBezTo>
                <a:cubicBezTo>
                  <a:pt x="296" y="868"/>
                  <a:pt x="296" y="868"/>
                  <a:pt x="297" y="869"/>
                </a:cubicBezTo>
                <a:cubicBezTo>
                  <a:pt x="297" y="869"/>
                  <a:pt x="297" y="870"/>
                  <a:pt x="298" y="871"/>
                </a:cubicBezTo>
                <a:cubicBezTo>
                  <a:pt x="299" y="871"/>
                  <a:pt x="299" y="870"/>
                  <a:pt x="299" y="870"/>
                </a:cubicBezTo>
                <a:cubicBezTo>
                  <a:pt x="299" y="869"/>
                  <a:pt x="298" y="869"/>
                  <a:pt x="298" y="868"/>
                </a:cubicBezTo>
                <a:cubicBezTo>
                  <a:pt x="298" y="867"/>
                  <a:pt x="299" y="867"/>
                  <a:pt x="300" y="867"/>
                </a:cubicBezTo>
                <a:cubicBezTo>
                  <a:pt x="301" y="867"/>
                  <a:pt x="301" y="868"/>
                  <a:pt x="301" y="868"/>
                </a:cubicBezTo>
                <a:cubicBezTo>
                  <a:pt x="302" y="869"/>
                  <a:pt x="303" y="869"/>
                  <a:pt x="303" y="869"/>
                </a:cubicBezTo>
                <a:cubicBezTo>
                  <a:pt x="305" y="870"/>
                  <a:pt x="304" y="872"/>
                  <a:pt x="305" y="873"/>
                </a:cubicBezTo>
                <a:cubicBezTo>
                  <a:pt x="305" y="874"/>
                  <a:pt x="306" y="874"/>
                  <a:pt x="306" y="874"/>
                </a:cubicBezTo>
                <a:cubicBezTo>
                  <a:pt x="307" y="875"/>
                  <a:pt x="307" y="876"/>
                  <a:pt x="306" y="877"/>
                </a:cubicBezTo>
                <a:cubicBezTo>
                  <a:pt x="306" y="877"/>
                  <a:pt x="306" y="877"/>
                  <a:pt x="306" y="877"/>
                </a:cubicBezTo>
                <a:cubicBezTo>
                  <a:pt x="305" y="878"/>
                  <a:pt x="305" y="878"/>
                  <a:pt x="305" y="879"/>
                </a:cubicBezTo>
                <a:cubicBezTo>
                  <a:pt x="304" y="880"/>
                  <a:pt x="303" y="877"/>
                  <a:pt x="302" y="878"/>
                </a:cubicBezTo>
                <a:cubicBezTo>
                  <a:pt x="302" y="878"/>
                  <a:pt x="302" y="879"/>
                  <a:pt x="302" y="879"/>
                </a:cubicBezTo>
                <a:cubicBezTo>
                  <a:pt x="302" y="880"/>
                  <a:pt x="302" y="880"/>
                  <a:pt x="303" y="880"/>
                </a:cubicBezTo>
                <a:cubicBezTo>
                  <a:pt x="303" y="880"/>
                  <a:pt x="303" y="880"/>
                  <a:pt x="304" y="880"/>
                </a:cubicBezTo>
                <a:cubicBezTo>
                  <a:pt x="304" y="880"/>
                  <a:pt x="305" y="882"/>
                  <a:pt x="305" y="881"/>
                </a:cubicBezTo>
                <a:cubicBezTo>
                  <a:pt x="306" y="879"/>
                  <a:pt x="306" y="883"/>
                  <a:pt x="305" y="883"/>
                </a:cubicBezTo>
                <a:cubicBezTo>
                  <a:pt x="305" y="884"/>
                  <a:pt x="305" y="884"/>
                  <a:pt x="305" y="885"/>
                </a:cubicBezTo>
                <a:cubicBezTo>
                  <a:pt x="305" y="886"/>
                  <a:pt x="305" y="886"/>
                  <a:pt x="304" y="886"/>
                </a:cubicBezTo>
                <a:cubicBezTo>
                  <a:pt x="303" y="886"/>
                  <a:pt x="302" y="886"/>
                  <a:pt x="301" y="886"/>
                </a:cubicBezTo>
                <a:cubicBezTo>
                  <a:pt x="299" y="886"/>
                  <a:pt x="301" y="883"/>
                  <a:pt x="302" y="882"/>
                </a:cubicBezTo>
                <a:cubicBezTo>
                  <a:pt x="302" y="882"/>
                  <a:pt x="302" y="881"/>
                  <a:pt x="301" y="881"/>
                </a:cubicBezTo>
                <a:cubicBezTo>
                  <a:pt x="300" y="881"/>
                  <a:pt x="300" y="882"/>
                  <a:pt x="300" y="882"/>
                </a:cubicBezTo>
                <a:cubicBezTo>
                  <a:pt x="300" y="884"/>
                  <a:pt x="299" y="884"/>
                  <a:pt x="299" y="886"/>
                </a:cubicBezTo>
                <a:cubicBezTo>
                  <a:pt x="298" y="887"/>
                  <a:pt x="298" y="889"/>
                  <a:pt x="299" y="890"/>
                </a:cubicBezTo>
                <a:cubicBezTo>
                  <a:pt x="300" y="892"/>
                  <a:pt x="299" y="888"/>
                  <a:pt x="300" y="887"/>
                </a:cubicBezTo>
                <a:cubicBezTo>
                  <a:pt x="300" y="886"/>
                  <a:pt x="302" y="887"/>
                  <a:pt x="303" y="887"/>
                </a:cubicBezTo>
                <a:cubicBezTo>
                  <a:pt x="304" y="887"/>
                  <a:pt x="306" y="886"/>
                  <a:pt x="307" y="888"/>
                </a:cubicBezTo>
                <a:cubicBezTo>
                  <a:pt x="307" y="888"/>
                  <a:pt x="307" y="889"/>
                  <a:pt x="307" y="890"/>
                </a:cubicBezTo>
                <a:cubicBezTo>
                  <a:pt x="308" y="890"/>
                  <a:pt x="309" y="890"/>
                  <a:pt x="309" y="891"/>
                </a:cubicBezTo>
                <a:cubicBezTo>
                  <a:pt x="310" y="891"/>
                  <a:pt x="310" y="892"/>
                  <a:pt x="310" y="893"/>
                </a:cubicBezTo>
                <a:cubicBezTo>
                  <a:pt x="310" y="894"/>
                  <a:pt x="310" y="894"/>
                  <a:pt x="311" y="894"/>
                </a:cubicBezTo>
                <a:cubicBezTo>
                  <a:pt x="312" y="895"/>
                  <a:pt x="312" y="897"/>
                  <a:pt x="312" y="898"/>
                </a:cubicBezTo>
                <a:cubicBezTo>
                  <a:pt x="311" y="899"/>
                  <a:pt x="309" y="899"/>
                  <a:pt x="308" y="899"/>
                </a:cubicBezTo>
                <a:cubicBezTo>
                  <a:pt x="307" y="899"/>
                  <a:pt x="306" y="899"/>
                  <a:pt x="306" y="900"/>
                </a:cubicBezTo>
                <a:cubicBezTo>
                  <a:pt x="306" y="900"/>
                  <a:pt x="305" y="901"/>
                  <a:pt x="306" y="902"/>
                </a:cubicBezTo>
                <a:cubicBezTo>
                  <a:pt x="307" y="902"/>
                  <a:pt x="308" y="902"/>
                  <a:pt x="309" y="902"/>
                </a:cubicBezTo>
                <a:cubicBezTo>
                  <a:pt x="311" y="902"/>
                  <a:pt x="309" y="904"/>
                  <a:pt x="309" y="905"/>
                </a:cubicBezTo>
                <a:cubicBezTo>
                  <a:pt x="309" y="906"/>
                  <a:pt x="310" y="907"/>
                  <a:pt x="310" y="908"/>
                </a:cubicBezTo>
                <a:cubicBezTo>
                  <a:pt x="310" y="908"/>
                  <a:pt x="310" y="909"/>
                  <a:pt x="310" y="909"/>
                </a:cubicBezTo>
                <a:cubicBezTo>
                  <a:pt x="310" y="910"/>
                  <a:pt x="312" y="910"/>
                  <a:pt x="312" y="911"/>
                </a:cubicBezTo>
                <a:cubicBezTo>
                  <a:pt x="313" y="912"/>
                  <a:pt x="313" y="912"/>
                  <a:pt x="314" y="912"/>
                </a:cubicBezTo>
                <a:cubicBezTo>
                  <a:pt x="314" y="912"/>
                  <a:pt x="315" y="912"/>
                  <a:pt x="316" y="913"/>
                </a:cubicBezTo>
                <a:cubicBezTo>
                  <a:pt x="316" y="914"/>
                  <a:pt x="316" y="914"/>
                  <a:pt x="315" y="914"/>
                </a:cubicBezTo>
                <a:cubicBezTo>
                  <a:pt x="314" y="915"/>
                  <a:pt x="313" y="915"/>
                  <a:pt x="313" y="914"/>
                </a:cubicBezTo>
                <a:cubicBezTo>
                  <a:pt x="312" y="914"/>
                  <a:pt x="312" y="914"/>
                  <a:pt x="311" y="913"/>
                </a:cubicBezTo>
                <a:cubicBezTo>
                  <a:pt x="310" y="913"/>
                  <a:pt x="308" y="914"/>
                  <a:pt x="307" y="914"/>
                </a:cubicBezTo>
                <a:cubicBezTo>
                  <a:pt x="306" y="914"/>
                  <a:pt x="305" y="913"/>
                  <a:pt x="305" y="914"/>
                </a:cubicBezTo>
                <a:cubicBezTo>
                  <a:pt x="304" y="914"/>
                  <a:pt x="304" y="915"/>
                  <a:pt x="304" y="916"/>
                </a:cubicBezTo>
                <a:cubicBezTo>
                  <a:pt x="303" y="917"/>
                  <a:pt x="302" y="918"/>
                  <a:pt x="303" y="920"/>
                </a:cubicBezTo>
                <a:cubicBezTo>
                  <a:pt x="304" y="920"/>
                  <a:pt x="304" y="920"/>
                  <a:pt x="304" y="921"/>
                </a:cubicBezTo>
                <a:cubicBezTo>
                  <a:pt x="304" y="922"/>
                  <a:pt x="303" y="923"/>
                  <a:pt x="303" y="923"/>
                </a:cubicBezTo>
                <a:cubicBezTo>
                  <a:pt x="302" y="923"/>
                  <a:pt x="301" y="921"/>
                  <a:pt x="300" y="920"/>
                </a:cubicBezTo>
                <a:cubicBezTo>
                  <a:pt x="300" y="920"/>
                  <a:pt x="296" y="920"/>
                  <a:pt x="297" y="922"/>
                </a:cubicBezTo>
                <a:cubicBezTo>
                  <a:pt x="298" y="923"/>
                  <a:pt x="300" y="923"/>
                  <a:pt x="299" y="924"/>
                </a:cubicBezTo>
                <a:cubicBezTo>
                  <a:pt x="298" y="925"/>
                  <a:pt x="295" y="925"/>
                  <a:pt x="295" y="924"/>
                </a:cubicBezTo>
                <a:cubicBezTo>
                  <a:pt x="296" y="923"/>
                  <a:pt x="296" y="923"/>
                  <a:pt x="296" y="922"/>
                </a:cubicBezTo>
                <a:cubicBezTo>
                  <a:pt x="296" y="921"/>
                  <a:pt x="295" y="921"/>
                  <a:pt x="295" y="921"/>
                </a:cubicBezTo>
                <a:cubicBezTo>
                  <a:pt x="293" y="920"/>
                  <a:pt x="292" y="919"/>
                  <a:pt x="290" y="919"/>
                </a:cubicBezTo>
                <a:cubicBezTo>
                  <a:pt x="288" y="918"/>
                  <a:pt x="286" y="919"/>
                  <a:pt x="283" y="919"/>
                </a:cubicBezTo>
                <a:cubicBezTo>
                  <a:pt x="282" y="919"/>
                  <a:pt x="281" y="919"/>
                  <a:pt x="280" y="919"/>
                </a:cubicBezTo>
                <a:cubicBezTo>
                  <a:pt x="279" y="919"/>
                  <a:pt x="279" y="919"/>
                  <a:pt x="279" y="919"/>
                </a:cubicBezTo>
                <a:cubicBezTo>
                  <a:pt x="279" y="919"/>
                  <a:pt x="278" y="919"/>
                  <a:pt x="278" y="919"/>
                </a:cubicBezTo>
                <a:cubicBezTo>
                  <a:pt x="277" y="920"/>
                  <a:pt x="277" y="920"/>
                  <a:pt x="277" y="921"/>
                </a:cubicBezTo>
                <a:cubicBezTo>
                  <a:pt x="276" y="921"/>
                  <a:pt x="275" y="921"/>
                  <a:pt x="275" y="922"/>
                </a:cubicBezTo>
                <a:cubicBezTo>
                  <a:pt x="274" y="922"/>
                  <a:pt x="274" y="923"/>
                  <a:pt x="274" y="924"/>
                </a:cubicBezTo>
                <a:cubicBezTo>
                  <a:pt x="274" y="924"/>
                  <a:pt x="273" y="925"/>
                  <a:pt x="273" y="925"/>
                </a:cubicBezTo>
                <a:cubicBezTo>
                  <a:pt x="273" y="926"/>
                  <a:pt x="274" y="926"/>
                  <a:pt x="274" y="927"/>
                </a:cubicBezTo>
                <a:cubicBezTo>
                  <a:pt x="275" y="927"/>
                  <a:pt x="275" y="928"/>
                  <a:pt x="276" y="928"/>
                </a:cubicBezTo>
                <a:cubicBezTo>
                  <a:pt x="276" y="928"/>
                  <a:pt x="277" y="928"/>
                  <a:pt x="277" y="929"/>
                </a:cubicBezTo>
                <a:cubicBezTo>
                  <a:pt x="279" y="930"/>
                  <a:pt x="276" y="931"/>
                  <a:pt x="276" y="930"/>
                </a:cubicBezTo>
                <a:cubicBezTo>
                  <a:pt x="276" y="930"/>
                  <a:pt x="276" y="930"/>
                  <a:pt x="275" y="930"/>
                </a:cubicBezTo>
                <a:cubicBezTo>
                  <a:pt x="275" y="929"/>
                  <a:pt x="275" y="929"/>
                  <a:pt x="275" y="929"/>
                </a:cubicBezTo>
                <a:cubicBezTo>
                  <a:pt x="274" y="929"/>
                  <a:pt x="274" y="929"/>
                  <a:pt x="273" y="928"/>
                </a:cubicBezTo>
                <a:cubicBezTo>
                  <a:pt x="273" y="927"/>
                  <a:pt x="272" y="927"/>
                  <a:pt x="272" y="927"/>
                </a:cubicBezTo>
                <a:cubicBezTo>
                  <a:pt x="271" y="927"/>
                  <a:pt x="271" y="926"/>
                  <a:pt x="270" y="926"/>
                </a:cubicBezTo>
                <a:cubicBezTo>
                  <a:pt x="269" y="926"/>
                  <a:pt x="268" y="926"/>
                  <a:pt x="268" y="925"/>
                </a:cubicBezTo>
                <a:cubicBezTo>
                  <a:pt x="267" y="925"/>
                  <a:pt x="266" y="926"/>
                  <a:pt x="266" y="926"/>
                </a:cubicBezTo>
                <a:cubicBezTo>
                  <a:pt x="265" y="926"/>
                  <a:pt x="264" y="926"/>
                  <a:pt x="263" y="925"/>
                </a:cubicBezTo>
                <a:cubicBezTo>
                  <a:pt x="262" y="925"/>
                  <a:pt x="261" y="926"/>
                  <a:pt x="259" y="926"/>
                </a:cubicBezTo>
                <a:cubicBezTo>
                  <a:pt x="258" y="926"/>
                  <a:pt x="256" y="926"/>
                  <a:pt x="255" y="926"/>
                </a:cubicBezTo>
                <a:cubicBezTo>
                  <a:pt x="253" y="926"/>
                  <a:pt x="252" y="926"/>
                  <a:pt x="250" y="927"/>
                </a:cubicBezTo>
                <a:cubicBezTo>
                  <a:pt x="249" y="928"/>
                  <a:pt x="248" y="928"/>
                  <a:pt x="247" y="928"/>
                </a:cubicBezTo>
                <a:cubicBezTo>
                  <a:pt x="245" y="929"/>
                  <a:pt x="244" y="930"/>
                  <a:pt x="244" y="931"/>
                </a:cubicBezTo>
                <a:cubicBezTo>
                  <a:pt x="243" y="932"/>
                  <a:pt x="242" y="933"/>
                  <a:pt x="241" y="933"/>
                </a:cubicBezTo>
                <a:cubicBezTo>
                  <a:pt x="240" y="934"/>
                  <a:pt x="239" y="935"/>
                  <a:pt x="239" y="936"/>
                </a:cubicBezTo>
                <a:cubicBezTo>
                  <a:pt x="238" y="937"/>
                  <a:pt x="237" y="937"/>
                  <a:pt x="236" y="938"/>
                </a:cubicBezTo>
                <a:cubicBezTo>
                  <a:pt x="235" y="939"/>
                  <a:pt x="234" y="939"/>
                  <a:pt x="232" y="939"/>
                </a:cubicBezTo>
                <a:cubicBezTo>
                  <a:pt x="232" y="939"/>
                  <a:pt x="231" y="939"/>
                  <a:pt x="230" y="939"/>
                </a:cubicBezTo>
                <a:cubicBezTo>
                  <a:pt x="230" y="939"/>
                  <a:pt x="229" y="940"/>
                  <a:pt x="229" y="940"/>
                </a:cubicBezTo>
                <a:cubicBezTo>
                  <a:pt x="228" y="941"/>
                  <a:pt x="227" y="942"/>
                  <a:pt x="227" y="943"/>
                </a:cubicBezTo>
                <a:cubicBezTo>
                  <a:pt x="227" y="944"/>
                  <a:pt x="227" y="945"/>
                  <a:pt x="227" y="947"/>
                </a:cubicBezTo>
                <a:cubicBezTo>
                  <a:pt x="227" y="947"/>
                  <a:pt x="226" y="948"/>
                  <a:pt x="226" y="948"/>
                </a:cubicBezTo>
                <a:cubicBezTo>
                  <a:pt x="226" y="949"/>
                  <a:pt x="226" y="950"/>
                  <a:pt x="226" y="950"/>
                </a:cubicBezTo>
                <a:cubicBezTo>
                  <a:pt x="225" y="952"/>
                  <a:pt x="224" y="954"/>
                  <a:pt x="223" y="956"/>
                </a:cubicBezTo>
                <a:cubicBezTo>
                  <a:pt x="222" y="957"/>
                  <a:pt x="221" y="958"/>
                  <a:pt x="220" y="959"/>
                </a:cubicBezTo>
                <a:cubicBezTo>
                  <a:pt x="220" y="961"/>
                  <a:pt x="220" y="961"/>
                  <a:pt x="218" y="962"/>
                </a:cubicBezTo>
                <a:cubicBezTo>
                  <a:pt x="217" y="963"/>
                  <a:pt x="213" y="966"/>
                  <a:pt x="216" y="968"/>
                </a:cubicBezTo>
                <a:cubicBezTo>
                  <a:pt x="216" y="968"/>
                  <a:pt x="217" y="969"/>
                  <a:pt x="217" y="969"/>
                </a:cubicBezTo>
                <a:cubicBezTo>
                  <a:pt x="218" y="969"/>
                  <a:pt x="218" y="969"/>
                  <a:pt x="219" y="969"/>
                </a:cubicBezTo>
                <a:cubicBezTo>
                  <a:pt x="219" y="969"/>
                  <a:pt x="220" y="970"/>
                  <a:pt x="220" y="970"/>
                </a:cubicBezTo>
                <a:cubicBezTo>
                  <a:pt x="221" y="971"/>
                  <a:pt x="222" y="970"/>
                  <a:pt x="222" y="971"/>
                </a:cubicBezTo>
                <a:cubicBezTo>
                  <a:pt x="223" y="972"/>
                  <a:pt x="220" y="972"/>
                  <a:pt x="220" y="972"/>
                </a:cubicBezTo>
                <a:cubicBezTo>
                  <a:pt x="219" y="973"/>
                  <a:pt x="219" y="973"/>
                  <a:pt x="219" y="973"/>
                </a:cubicBezTo>
                <a:cubicBezTo>
                  <a:pt x="219" y="973"/>
                  <a:pt x="218" y="973"/>
                  <a:pt x="218" y="973"/>
                </a:cubicBezTo>
                <a:cubicBezTo>
                  <a:pt x="217" y="973"/>
                  <a:pt x="217" y="974"/>
                  <a:pt x="216" y="974"/>
                </a:cubicBezTo>
                <a:cubicBezTo>
                  <a:pt x="216" y="974"/>
                  <a:pt x="216" y="973"/>
                  <a:pt x="215" y="972"/>
                </a:cubicBezTo>
                <a:cubicBezTo>
                  <a:pt x="215" y="972"/>
                  <a:pt x="214" y="972"/>
                  <a:pt x="214" y="971"/>
                </a:cubicBezTo>
                <a:cubicBezTo>
                  <a:pt x="213" y="971"/>
                  <a:pt x="212" y="970"/>
                  <a:pt x="210" y="970"/>
                </a:cubicBezTo>
                <a:cubicBezTo>
                  <a:pt x="209" y="971"/>
                  <a:pt x="208" y="972"/>
                  <a:pt x="210" y="972"/>
                </a:cubicBezTo>
                <a:cubicBezTo>
                  <a:pt x="210" y="972"/>
                  <a:pt x="211" y="972"/>
                  <a:pt x="212" y="972"/>
                </a:cubicBezTo>
                <a:cubicBezTo>
                  <a:pt x="212" y="972"/>
                  <a:pt x="212" y="973"/>
                  <a:pt x="213" y="973"/>
                </a:cubicBezTo>
                <a:cubicBezTo>
                  <a:pt x="213" y="974"/>
                  <a:pt x="214" y="973"/>
                  <a:pt x="214" y="974"/>
                </a:cubicBezTo>
                <a:cubicBezTo>
                  <a:pt x="214" y="974"/>
                  <a:pt x="214" y="974"/>
                  <a:pt x="215" y="974"/>
                </a:cubicBezTo>
                <a:cubicBezTo>
                  <a:pt x="215" y="975"/>
                  <a:pt x="215" y="975"/>
                  <a:pt x="216" y="975"/>
                </a:cubicBezTo>
                <a:cubicBezTo>
                  <a:pt x="217" y="975"/>
                  <a:pt x="217" y="975"/>
                  <a:pt x="218" y="976"/>
                </a:cubicBezTo>
                <a:cubicBezTo>
                  <a:pt x="219" y="976"/>
                  <a:pt x="219" y="977"/>
                  <a:pt x="219" y="978"/>
                </a:cubicBezTo>
                <a:cubicBezTo>
                  <a:pt x="218" y="978"/>
                  <a:pt x="218" y="977"/>
                  <a:pt x="217" y="977"/>
                </a:cubicBezTo>
                <a:cubicBezTo>
                  <a:pt x="216" y="977"/>
                  <a:pt x="215" y="976"/>
                  <a:pt x="214" y="976"/>
                </a:cubicBezTo>
                <a:cubicBezTo>
                  <a:pt x="214" y="976"/>
                  <a:pt x="213" y="976"/>
                  <a:pt x="213" y="976"/>
                </a:cubicBezTo>
                <a:cubicBezTo>
                  <a:pt x="213" y="975"/>
                  <a:pt x="212" y="975"/>
                  <a:pt x="212" y="975"/>
                </a:cubicBezTo>
                <a:cubicBezTo>
                  <a:pt x="211" y="974"/>
                  <a:pt x="208" y="974"/>
                  <a:pt x="206" y="974"/>
                </a:cubicBezTo>
                <a:cubicBezTo>
                  <a:pt x="205" y="974"/>
                  <a:pt x="203" y="975"/>
                  <a:pt x="204" y="976"/>
                </a:cubicBezTo>
                <a:cubicBezTo>
                  <a:pt x="204" y="977"/>
                  <a:pt x="204" y="976"/>
                  <a:pt x="204" y="977"/>
                </a:cubicBezTo>
                <a:cubicBezTo>
                  <a:pt x="205" y="977"/>
                  <a:pt x="205" y="977"/>
                  <a:pt x="205" y="977"/>
                </a:cubicBezTo>
                <a:cubicBezTo>
                  <a:pt x="206" y="978"/>
                  <a:pt x="206" y="978"/>
                  <a:pt x="207" y="978"/>
                </a:cubicBezTo>
                <a:cubicBezTo>
                  <a:pt x="208" y="977"/>
                  <a:pt x="209" y="978"/>
                  <a:pt x="211" y="978"/>
                </a:cubicBezTo>
                <a:cubicBezTo>
                  <a:pt x="211" y="978"/>
                  <a:pt x="212" y="978"/>
                  <a:pt x="213" y="978"/>
                </a:cubicBezTo>
                <a:cubicBezTo>
                  <a:pt x="213" y="978"/>
                  <a:pt x="214" y="978"/>
                  <a:pt x="214" y="978"/>
                </a:cubicBezTo>
                <a:cubicBezTo>
                  <a:pt x="215" y="978"/>
                  <a:pt x="215" y="979"/>
                  <a:pt x="216" y="979"/>
                </a:cubicBezTo>
                <a:cubicBezTo>
                  <a:pt x="217" y="979"/>
                  <a:pt x="219" y="980"/>
                  <a:pt x="219" y="981"/>
                </a:cubicBezTo>
                <a:cubicBezTo>
                  <a:pt x="219" y="980"/>
                  <a:pt x="217" y="980"/>
                  <a:pt x="216" y="980"/>
                </a:cubicBezTo>
                <a:cubicBezTo>
                  <a:pt x="214" y="980"/>
                  <a:pt x="213" y="980"/>
                  <a:pt x="211" y="980"/>
                </a:cubicBezTo>
                <a:cubicBezTo>
                  <a:pt x="210" y="980"/>
                  <a:pt x="209" y="979"/>
                  <a:pt x="207" y="979"/>
                </a:cubicBezTo>
                <a:cubicBezTo>
                  <a:pt x="207" y="979"/>
                  <a:pt x="206" y="980"/>
                  <a:pt x="206" y="980"/>
                </a:cubicBezTo>
                <a:cubicBezTo>
                  <a:pt x="205" y="979"/>
                  <a:pt x="204" y="979"/>
                  <a:pt x="204" y="979"/>
                </a:cubicBezTo>
                <a:cubicBezTo>
                  <a:pt x="203" y="979"/>
                  <a:pt x="203" y="980"/>
                  <a:pt x="203" y="980"/>
                </a:cubicBezTo>
                <a:cubicBezTo>
                  <a:pt x="202" y="980"/>
                  <a:pt x="202" y="980"/>
                  <a:pt x="201" y="980"/>
                </a:cubicBezTo>
                <a:cubicBezTo>
                  <a:pt x="201" y="980"/>
                  <a:pt x="200" y="980"/>
                  <a:pt x="200" y="980"/>
                </a:cubicBezTo>
                <a:cubicBezTo>
                  <a:pt x="199" y="980"/>
                  <a:pt x="199" y="981"/>
                  <a:pt x="198" y="981"/>
                </a:cubicBezTo>
                <a:cubicBezTo>
                  <a:pt x="197" y="982"/>
                  <a:pt x="196" y="982"/>
                  <a:pt x="196" y="982"/>
                </a:cubicBezTo>
                <a:cubicBezTo>
                  <a:pt x="194" y="982"/>
                  <a:pt x="193" y="983"/>
                  <a:pt x="192" y="984"/>
                </a:cubicBezTo>
                <a:cubicBezTo>
                  <a:pt x="191" y="985"/>
                  <a:pt x="190" y="985"/>
                  <a:pt x="188" y="986"/>
                </a:cubicBezTo>
                <a:cubicBezTo>
                  <a:pt x="187" y="986"/>
                  <a:pt x="186" y="987"/>
                  <a:pt x="185" y="987"/>
                </a:cubicBezTo>
                <a:cubicBezTo>
                  <a:pt x="183" y="988"/>
                  <a:pt x="182" y="988"/>
                  <a:pt x="180" y="989"/>
                </a:cubicBezTo>
                <a:cubicBezTo>
                  <a:pt x="179" y="989"/>
                  <a:pt x="179" y="990"/>
                  <a:pt x="178" y="990"/>
                </a:cubicBezTo>
                <a:cubicBezTo>
                  <a:pt x="177" y="990"/>
                  <a:pt x="176" y="990"/>
                  <a:pt x="175" y="990"/>
                </a:cubicBezTo>
                <a:cubicBezTo>
                  <a:pt x="173" y="991"/>
                  <a:pt x="172" y="991"/>
                  <a:pt x="171" y="992"/>
                </a:cubicBezTo>
                <a:cubicBezTo>
                  <a:pt x="170" y="992"/>
                  <a:pt x="169" y="992"/>
                  <a:pt x="167" y="993"/>
                </a:cubicBezTo>
                <a:cubicBezTo>
                  <a:pt x="166" y="994"/>
                  <a:pt x="166" y="995"/>
                  <a:pt x="166" y="997"/>
                </a:cubicBezTo>
                <a:cubicBezTo>
                  <a:pt x="166" y="998"/>
                  <a:pt x="166" y="1000"/>
                  <a:pt x="166" y="1001"/>
                </a:cubicBezTo>
                <a:cubicBezTo>
                  <a:pt x="167" y="1002"/>
                  <a:pt x="167" y="1002"/>
                  <a:pt x="167" y="1003"/>
                </a:cubicBezTo>
                <a:cubicBezTo>
                  <a:pt x="167" y="1004"/>
                  <a:pt x="167" y="1004"/>
                  <a:pt x="167" y="1005"/>
                </a:cubicBezTo>
                <a:cubicBezTo>
                  <a:pt x="167" y="1006"/>
                  <a:pt x="167" y="1006"/>
                  <a:pt x="167" y="1007"/>
                </a:cubicBezTo>
                <a:cubicBezTo>
                  <a:pt x="167" y="1008"/>
                  <a:pt x="167" y="1008"/>
                  <a:pt x="168" y="1009"/>
                </a:cubicBezTo>
                <a:cubicBezTo>
                  <a:pt x="168" y="1010"/>
                  <a:pt x="167" y="1011"/>
                  <a:pt x="166" y="1012"/>
                </a:cubicBezTo>
                <a:cubicBezTo>
                  <a:pt x="165" y="1012"/>
                  <a:pt x="164" y="1012"/>
                  <a:pt x="164" y="1013"/>
                </a:cubicBezTo>
                <a:cubicBezTo>
                  <a:pt x="163" y="1013"/>
                  <a:pt x="162" y="1014"/>
                  <a:pt x="162" y="1014"/>
                </a:cubicBezTo>
                <a:cubicBezTo>
                  <a:pt x="160" y="1015"/>
                  <a:pt x="158" y="1016"/>
                  <a:pt x="157" y="1017"/>
                </a:cubicBezTo>
                <a:cubicBezTo>
                  <a:pt x="156" y="1018"/>
                  <a:pt x="155" y="1018"/>
                  <a:pt x="155" y="1018"/>
                </a:cubicBezTo>
                <a:cubicBezTo>
                  <a:pt x="153" y="1018"/>
                  <a:pt x="152" y="1018"/>
                  <a:pt x="151" y="1019"/>
                </a:cubicBezTo>
                <a:cubicBezTo>
                  <a:pt x="149" y="1019"/>
                  <a:pt x="148" y="1019"/>
                  <a:pt x="146" y="1020"/>
                </a:cubicBezTo>
                <a:cubicBezTo>
                  <a:pt x="145" y="1020"/>
                  <a:pt x="144" y="1021"/>
                  <a:pt x="143" y="1021"/>
                </a:cubicBezTo>
                <a:cubicBezTo>
                  <a:pt x="141" y="1022"/>
                  <a:pt x="140" y="1022"/>
                  <a:pt x="139" y="1024"/>
                </a:cubicBezTo>
                <a:cubicBezTo>
                  <a:pt x="138" y="1025"/>
                  <a:pt x="137" y="1026"/>
                  <a:pt x="137" y="1027"/>
                </a:cubicBezTo>
                <a:cubicBezTo>
                  <a:pt x="135" y="1031"/>
                  <a:pt x="143" y="1028"/>
                  <a:pt x="143" y="1030"/>
                </a:cubicBezTo>
                <a:cubicBezTo>
                  <a:pt x="143" y="1031"/>
                  <a:pt x="142" y="1030"/>
                  <a:pt x="141" y="1030"/>
                </a:cubicBezTo>
                <a:cubicBezTo>
                  <a:pt x="140" y="1030"/>
                  <a:pt x="140" y="1031"/>
                  <a:pt x="139" y="1031"/>
                </a:cubicBezTo>
                <a:cubicBezTo>
                  <a:pt x="136" y="1033"/>
                  <a:pt x="132" y="1035"/>
                  <a:pt x="128" y="1034"/>
                </a:cubicBezTo>
                <a:cubicBezTo>
                  <a:pt x="126" y="1033"/>
                  <a:pt x="125" y="1033"/>
                  <a:pt x="123" y="1033"/>
                </a:cubicBezTo>
                <a:cubicBezTo>
                  <a:pt x="122" y="1033"/>
                  <a:pt x="120" y="1033"/>
                  <a:pt x="119" y="1033"/>
                </a:cubicBezTo>
                <a:cubicBezTo>
                  <a:pt x="118" y="1033"/>
                  <a:pt x="116" y="1032"/>
                  <a:pt x="115" y="1032"/>
                </a:cubicBezTo>
                <a:cubicBezTo>
                  <a:pt x="114" y="1032"/>
                  <a:pt x="113" y="1032"/>
                  <a:pt x="113" y="1031"/>
                </a:cubicBezTo>
                <a:cubicBezTo>
                  <a:pt x="112" y="1031"/>
                  <a:pt x="112" y="1030"/>
                  <a:pt x="112" y="1030"/>
                </a:cubicBezTo>
                <a:cubicBezTo>
                  <a:pt x="111" y="1029"/>
                  <a:pt x="110" y="1028"/>
                  <a:pt x="109" y="1027"/>
                </a:cubicBezTo>
                <a:cubicBezTo>
                  <a:pt x="109" y="1026"/>
                  <a:pt x="109" y="1026"/>
                  <a:pt x="110" y="1025"/>
                </a:cubicBezTo>
                <a:cubicBezTo>
                  <a:pt x="110" y="1025"/>
                  <a:pt x="111" y="1025"/>
                  <a:pt x="111" y="1024"/>
                </a:cubicBezTo>
                <a:cubicBezTo>
                  <a:pt x="110" y="1024"/>
                  <a:pt x="109" y="1024"/>
                  <a:pt x="109" y="1023"/>
                </a:cubicBezTo>
                <a:cubicBezTo>
                  <a:pt x="108" y="1023"/>
                  <a:pt x="108" y="1023"/>
                  <a:pt x="107" y="1023"/>
                </a:cubicBezTo>
                <a:cubicBezTo>
                  <a:pt x="106" y="1023"/>
                  <a:pt x="105" y="1025"/>
                  <a:pt x="104" y="1025"/>
                </a:cubicBezTo>
                <a:cubicBezTo>
                  <a:pt x="103" y="1025"/>
                  <a:pt x="103" y="1025"/>
                  <a:pt x="102" y="1024"/>
                </a:cubicBezTo>
                <a:cubicBezTo>
                  <a:pt x="102" y="1024"/>
                  <a:pt x="101" y="1024"/>
                  <a:pt x="100" y="1024"/>
                </a:cubicBezTo>
                <a:cubicBezTo>
                  <a:pt x="100" y="1024"/>
                  <a:pt x="98" y="1022"/>
                  <a:pt x="97" y="1023"/>
                </a:cubicBezTo>
                <a:cubicBezTo>
                  <a:pt x="96" y="1023"/>
                  <a:pt x="97" y="1024"/>
                  <a:pt x="97" y="1024"/>
                </a:cubicBezTo>
                <a:cubicBezTo>
                  <a:pt x="98" y="1025"/>
                  <a:pt x="99" y="1025"/>
                  <a:pt x="99" y="1026"/>
                </a:cubicBezTo>
                <a:cubicBezTo>
                  <a:pt x="99" y="1026"/>
                  <a:pt x="99" y="1027"/>
                  <a:pt x="99" y="1028"/>
                </a:cubicBezTo>
                <a:cubicBezTo>
                  <a:pt x="100" y="1028"/>
                  <a:pt x="100" y="1029"/>
                  <a:pt x="101" y="1029"/>
                </a:cubicBezTo>
                <a:cubicBezTo>
                  <a:pt x="101" y="1030"/>
                  <a:pt x="101" y="1031"/>
                  <a:pt x="101" y="1031"/>
                </a:cubicBezTo>
                <a:cubicBezTo>
                  <a:pt x="101" y="1032"/>
                  <a:pt x="102" y="1032"/>
                  <a:pt x="102" y="1033"/>
                </a:cubicBezTo>
                <a:cubicBezTo>
                  <a:pt x="103" y="1034"/>
                  <a:pt x="103" y="1035"/>
                  <a:pt x="104" y="1036"/>
                </a:cubicBezTo>
                <a:cubicBezTo>
                  <a:pt x="105" y="1037"/>
                  <a:pt x="105" y="1038"/>
                  <a:pt x="105" y="1040"/>
                </a:cubicBezTo>
                <a:cubicBezTo>
                  <a:pt x="106" y="1041"/>
                  <a:pt x="106" y="1043"/>
                  <a:pt x="106" y="1044"/>
                </a:cubicBezTo>
                <a:cubicBezTo>
                  <a:pt x="106" y="1045"/>
                  <a:pt x="105" y="1046"/>
                  <a:pt x="106" y="1046"/>
                </a:cubicBezTo>
                <a:cubicBezTo>
                  <a:pt x="106" y="1047"/>
                  <a:pt x="106" y="1047"/>
                  <a:pt x="107" y="1048"/>
                </a:cubicBezTo>
                <a:cubicBezTo>
                  <a:pt x="107" y="1048"/>
                  <a:pt x="108" y="1051"/>
                  <a:pt x="106" y="1050"/>
                </a:cubicBezTo>
                <a:cubicBezTo>
                  <a:pt x="106" y="1050"/>
                  <a:pt x="105" y="1049"/>
                  <a:pt x="105" y="1050"/>
                </a:cubicBezTo>
                <a:cubicBezTo>
                  <a:pt x="104" y="1050"/>
                  <a:pt x="103" y="1050"/>
                  <a:pt x="103" y="1049"/>
                </a:cubicBezTo>
                <a:cubicBezTo>
                  <a:pt x="101" y="1049"/>
                  <a:pt x="98" y="1047"/>
                  <a:pt x="97" y="1049"/>
                </a:cubicBezTo>
                <a:cubicBezTo>
                  <a:pt x="97" y="1050"/>
                  <a:pt x="97" y="1050"/>
                  <a:pt x="96" y="1051"/>
                </a:cubicBezTo>
                <a:cubicBezTo>
                  <a:pt x="95" y="1052"/>
                  <a:pt x="94" y="1050"/>
                  <a:pt x="93" y="1050"/>
                </a:cubicBezTo>
                <a:cubicBezTo>
                  <a:pt x="92" y="1051"/>
                  <a:pt x="92" y="1051"/>
                  <a:pt x="91" y="1051"/>
                </a:cubicBezTo>
                <a:cubicBezTo>
                  <a:pt x="90" y="1051"/>
                  <a:pt x="90" y="1051"/>
                  <a:pt x="89" y="1052"/>
                </a:cubicBezTo>
                <a:cubicBezTo>
                  <a:pt x="88" y="1052"/>
                  <a:pt x="88" y="1052"/>
                  <a:pt x="87" y="1053"/>
                </a:cubicBezTo>
                <a:cubicBezTo>
                  <a:pt x="87" y="1053"/>
                  <a:pt x="86" y="1053"/>
                  <a:pt x="85" y="1053"/>
                </a:cubicBezTo>
                <a:cubicBezTo>
                  <a:pt x="84" y="1053"/>
                  <a:pt x="83" y="1054"/>
                  <a:pt x="82" y="1052"/>
                </a:cubicBezTo>
                <a:cubicBezTo>
                  <a:pt x="81" y="1051"/>
                  <a:pt x="80" y="1050"/>
                  <a:pt x="79" y="1049"/>
                </a:cubicBezTo>
                <a:cubicBezTo>
                  <a:pt x="78" y="1048"/>
                  <a:pt x="77" y="1048"/>
                  <a:pt x="76" y="1047"/>
                </a:cubicBezTo>
                <a:cubicBezTo>
                  <a:pt x="75" y="1046"/>
                  <a:pt x="75" y="1044"/>
                  <a:pt x="74" y="1045"/>
                </a:cubicBezTo>
                <a:cubicBezTo>
                  <a:pt x="72" y="1045"/>
                  <a:pt x="72" y="1046"/>
                  <a:pt x="70" y="1047"/>
                </a:cubicBezTo>
                <a:cubicBezTo>
                  <a:pt x="70" y="1047"/>
                  <a:pt x="69" y="1046"/>
                  <a:pt x="68" y="1047"/>
                </a:cubicBezTo>
                <a:cubicBezTo>
                  <a:pt x="68" y="1047"/>
                  <a:pt x="67" y="1047"/>
                  <a:pt x="66" y="1048"/>
                </a:cubicBezTo>
                <a:cubicBezTo>
                  <a:pt x="66" y="1048"/>
                  <a:pt x="65" y="1048"/>
                  <a:pt x="64" y="1049"/>
                </a:cubicBezTo>
                <a:cubicBezTo>
                  <a:pt x="64" y="1049"/>
                  <a:pt x="63" y="1049"/>
                  <a:pt x="63" y="1050"/>
                </a:cubicBezTo>
                <a:cubicBezTo>
                  <a:pt x="61" y="1050"/>
                  <a:pt x="60" y="1050"/>
                  <a:pt x="58" y="1050"/>
                </a:cubicBezTo>
                <a:cubicBezTo>
                  <a:pt x="56" y="1050"/>
                  <a:pt x="53" y="1051"/>
                  <a:pt x="50" y="1052"/>
                </a:cubicBezTo>
                <a:cubicBezTo>
                  <a:pt x="49" y="1053"/>
                  <a:pt x="48" y="1053"/>
                  <a:pt x="46" y="1053"/>
                </a:cubicBezTo>
                <a:cubicBezTo>
                  <a:pt x="45" y="1053"/>
                  <a:pt x="44" y="1053"/>
                  <a:pt x="42" y="1054"/>
                </a:cubicBezTo>
                <a:cubicBezTo>
                  <a:pt x="40" y="1054"/>
                  <a:pt x="42" y="1055"/>
                  <a:pt x="42" y="1056"/>
                </a:cubicBezTo>
                <a:cubicBezTo>
                  <a:pt x="42" y="1057"/>
                  <a:pt x="41" y="1057"/>
                  <a:pt x="42" y="1058"/>
                </a:cubicBezTo>
                <a:cubicBezTo>
                  <a:pt x="42" y="1059"/>
                  <a:pt x="43" y="1058"/>
                  <a:pt x="44" y="1058"/>
                </a:cubicBezTo>
                <a:cubicBezTo>
                  <a:pt x="45" y="1058"/>
                  <a:pt x="46" y="1058"/>
                  <a:pt x="46" y="1058"/>
                </a:cubicBezTo>
                <a:cubicBezTo>
                  <a:pt x="47" y="1058"/>
                  <a:pt x="47" y="1057"/>
                  <a:pt x="48" y="1057"/>
                </a:cubicBezTo>
                <a:cubicBezTo>
                  <a:pt x="48" y="1057"/>
                  <a:pt x="49" y="1057"/>
                  <a:pt x="49" y="1058"/>
                </a:cubicBezTo>
                <a:cubicBezTo>
                  <a:pt x="49" y="1058"/>
                  <a:pt x="50" y="1058"/>
                  <a:pt x="49" y="1059"/>
                </a:cubicBezTo>
                <a:cubicBezTo>
                  <a:pt x="49" y="1060"/>
                  <a:pt x="48" y="1060"/>
                  <a:pt x="48" y="1060"/>
                </a:cubicBezTo>
                <a:cubicBezTo>
                  <a:pt x="47" y="1059"/>
                  <a:pt x="47" y="1059"/>
                  <a:pt x="46" y="1059"/>
                </a:cubicBezTo>
                <a:cubicBezTo>
                  <a:pt x="46" y="1059"/>
                  <a:pt x="45" y="1059"/>
                  <a:pt x="45" y="1060"/>
                </a:cubicBezTo>
                <a:cubicBezTo>
                  <a:pt x="45" y="1060"/>
                  <a:pt x="45" y="1060"/>
                  <a:pt x="45" y="1061"/>
                </a:cubicBezTo>
                <a:cubicBezTo>
                  <a:pt x="45" y="1061"/>
                  <a:pt x="45" y="1062"/>
                  <a:pt x="45" y="1062"/>
                </a:cubicBezTo>
                <a:cubicBezTo>
                  <a:pt x="45" y="1063"/>
                  <a:pt x="46" y="1063"/>
                  <a:pt x="46" y="1062"/>
                </a:cubicBezTo>
                <a:cubicBezTo>
                  <a:pt x="47" y="1061"/>
                  <a:pt x="48" y="1060"/>
                  <a:pt x="49" y="1061"/>
                </a:cubicBezTo>
                <a:cubicBezTo>
                  <a:pt x="50" y="1063"/>
                  <a:pt x="50" y="1064"/>
                  <a:pt x="48" y="1064"/>
                </a:cubicBezTo>
                <a:cubicBezTo>
                  <a:pt x="47" y="1064"/>
                  <a:pt x="47" y="1064"/>
                  <a:pt x="46" y="1064"/>
                </a:cubicBezTo>
                <a:cubicBezTo>
                  <a:pt x="45" y="1064"/>
                  <a:pt x="45" y="1064"/>
                  <a:pt x="44" y="1064"/>
                </a:cubicBezTo>
                <a:cubicBezTo>
                  <a:pt x="44" y="1064"/>
                  <a:pt x="43" y="1064"/>
                  <a:pt x="42" y="1065"/>
                </a:cubicBezTo>
                <a:cubicBezTo>
                  <a:pt x="41" y="1065"/>
                  <a:pt x="43" y="1066"/>
                  <a:pt x="43" y="1066"/>
                </a:cubicBezTo>
                <a:cubicBezTo>
                  <a:pt x="45" y="1066"/>
                  <a:pt x="45" y="1068"/>
                  <a:pt x="46" y="1068"/>
                </a:cubicBezTo>
                <a:cubicBezTo>
                  <a:pt x="47" y="1069"/>
                  <a:pt x="48" y="1069"/>
                  <a:pt x="49" y="1071"/>
                </a:cubicBezTo>
                <a:cubicBezTo>
                  <a:pt x="50" y="1071"/>
                  <a:pt x="50" y="1072"/>
                  <a:pt x="50" y="1071"/>
                </a:cubicBezTo>
                <a:cubicBezTo>
                  <a:pt x="51" y="1071"/>
                  <a:pt x="52" y="1071"/>
                  <a:pt x="52" y="1070"/>
                </a:cubicBezTo>
                <a:cubicBezTo>
                  <a:pt x="53" y="1069"/>
                  <a:pt x="54" y="1069"/>
                  <a:pt x="55" y="1069"/>
                </a:cubicBezTo>
                <a:cubicBezTo>
                  <a:pt x="57" y="1070"/>
                  <a:pt x="58" y="1069"/>
                  <a:pt x="60" y="1069"/>
                </a:cubicBezTo>
                <a:cubicBezTo>
                  <a:pt x="61" y="1069"/>
                  <a:pt x="61" y="1070"/>
                  <a:pt x="61" y="1070"/>
                </a:cubicBezTo>
                <a:cubicBezTo>
                  <a:pt x="62" y="1071"/>
                  <a:pt x="63" y="1071"/>
                  <a:pt x="63" y="1071"/>
                </a:cubicBezTo>
                <a:cubicBezTo>
                  <a:pt x="65" y="1071"/>
                  <a:pt x="66" y="1072"/>
                  <a:pt x="67" y="1073"/>
                </a:cubicBezTo>
                <a:cubicBezTo>
                  <a:pt x="68" y="1074"/>
                  <a:pt x="70" y="1074"/>
                  <a:pt x="71" y="1075"/>
                </a:cubicBezTo>
                <a:cubicBezTo>
                  <a:pt x="72" y="1076"/>
                  <a:pt x="72" y="1077"/>
                  <a:pt x="73" y="1078"/>
                </a:cubicBezTo>
                <a:cubicBezTo>
                  <a:pt x="74" y="1080"/>
                  <a:pt x="75" y="1078"/>
                  <a:pt x="75" y="1077"/>
                </a:cubicBezTo>
                <a:cubicBezTo>
                  <a:pt x="76" y="1077"/>
                  <a:pt x="77" y="1077"/>
                  <a:pt x="77" y="1076"/>
                </a:cubicBezTo>
                <a:cubicBezTo>
                  <a:pt x="78" y="1076"/>
                  <a:pt x="78" y="1076"/>
                  <a:pt x="79" y="1076"/>
                </a:cubicBezTo>
                <a:cubicBezTo>
                  <a:pt x="80" y="1077"/>
                  <a:pt x="81" y="1078"/>
                  <a:pt x="82" y="1078"/>
                </a:cubicBezTo>
                <a:cubicBezTo>
                  <a:pt x="83" y="1078"/>
                  <a:pt x="85" y="1079"/>
                  <a:pt x="86" y="1080"/>
                </a:cubicBezTo>
                <a:cubicBezTo>
                  <a:pt x="87" y="1081"/>
                  <a:pt x="85" y="1082"/>
                  <a:pt x="86" y="1083"/>
                </a:cubicBezTo>
                <a:cubicBezTo>
                  <a:pt x="86" y="1083"/>
                  <a:pt x="87" y="1084"/>
                  <a:pt x="87" y="1084"/>
                </a:cubicBezTo>
                <a:cubicBezTo>
                  <a:pt x="89" y="1086"/>
                  <a:pt x="90" y="1084"/>
                  <a:pt x="92" y="1085"/>
                </a:cubicBezTo>
                <a:cubicBezTo>
                  <a:pt x="94" y="1086"/>
                  <a:pt x="91" y="1087"/>
                  <a:pt x="92" y="1088"/>
                </a:cubicBezTo>
                <a:cubicBezTo>
                  <a:pt x="92" y="1088"/>
                  <a:pt x="92" y="1088"/>
                  <a:pt x="92" y="1088"/>
                </a:cubicBezTo>
                <a:cubicBezTo>
                  <a:pt x="93" y="1089"/>
                  <a:pt x="93" y="1089"/>
                  <a:pt x="93" y="1089"/>
                </a:cubicBezTo>
                <a:cubicBezTo>
                  <a:pt x="94" y="1090"/>
                  <a:pt x="94" y="1089"/>
                  <a:pt x="95" y="1090"/>
                </a:cubicBezTo>
                <a:cubicBezTo>
                  <a:pt x="96" y="1090"/>
                  <a:pt x="96" y="1091"/>
                  <a:pt x="96" y="1091"/>
                </a:cubicBezTo>
                <a:cubicBezTo>
                  <a:pt x="96" y="1091"/>
                  <a:pt x="95" y="1092"/>
                  <a:pt x="95" y="1092"/>
                </a:cubicBezTo>
                <a:cubicBezTo>
                  <a:pt x="95" y="1092"/>
                  <a:pt x="95" y="1093"/>
                  <a:pt x="95" y="1093"/>
                </a:cubicBezTo>
                <a:cubicBezTo>
                  <a:pt x="94" y="1094"/>
                  <a:pt x="92" y="1094"/>
                  <a:pt x="94" y="1096"/>
                </a:cubicBezTo>
                <a:cubicBezTo>
                  <a:pt x="94" y="1096"/>
                  <a:pt x="95" y="1096"/>
                  <a:pt x="95" y="1097"/>
                </a:cubicBezTo>
                <a:cubicBezTo>
                  <a:pt x="95" y="1098"/>
                  <a:pt x="95" y="1098"/>
                  <a:pt x="96" y="1099"/>
                </a:cubicBezTo>
                <a:cubicBezTo>
                  <a:pt x="97" y="1099"/>
                  <a:pt x="98" y="1100"/>
                  <a:pt x="99" y="1101"/>
                </a:cubicBezTo>
                <a:cubicBezTo>
                  <a:pt x="99" y="1102"/>
                  <a:pt x="99" y="1104"/>
                  <a:pt x="100" y="1104"/>
                </a:cubicBezTo>
                <a:cubicBezTo>
                  <a:pt x="101" y="1105"/>
                  <a:pt x="102" y="1105"/>
                  <a:pt x="103" y="1106"/>
                </a:cubicBezTo>
                <a:cubicBezTo>
                  <a:pt x="103" y="1106"/>
                  <a:pt x="104" y="1106"/>
                  <a:pt x="105" y="1106"/>
                </a:cubicBezTo>
                <a:cubicBezTo>
                  <a:pt x="105" y="1107"/>
                  <a:pt x="106" y="1106"/>
                  <a:pt x="107" y="1107"/>
                </a:cubicBezTo>
                <a:cubicBezTo>
                  <a:pt x="107" y="1107"/>
                  <a:pt x="108" y="1108"/>
                  <a:pt x="108" y="1108"/>
                </a:cubicBezTo>
                <a:cubicBezTo>
                  <a:pt x="110" y="1108"/>
                  <a:pt x="111" y="1107"/>
                  <a:pt x="112" y="1108"/>
                </a:cubicBezTo>
                <a:cubicBezTo>
                  <a:pt x="113" y="1109"/>
                  <a:pt x="113" y="1109"/>
                  <a:pt x="112" y="1110"/>
                </a:cubicBezTo>
                <a:cubicBezTo>
                  <a:pt x="112" y="1111"/>
                  <a:pt x="112" y="1111"/>
                  <a:pt x="112" y="1112"/>
                </a:cubicBezTo>
                <a:cubicBezTo>
                  <a:pt x="112" y="1113"/>
                  <a:pt x="112" y="1113"/>
                  <a:pt x="112" y="1114"/>
                </a:cubicBezTo>
                <a:cubicBezTo>
                  <a:pt x="112" y="1115"/>
                  <a:pt x="113" y="1115"/>
                  <a:pt x="113" y="1116"/>
                </a:cubicBezTo>
                <a:cubicBezTo>
                  <a:pt x="113" y="1116"/>
                  <a:pt x="113" y="1120"/>
                  <a:pt x="113" y="1121"/>
                </a:cubicBezTo>
                <a:cubicBezTo>
                  <a:pt x="112" y="1120"/>
                  <a:pt x="113" y="1118"/>
                  <a:pt x="112" y="1117"/>
                </a:cubicBezTo>
                <a:cubicBezTo>
                  <a:pt x="111" y="1117"/>
                  <a:pt x="111" y="1117"/>
                  <a:pt x="110" y="1117"/>
                </a:cubicBezTo>
                <a:cubicBezTo>
                  <a:pt x="110" y="1116"/>
                  <a:pt x="110" y="1116"/>
                  <a:pt x="109" y="1115"/>
                </a:cubicBezTo>
                <a:cubicBezTo>
                  <a:pt x="109" y="1115"/>
                  <a:pt x="108" y="1115"/>
                  <a:pt x="108" y="1116"/>
                </a:cubicBezTo>
                <a:cubicBezTo>
                  <a:pt x="108" y="1116"/>
                  <a:pt x="109" y="1117"/>
                  <a:pt x="109" y="1117"/>
                </a:cubicBezTo>
                <a:cubicBezTo>
                  <a:pt x="110" y="1118"/>
                  <a:pt x="110" y="1119"/>
                  <a:pt x="111" y="1120"/>
                </a:cubicBezTo>
                <a:cubicBezTo>
                  <a:pt x="111" y="1121"/>
                  <a:pt x="111" y="1122"/>
                  <a:pt x="111" y="1123"/>
                </a:cubicBezTo>
                <a:cubicBezTo>
                  <a:pt x="111" y="1124"/>
                  <a:pt x="112" y="1125"/>
                  <a:pt x="113" y="1126"/>
                </a:cubicBezTo>
                <a:cubicBezTo>
                  <a:pt x="114" y="1127"/>
                  <a:pt x="113" y="1128"/>
                  <a:pt x="112" y="1130"/>
                </a:cubicBezTo>
                <a:cubicBezTo>
                  <a:pt x="112" y="1131"/>
                  <a:pt x="112" y="1132"/>
                  <a:pt x="112" y="1134"/>
                </a:cubicBezTo>
                <a:cubicBezTo>
                  <a:pt x="113" y="1135"/>
                  <a:pt x="113" y="1137"/>
                  <a:pt x="113" y="1138"/>
                </a:cubicBezTo>
                <a:cubicBezTo>
                  <a:pt x="113" y="1140"/>
                  <a:pt x="113" y="1141"/>
                  <a:pt x="113" y="1143"/>
                </a:cubicBezTo>
                <a:cubicBezTo>
                  <a:pt x="113" y="1144"/>
                  <a:pt x="112" y="1145"/>
                  <a:pt x="113" y="1146"/>
                </a:cubicBezTo>
                <a:cubicBezTo>
                  <a:pt x="114" y="1146"/>
                  <a:pt x="114" y="1147"/>
                  <a:pt x="114" y="1148"/>
                </a:cubicBezTo>
                <a:cubicBezTo>
                  <a:pt x="114" y="1148"/>
                  <a:pt x="115" y="1149"/>
                  <a:pt x="114" y="1149"/>
                </a:cubicBezTo>
                <a:cubicBezTo>
                  <a:pt x="114" y="1150"/>
                  <a:pt x="113" y="1150"/>
                  <a:pt x="113" y="1150"/>
                </a:cubicBezTo>
                <a:cubicBezTo>
                  <a:pt x="110" y="1152"/>
                  <a:pt x="110" y="1156"/>
                  <a:pt x="109" y="1159"/>
                </a:cubicBezTo>
                <a:cubicBezTo>
                  <a:pt x="109" y="1160"/>
                  <a:pt x="109" y="1161"/>
                  <a:pt x="109" y="1162"/>
                </a:cubicBezTo>
                <a:cubicBezTo>
                  <a:pt x="108" y="1163"/>
                  <a:pt x="109" y="1164"/>
                  <a:pt x="108" y="1165"/>
                </a:cubicBezTo>
                <a:cubicBezTo>
                  <a:pt x="108" y="1166"/>
                  <a:pt x="108" y="1166"/>
                  <a:pt x="107" y="1167"/>
                </a:cubicBezTo>
                <a:cubicBezTo>
                  <a:pt x="107" y="1168"/>
                  <a:pt x="107" y="1168"/>
                  <a:pt x="107" y="1169"/>
                </a:cubicBezTo>
                <a:cubicBezTo>
                  <a:pt x="107" y="1170"/>
                  <a:pt x="107" y="1172"/>
                  <a:pt x="107" y="1173"/>
                </a:cubicBezTo>
                <a:cubicBezTo>
                  <a:pt x="106" y="1175"/>
                  <a:pt x="105" y="1176"/>
                  <a:pt x="104" y="1177"/>
                </a:cubicBezTo>
                <a:cubicBezTo>
                  <a:pt x="103" y="1178"/>
                  <a:pt x="103" y="1179"/>
                  <a:pt x="102" y="1180"/>
                </a:cubicBezTo>
                <a:cubicBezTo>
                  <a:pt x="99" y="1181"/>
                  <a:pt x="95" y="1179"/>
                  <a:pt x="92" y="1181"/>
                </a:cubicBezTo>
                <a:cubicBezTo>
                  <a:pt x="91" y="1181"/>
                  <a:pt x="90" y="1182"/>
                  <a:pt x="88" y="1182"/>
                </a:cubicBezTo>
                <a:cubicBezTo>
                  <a:pt x="87" y="1181"/>
                  <a:pt x="85" y="1180"/>
                  <a:pt x="84" y="1180"/>
                </a:cubicBezTo>
                <a:cubicBezTo>
                  <a:pt x="83" y="1179"/>
                  <a:pt x="82" y="1179"/>
                  <a:pt x="80" y="1179"/>
                </a:cubicBezTo>
                <a:cubicBezTo>
                  <a:pt x="79" y="1178"/>
                  <a:pt x="78" y="1179"/>
                  <a:pt x="76" y="1179"/>
                </a:cubicBezTo>
                <a:cubicBezTo>
                  <a:pt x="75" y="1180"/>
                  <a:pt x="74" y="1181"/>
                  <a:pt x="73" y="1180"/>
                </a:cubicBezTo>
                <a:cubicBezTo>
                  <a:pt x="72" y="1180"/>
                  <a:pt x="72" y="1179"/>
                  <a:pt x="71" y="1179"/>
                </a:cubicBezTo>
                <a:cubicBezTo>
                  <a:pt x="70" y="1179"/>
                  <a:pt x="70" y="1179"/>
                  <a:pt x="69" y="1178"/>
                </a:cubicBezTo>
                <a:cubicBezTo>
                  <a:pt x="68" y="1178"/>
                  <a:pt x="67" y="1177"/>
                  <a:pt x="66" y="1177"/>
                </a:cubicBezTo>
                <a:cubicBezTo>
                  <a:pt x="63" y="1177"/>
                  <a:pt x="60" y="1177"/>
                  <a:pt x="57" y="1177"/>
                </a:cubicBezTo>
                <a:cubicBezTo>
                  <a:pt x="55" y="1178"/>
                  <a:pt x="54" y="1178"/>
                  <a:pt x="53" y="1178"/>
                </a:cubicBezTo>
                <a:cubicBezTo>
                  <a:pt x="51" y="1179"/>
                  <a:pt x="50" y="1179"/>
                  <a:pt x="48" y="1179"/>
                </a:cubicBezTo>
                <a:cubicBezTo>
                  <a:pt x="45" y="1179"/>
                  <a:pt x="42" y="1179"/>
                  <a:pt x="40" y="1178"/>
                </a:cubicBezTo>
                <a:cubicBezTo>
                  <a:pt x="38" y="1178"/>
                  <a:pt x="36" y="1177"/>
                  <a:pt x="34" y="1177"/>
                </a:cubicBezTo>
                <a:cubicBezTo>
                  <a:pt x="32" y="1176"/>
                  <a:pt x="31" y="1176"/>
                  <a:pt x="29" y="1176"/>
                </a:cubicBezTo>
                <a:cubicBezTo>
                  <a:pt x="28" y="1176"/>
                  <a:pt x="27" y="1175"/>
                  <a:pt x="26" y="1175"/>
                </a:cubicBezTo>
                <a:cubicBezTo>
                  <a:pt x="25" y="1175"/>
                  <a:pt x="24" y="1175"/>
                  <a:pt x="23" y="1175"/>
                </a:cubicBezTo>
                <a:cubicBezTo>
                  <a:pt x="23" y="1175"/>
                  <a:pt x="22" y="1175"/>
                  <a:pt x="22" y="1174"/>
                </a:cubicBezTo>
                <a:cubicBezTo>
                  <a:pt x="20" y="1173"/>
                  <a:pt x="19" y="1173"/>
                  <a:pt x="17" y="1174"/>
                </a:cubicBezTo>
                <a:cubicBezTo>
                  <a:pt x="16" y="1174"/>
                  <a:pt x="15" y="1174"/>
                  <a:pt x="13" y="1174"/>
                </a:cubicBezTo>
                <a:cubicBezTo>
                  <a:pt x="11" y="1174"/>
                  <a:pt x="10" y="1175"/>
                  <a:pt x="9" y="1175"/>
                </a:cubicBezTo>
                <a:cubicBezTo>
                  <a:pt x="7" y="1176"/>
                  <a:pt x="6" y="1175"/>
                  <a:pt x="5" y="1176"/>
                </a:cubicBezTo>
                <a:cubicBezTo>
                  <a:pt x="3" y="1176"/>
                  <a:pt x="2" y="1177"/>
                  <a:pt x="1" y="1177"/>
                </a:cubicBezTo>
                <a:cubicBezTo>
                  <a:pt x="1" y="1177"/>
                  <a:pt x="0" y="1177"/>
                  <a:pt x="0" y="1177"/>
                </a:cubicBezTo>
                <a:cubicBezTo>
                  <a:pt x="0" y="1326"/>
                  <a:pt x="0" y="1326"/>
                  <a:pt x="0" y="1326"/>
                </a:cubicBezTo>
                <a:cubicBezTo>
                  <a:pt x="0" y="1326"/>
                  <a:pt x="0" y="1326"/>
                  <a:pt x="0" y="1326"/>
                </a:cubicBezTo>
                <a:cubicBezTo>
                  <a:pt x="1" y="1327"/>
                  <a:pt x="3" y="1327"/>
                  <a:pt x="3" y="1328"/>
                </a:cubicBezTo>
                <a:cubicBezTo>
                  <a:pt x="4" y="1328"/>
                  <a:pt x="4" y="1329"/>
                  <a:pt x="4" y="1329"/>
                </a:cubicBezTo>
                <a:cubicBezTo>
                  <a:pt x="5" y="1330"/>
                  <a:pt x="6" y="1330"/>
                  <a:pt x="6" y="1330"/>
                </a:cubicBezTo>
                <a:cubicBezTo>
                  <a:pt x="7" y="1331"/>
                  <a:pt x="7" y="1331"/>
                  <a:pt x="7" y="1332"/>
                </a:cubicBezTo>
                <a:cubicBezTo>
                  <a:pt x="8" y="1332"/>
                  <a:pt x="9" y="1332"/>
                  <a:pt x="9" y="1333"/>
                </a:cubicBezTo>
                <a:cubicBezTo>
                  <a:pt x="10" y="1334"/>
                  <a:pt x="9" y="1334"/>
                  <a:pt x="8" y="1334"/>
                </a:cubicBezTo>
                <a:cubicBezTo>
                  <a:pt x="8" y="1335"/>
                  <a:pt x="8" y="1335"/>
                  <a:pt x="9" y="1336"/>
                </a:cubicBezTo>
                <a:cubicBezTo>
                  <a:pt x="10" y="1336"/>
                  <a:pt x="10" y="1337"/>
                  <a:pt x="10" y="1337"/>
                </a:cubicBezTo>
                <a:cubicBezTo>
                  <a:pt x="10" y="1338"/>
                  <a:pt x="10" y="1338"/>
                  <a:pt x="11" y="1339"/>
                </a:cubicBezTo>
                <a:cubicBezTo>
                  <a:pt x="12" y="1339"/>
                  <a:pt x="12" y="1340"/>
                  <a:pt x="12" y="1341"/>
                </a:cubicBezTo>
                <a:cubicBezTo>
                  <a:pt x="13" y="1341"/>
                  <a:pt x="13" y="1342"/>
                  <a:pt x="14" y="1342"/>
                </a:cubicBezTo>
                <a:cubicBezTo>
                  <a:pt x="14" y="1343"/>
                  <a:pt x="14" y="1343"/>
                  <a:pt x="14" y="1344"/>
                </a:cubicBezTo>
                <a:cubicBezTo>
                  <a:pt x="15" y="1346"/>
                  <a:pt x="16" y="1346"/>
                  <a:pt x="17" y="1347"/>
                </a:cubicBezTo>
                <a:cubicBezTo>
                  <a:pt x="18" y="1348"/>
                  <a:pt x="19" y="1349"/>
                  <a:pt x="20" y="1350"/>
                </a:cubicBezTo>
                <a:cubicBezTo>
                  <a:pt x="21" y="1350"/>
                  <a:pt x="21" y="1350"/>
                  <a:pt x="22" y="1350"/>
                </a:cubicBezTo>
                <a:cubicBezTo>
                  <a:pt x="23" y="1350"/>
                  <a:pt x="23" y="1351"/>
                  <a:pt x="24" y="1351"/>
                </a:cubicBezTo>
                <a:cubicBezTo>
                  <a:pt x="25" y="1351"/>
                  <a:pt x="26" y="1351"/>
                  <a:pt x="27" y="1350"/>
                </a:cubicBezTo>
                <a:cubicBezTo>
                  <a:pt x="28" y="1350"/>
                  <a:pt x="28" y="1349"/>
                  <a:pt x="29" y="1349"/>
                </a:cubicBezTo>
                <a:cubicBezTo>
                  <a:pt x="29" y="1349"/>
                  <a:pt x="30" y="1349"/>
                  <a:pt x="31" y="1348"/>
                </a:cubicBezTo>
                <a:cubicBezTo>
                  <a:pt x="32" y="1348"/>
                  <a:pt x="32" y="1346"/>
                  <a:pt x="32" y="1345"/>
                </a:cubicBezTo>
                <a:cubicBezTo>
                  <a:pt x="33" y="1344"/>
                  <a:pt x="34" y="1343"/>
                  <a:pt x="36" y="1343"/>
                </a:cubicBezTo>
                <a:cubicBezTo>
                  <a:pt x="37" y="1342"/>
                  <a:pt x="38" y="1341"/>
                  <a:pt x="39" y="1341"/>
                </a:cubicBezTo>
                <a:cubicBezTo>
                  <a:pt x="41" y="1340"/>
                  <a:pt x="42" y="1340"/>
                  <a:pt x="43" y="1339"/>
                </a:cubicBezTo>
                <a:cubicBezTo>
                  <a:pt x="44" y="1338"/>
                  <a:pt x="44" y="1338"/>
                  <a:pt x="45" y="1337"/>
                </a:cubicBezTo>
                <a:cubicBezTo>
                  <a:pt x="45" y="1337"/>
                  <a:pt x="46" y="1337"/>
                  <a:pt x="46" y="1337"/>
                </a:cubicBezTo>
                <a:cubicBezTo>
                  <a:pt x="48" y="1336"/>
                  <a:pt x="48" y="1335"/>
                  <a:pt x="50" y="1335"/>
                </a:cubicBezTo>
                <a:cubicBezTo>
                  <a:pt x="52" y="1334"/>
                  <a:pt x="55" y="1335"/>
                  <a:pt x="57" y="1335"/>
                </a:cubicBezTo>
                <a:cubicBezTo>
                  <a:pt x="60" y="1335"/>
                  <a:pt x="64" y="1334"/>
                  <a:pt x="67" y="1334"/>
                </a:cubicBezTo>
                <a:cubicBezTo>
                  <a:pt x="69" y="1335"/>
                  <a:pt x="70" y="1334"/>
                  <a:pt x="72" y="1334"/>
                </a:cubicBezTo>
                <a:cubicBezTo>
                  <a:pt x="73" y="1334"/>
                  <a:pt x="74" y="1334"/>
                  <a:pt x="76" y="1334"/>
                </a:cubicBezTo>
                <a:cubicBezTo>
                  <a:pt x="77" y="1334"/>
                  <a:pt x="78" y="1336"/>
                  <a:pt x="79" y="1336"/>
                </a:cubicBezTo>
                <a:cubicBezTo>
                  <a:pt x="81" y="1336"/>
                  <a:pt x="83" y="1336"/>
                  <a:pt x="84" y="1335"/>
                </a:cubicBezTo>
                <a:cubicBezTo>
                  <a:pt x="85" y="1335"/>
                  <a:pt x="86" y="1334"/>
                  <a:pt x="87" y="1333"/>
                </a:cubicBezTo>
                <a:cubicBezTo>
                  <a:pt x="89" y="1333"/>
                  <a:pt x="90" y="1333"/>
                  <a:pt x="91" y="1334"/>
                </a:cubicBezTo>
                <a:cubicBezTo>
                  <a:pt x="92" y="1334"/>
                  <a:pt x="94" y="1335"/>
                  <a:pt x="95" y="1334"/>
                </a:cubicBezTo>
                <a:cubicBezTo>
                  <a:pt x="96" y="1333"/>
                  <a:pt x="96" y="1331"/>
                  <a:pt x="97" y="1330"/>
                </a:cubicBezTo>
                <a:cubicBezTo>
                  <a:pt x="97" y="1329"/>
                  <a:pt x="99" y="1328"/>
                  <a:pt x="100" y="1326"/>
                </a:cubicBezTo>
                <a:cubicBezTo>
                  <a:pt x="101" y="1325"/>
                  <a:pt x="101" y="1324"/>
                  <a:pt x="102" y="1323"/>
                </a:cubicBezTo>
                <a:cubicBezTo>
                  <a:pt x="102" y="1321"/>
                  <a:pt x="103" y="1320"/>
                  <a:pt x="105" y="1320"/>
                </a:cubicBezTo>
                <a:cubicBezTo>
                  <a:pt x="106" y="1319"/>
                  <a:pt x="107" y="1318"/>
                  <a:pt x="109" y="1318"/>
                </a:cubicBezTo>
                <a:cubicBezTo>
                  <a:pt x="110" y="1318"/>
                  <a:pt x="111" y="1318"/>
                  <a:pt x="112" y="1317"/>
                </a:cubicBezTo>
                <a:cubicBezTo>
                  <a:pt x="113" y="1316"/>
                  <a:pt x="114" y="1315"/>
                  <a:pt x="116" y="1316"/>
                </a:cubicBezTo>
                <a:cubicBezTo>
                  <a:pt x="116" y="1316"/>
                  <a:pt x="116" y="1316"/>
                  <a:pt x="117" y="1316"/>
                </a:cubicBezTo>
                <a:cubicBezTo>
                  <a:pt x="118" y="1316"/>
                  <a:pt x="119" y="1316"/>
                  <a:pt x="119" y="1316"/>
                </a:cubicBezTo>
                <a:cubicBezTo>
                  <a:pt x="120" y="1316"/>
                  <a:pt x="120" y="1315"/>
                  <a:pt x="120" y="1315"/>
                </a:cubicBezTo>
                <a:cubicBezTo>
                  <a:pt x="121" y="1315"/>
                  <a:pt x="121" y="1316"/>
                  <a:pt x="122" y="1315"/>
                </a:cubicBezTo>
                <a:cubicBezTo>
                  <a:pt x="122" y="1314"/>
                  <a:pt x="120" y="1314"/>
                  <a:pt x="120" y="1313"/>
                </a:cubicBezTo>
                <a:cubicBezTo>
                  <a:pt x="118" y="1311"/>
                  <a:pt x="121" y="1308"/>
                  <a:pt x="122" y="1307"/>
                </a:cubicBezTo>
                <a:cubicBezTo>
                  <a:pt x="122" y="1306"/>
                  <a:pt x="123" y="1305"/>
                  <a:pt x="123" y="1304"/>
                </a:cubicBezTo>
                <a:cubicBezTo>
                  <a:pt x="123" y="1303"/>
                  <a:pt x="124" y="1301"/>
                  <a:pt x="124" y="1300"/>
                </a:cubicBezTo>
                <a:cubicBezTo>
                  <a:pt x="125" y="1299"/>
                  <a:pt x="127" y="1298"/>
                  <a:pt x="128" y="1297"/>
                </a:cubicBezTo>
                <a:cubicBezTo>
                  <a:pt x="129" y="1296"/>
                  <a:pt x="130" y="1295"/>
                  <a:pt x="132" y="1294"/>
                </a:cubicBezTo>
                <a:cubicBezTo>
                  <a:pt x="133" y="1294"/>
                  <a:pt x="134" y="1293"/>
                  <a:pt x="135" y="1292"/>
                </a:cubicBezTo>
                <a:cubicBezTo>
                  <a:pt x="136" y="1291"/>
                  <a:pt x="137" y="1290"/>
                  <a:pt x="139" y="1290"/>
                </a:cubicBezTo>
                <a:cubicBezTo>
                  <a:pt x="141" y="1289"/>
                  <a:pt x="140" y="1288"/>
                  <a:pt x="139" y="1288"/>
                </a:cubicBezTo>
                <a:cubicBezTo>
                  <a:pt x="138" y="1287"/>
                  <a:pt x="137" y="1286"/>
                  <a:pt x="136" y="1285"/>
                </a:cubicBezTo>
                <a:cubicBezTo>
                  <a:pt x="134" y="1284"/>
                  <a:pt x="132" y="1283"/>
                  <a:pt x="131" y="1280"/>
                </a:cubicBezTo>
                <a:cubicBezTo>
                  <a:pt x="131" y="1280"/>
                  <a:pt x="131" y="1279"/>
                  <a:pt x="130" y="1278"/>
                </a:cubicBezTo>
                <a:cubicBezTo>
                  <a:pt x="130" y="1277"/>
                  <a:pt x="130" y="1275"/>
                  <a:pt x="129" y="1274"/>
                </a:cubicBezTo>
                <a:cubicBezTo>
                  <a:pt x="129" y="1272"/>
                  <a:pt x="129" y="1271"/>
                  <a:pt x="129" y="1269"/>
                </a:cubicBezTo>
                <a:cubicBezTo>
                  <a:pt x="130" y="1268"/>
                  <a:pt x="131" y="1266"/>
                  <a:pt x="133" y="1265"/>
                </a:cubicBezTo>
                <a:cubicBezTo>
                  <a:pt x="134" y="1262"/>
                  <a:pt x="137" y="1260"/>
                  <a:pt x="139" y="1257"/>
                </a:cubicBezTo>
                <a:cubicBezTo>
                  <a:pt x="140" y="1256"/>
                  <a:pt x="140" y="1255"/>
                  <a:pt x="141" y="1254"/>
                </a:cubicBezTo>
                <a:cubicBezTo>
                  <a:pt x="142" y="1252"/>
                  <a:pt x="143" y="1252"/>
                  <a:pt x="144" y="1251"/>
                </a:cubicBezTo>
                <a:cubicBezTo>
                  <a:pt x="146" y="1249"/>
                  <a:pt x="147" y="1246"/>
                  <a:pt x="148" y="1244"/>
                </a:cubicBezTo>
                <a:cubicBezTo>
                  <a:pt x="149" y="1243"/>
                  <a:pt x="149" y="1242"/>
                  <a:pt x="150" y="1240"/>
                </a:cubicBezTo>
                <a:cubicBezTo>
                  <a:pt x="151" y="1239"/>
                  <a:pt x="152" y="1238"/>
                  <a:pt x="153" y="1237"/>
                </a:cubicBezTo>
                <a:cubicBezTo>
                  <a:pt x="154" y="1237"/>
                  <a:pt x="154" y="1236"/>
                  <a:pt x="155" y="1236"/>
                </a:cubicBezTo>
                <a:cubicBezTo>
                  <a:pt x="156" y="1235"/>
                  <a:pt x="158" y="1234"/>
                  <a:pt x="159" y="1234"/>
                </a:cubicBezTo>
                <a:cubicBezTo>
                  <a:pt x="161" y="1234"/>
                  <a:pt x="163" y="1233"/>
                  <a:pt x="164" y="1233"/>
                </a:cubicBezTo>
                <a:cubicBezTo>
                  <a:pt x="166" y="1233"/>
                  <a:pt x="167" y="1232"/>
                  <a:pt x="168" y="1232"/>
                </a:cubicBezTo>
                <a:cubicBezTo>
                  <a:pt x="170" y="1232"/>
                  <a:pt x="173" y="1231"/>
                  <a:pt x="174" y="1230"/>
                </a:cubicBezTo>
                <a:cubicBezTo>
                  <a:pt x="176" y="1229"/>
                  <a:pt x="177" y="1228"/>
                  <a:pt x="179" y="1227"/>
                </a:cubicBezTo>
                <a:cubicBezTo>
                  <a:pt x="180" y="1226"/>
                  <a:pt x="182" y="1225"/>
                  <a:pt x="184" y="1224"/>
                </a:cubicBezTo>
                <a:cubicBezTo>
                  <a:pt x="185" y="1224"/>
                  <a:pt x="187" y="1222"/>
                  <a:pt x="188" y="1222"/>
                </a:cubicBezTo>
                <a:cubicBezTo>
                  <a:pt x="190" y="1221"/>
                  <a:pt x="192" y="1221"/>
                  <a:pt x="193" y="1220"/>
                </a:cubicBezTo>
                <a:cubicBezTo>
                  <a:pt x="194" y="1219"/>
                  <a:pt x="196" y="1218"/>
                  <a:pt x="197" y="1217"/>
                </a:cubicBezTo>
                <a:cubicBezTo>
                  <a:pt x="198" y="1216"/>
                  <a:pt x="198" y="1215"/>
                  <a:pt x="198" y="1214"/>
                </a:cubicBezTo>
                <a:cubicBezTo>
                  <a:pt x="198" y="1212"/>
                  <a:pt x="197" y="1211"/>
                  <a:pt x="197" y="1210"/>
                </a:cubicBezTo>
                <a:cubicBezTo>
                  <a:pt x="196" y="1208"/>
                  <a:pt x="197" y="1208"/>
                  <a:pt x="198" y="1207"/>
                </a:cubicBezTo>
                <a:cubicBezTo>
                  <a:pt x="199" y="1207"/>
                  <a:pt x="199" y="1206"/>
                  <a:pt x="200" y="1206"/>
                </a:cubicBezTo>
                <a:cubicBezTo>
                  <a:pt x="200" y="1206"/>
                  <a:pt x="202" y="1206"/>
                  <a:pt x="201" y="1205"/>
                </a:cubicBezTo>
                <a:cubicBezTo>
                  <a:pt x="201" y="1204"/>
                  <a:pt x="200" y="1204"/>
                  <a:pt x="200" y="1204"/>
                </a:cubicBezTo>
                <a:cubicBezTo>
                  <a:pt x="199" y="1204"/>
                  <a:pt x="199" y="1203"/>
                  <a:pt x="199" y="1203"/>
                </a:cubicBezTo>
                <a:cubicBezTo>
                  <a:pt x="198" y="1202"/>
                  <a:pt x="198" y="1201"/>
                  <a:pt x="198" y="1201"/>
                </a:cubicBezTo>
                <a:cubicBezTo>
                  <a:pt x="198" y="1200"/>
                  <a:pt x="197" y="1200"/>
                  <a:pt x="197" y="1199"/>
                </a:cubicBezTo>
                <a:cubicBezTo>
                  <a:pt x="197" y="1198"/>
                  <a:pt x="197" y="1197"/>
                  <a:pt x="197" y="1196"/>
                </a:cubicBezTo>
                <a:cubicBezTo>
                  <a:pt x="197" y="1195"/>
                  <a:pt x="196" y="1195"/>
                  <a:pt x="196" y="1194"/>
                </a:cubicBezTo>
                <a:cubicBezTo>
                  <a:pt x="195" y="1193"/>
                  <a:pt x="195" y="1193"/>
                  <a:pt x="195" y="1192"/>
                </a:cubicBezTo>
                <a:cubicBezTo>
                  <a:pt x="195" y="1191"/>
                  <a:pt x="197" y="1190"/>
                  <a:pt x="197" y="1189"/>
                </a:cubicBezTo>
                <a:cubicBezTo>
                  <a:pt x="198" y="1188"/>
                  <a:pt x="198" y="1187"/>
                  <a:pt x="198" y="1187"/>
                </a:cubicBezTo>
                <a:cubicBezTo>
                  <a:pt x="199" y="1186"/>
                  <a:pt x="200" y="1184"/>
                  <a:pt x="201" y="1184"/>
                </a:cubicBezTo>
                <a:cubicBezTo>
                  <a:pt x="202" y="1183"/>
                  <a:pt x="202" y="1183"/>
                  <a:pt x="203" y="1183"/>
                </a:cubicBezTo>
                <a:cubicBezTo>
                  <a:pt x="204" y="1182"/>
                  <a:pt x="204" y="1182"/>
                  <a:pt x="205" y="1181"/>
                </a:cubicBezTo>
                <a:cubicBezTo>
                  <a:pt x="206" y="1181"/>
                  <a:pt x="207" y="1181"/>
                  <a:pt x="209" y="1180"/>
                </a:cubicBezTo>
                <a:cubicBezTo>
                  <a:pt x="211" y="1178"/>
                  <a:pt x="213" y="1176"/>
                  <a:pt x="216" y="1176"/>
                </a:cubicBezTo>
                <a:cubicBezTo>
                  <a:pt x="218" y="1177"/>
                  <a:pt x="219" y="1178"/>
                  <a:pt x="221" y="1178"/>
                </a:cubicBezTo>
                <a:cubicBezTo>
                  <a:pt x="223" y="1178"/>
                  <a:pt x="225" y="1178"/>
                  <a:pt x="227" y="1178"/>
                </a:cubicBezTo>
                <a:cubicBezTo>
                  <a:pt x="228" y="1178"/>
                  <a:pt x="229" y="1179"/>
                  <a:pt x="231" y="1179"/>
                </a:cubicBezTo>
                <a:cubicBezTo>
                  <a:pt x="231" y="1179"/>
                  <a:pt x="232" y="1179"/>
                  <a:pt x="233" y="1179"/>
                </a:cubicBezTo>
                <a:cubicBezTo>
                  <a:pt x="233" y="1179"/>
                  <a:pt x="234" y="1180"/>
                  <a:pt x="234" y="1180"/>
                </a:cubicBezTo>
                <a:cubicBezTo>
                  <a:pt x="235" y="1181"/>
                  <a:pt x="237" y="1180"/>
                  <a:pt x="238" y="1180"/>
                </a:cubicBezTo>
                <a:cubicBezTo>
                  <a:pt x="240" y="1180"/>
                  <a:pt x="241" y="1181"/>
                  <a:pt x="240" y="1182"/>
                </a:cubicBezTo>
                <a:cubicBezTo>
                  <a:pt x="240" y="1183"/>
                  <a:pt x="240" y="1184"/>
                  <a:pt x="241" y="1184"/>
                </a:cubicBezTo>
                <a:cubicBezTo>
                  <a:pt x="242" y="1184"/>
                  <a:pt x="242" y="1185"/>
                  <a:pt x="243" y="1185"/>
                </a:cubicBezTo>
                <a:cubicBezTo>
                  <a:pt x="244" y="1185"/>
                  <a:pt x="244" y="1185"/>
                  <a:pt x="245" y="1185"/>
                </a:cubicBezTo>
                <a:cubicBezTo>
                  <a:pt x="246" y="1184"/>
                  <a:pt x="248" y="1185"/>
                  <a:pt x="249" y="1186"/>
                </a:cubicBezTo>
                <a:cubicBezTo>
                  <a:pt x="250" y="1187"/>
                  <a:pt x="251" y="1188"/>
                  <a:pt x="252" y="1187"/>
                </a:cubicBezTo>
                <a:cubicBezTo>
                  <a:pt x="253" y="1187"/>
                  <a:pt x="253" y="1187"/>
                  <a:pt x="254" y="1187"/>
                </a:cubicBezTo>
                <a:cubicBezTo>
                  <a:pt x="255" y="1187"/>
                  <a:pt x="255" y="1187"/>
                  <a:pt x="256" y="1187"/>
                </a:cubicBezTo>
                <a:cubicBezTo>
                  <a:pt x="257" y="1188"/>
                  <a:pt x="259" y="1188"/>
                  <a:pt x="260" y="1188"/>
                </a:cubicBezTo>
                <a:cubicBezTo>
                  <a:pt x="261" y="1187"/>
                  <a:pt x="262" y="1186"/>
                  <a:pt x="263" y="1185"/>
                </a:cubicBezTo>
                <a:cubicBezTo>
                  <a:pt x="264" y="1184"/>
                  <a:pt x="265" y="1184"/>
                  <a:pt x="266" y="1183"/>
                </a:cubicBezTo>
                <a:cubicBezTo>
                  <a:pt x="268" y="1182"/>
                  <a:pt x="268" y="1181"/>
                  <a:pt x="269" y="1180"/>
                </a:cubicBezTo>
                <a:cubicBezTo>
                  <a:pt x="270" y="1178"/>
                  <a:pt x="271" y="1178"/>
                  <a:pt x="272" y="1177"/>
                </a:cubicBezTo>
                <a:cubicBezTo>
                  <a:pt x="273" y="1177"/>
                  <a:pt x="273" y="1177"/>
                  <a:pt x="274" y="1176"/>
                </a:cubicBezTo>
                <a:cubicBezTo>
                  <a:pt x="275" y="1176"/>
                  <a:pt x="276" y="1176"/>
                  <a:pt x="277" y="1175"/>
                </a:cubicBezTo>
                <a:cubicBezTo>
                  <a:pt x="278" y="1174"/>
                  <a:pt x="278" y="1174"/>
                  <a:pt x="279" y="1174"/>
                </a:cubicBezTo>
                <a:cubicBezTo>
                  <a:pt x="279" y="1173"/>
                  <a:pt x="280" y="1173"/>
                  <a:pt x="280" y="1173"/>
                </a:cubicBezTo>
                <a:cubicBezTo>
                  <a:pt x="281" y="1172"/>
                  <a:pt x="281" y="1172"/>
                  <a:pt x="282" y="1172"/>
                </a:cubicBezTo>
                <a:cubicBezTo>
                  <a:pt x="282" y="1171"/>
                  <a:pt x="283" y="1171"/>
                  <a:pt x="283" y="1171"/>
                </a:cubicBezTo>
                <a:cubicBezTo>
                  <a:pt x="284" y="1171"/>
                  <a:pt x="284" y="1170"/>
                  <a:pt x="285" y="1170"/>
                </a:cubicBezTo>
                <a:cubicBezTo>
                  <a:pt x="286" y="1170"/>
                  <a:pt x="286" y="1170"/>
                  <a:pt x="287" y="1170"/>
                </a:cubicBezTo>
                <a:cubicBezTo>
                  <a:pt x="288" y="1170"/>
                  <a:pt x="289" y="1169"/>
                  <a:pt x="291" y="1169"/>
                </a:cubicBezTo>
                <a:cubicBezTo>
                  <a:pt x="292" y="1169"/>
                  <a:pt x="292" y="1169"/>
                  <a:pt x="293" y="1169"/>
                </a:cubicBezTo>
                <a:cubicBezTo>
                  <a:pt x="294" y="1168"/>
                  <a:pt x="294" y="1168"/>
                  <a:pt x="294" y="1167"/>
                </a:cubicBezTo>
                <a:cubicBezTo>
                  <a:pt x="295" y="1166"/>
                  <a:pt x="297" y="1166"/>
                  <a:pt x="298" y="1165"/>
                </a:cubicBezTo>
                <a:cubicBezTo>
                  <a:pt x="298" y="1165"/>
                  <a:pt x="298" y="1164"/>
                  <a:pt x="299" y="1163"/>
                </a:cubicBezTo>
                <a:cubicBezTo>
                  <a:pt x="300" y="1162"/>
                  <a:pt x="301" y="1162"/>
                  <a:pt x="301" y="1160"/>
                </a:cubicBezTo>
                <a:cubicBezTo>
                  <a:pt x="302" y="1160"/>
                  <a:pt x="302" y="1159"/>
                  <a:pt x="303" y="1159"/>
                </a:cubicBezTo>
                <a:cubicBezTo>
                  <a:pt x="303" y="1158"/>
                  <a:pt x="304" y="1158"/>
                  <a:pt x="304" y="1157"/>
                </a:cubicBezTo>
                <a:cubicBezTo>
                  <a:pt x="305" y="1157"/>
                  <a:pt x="305" y="1156"/>
                  <a:pt x="306" y="1156"/>
                </a:cubicBezTo>
                <a:cubicBezTo>
                  <a:pt x="307" y="1156"/>
                  <a:pt x="309" y="1156"/>
                  <a:pt x="310" y="1156"/>
                </a:cubicBezTo>
                <a:cubicBezTo>
                  <a:pt x="312" y="1156"/>
                  <a:pt x="312" y="1157"/>
                  <a:pt x="314" y="1158"/>
                </a:cubicBezTo>
                <a:cubicBezTo>
                  <a:pt x="315" y="1158"/>
                  <a:pt x="317" y="1157"/>
                  <a:pt x="318" y="1158"/>
                </a:cubicBezTo>
                <a:cubicBezTo>
                  <a:pt x="319" y="1158"/>
                  <a:pt x="319" y="1159"/>
                  <a:pt x="320" y="1159"/>
                </a:cubicBezTo>
                <a:cubicBezTo>
                  <a:pt x="320" y="1160"/>
                  <a:pt x="321" y="1160"/>
                  <a:pt x="322" y="1160"/>
                </a:cubicBezTo>
                <a:cubicBezTo>
                  <a:pt x="323" y="1160"/>
                  <a:pt x="324" y="1161"/>
                  <a:pt x="326" y="1161"/>
                </a:cubicBezTo>
                <a:cubicBezTo>
                  <a:pt x="327" y="1162"/>
                  <a:pt x="328" y="1163"/>
                  <a:pt x="329" y="1163"/>
                </a:cubicBezTo>
                <a:cubicBezTo>
                  <a:pt x="330" y="1163"/>
                  <a:pt x="331" y="1163"/>
                  <a:pt x="331" y="1163"/>
                </a:cubicBezTo>
                <a:cubicBezTo>
                  <a:pt x="332" y="1164"/>
                  <a:pt x="332" y="1164"/>
                  <a:pt x="332" y="1164"/>
                </a:cubicBezTo>
                <a:cubicBezTo>
                  <a:pt x="333" y="1165"/>
                  <a:pt x="334" y="1165"/>
                  <a:pt x="335" y="1166"/>
                </a:cubicBezTo>
                <a:cubicBezTo>
                  <a:pt x="335" y="1166"/>
                  <a:pt x="335" y="1166"/>
                  <a:pt x="336" y="1167"/>
                </a:cubicBezTo>
                <a:cubicBezTo>
                  <a:pt x="336" y="1167"/>
                  <a:pt x="336" y="1167"/>
                  <a:pt x="337" y="1167"/>
                </a:cubicBezTo>
                <a:cubicBezTo>
                  <a:pt x="337" y="1168"/>
                  <a:pt x="337" y="1169"/>
                  <a:pt x="337" y="1169"/>
                </a:cubicBezTo>
                <a:cubicBezTo>
                  <a:pt x="338" y="1170"/>
                  <a:pt x="338" y="1171"/>
                  <a:pt x="338" y="1173"/>
                </a:cubicBezTo>
                <a:cubicBezTo>
                  <a:pt x="337" y="1174"/>
                  <a:pt x="337" y="1174"/>
                  <a:pt x="338" y="1175"/>
                </a:cubicBezTo>
                <a:cubicBezTo>
                  <a:pt x="338" y="1176"/>
                  <a:pt x="339" y="1176"/>
                  <a:pt x="339" y="1177"/>
                </a:cubicBezTo>
                <a:cubicBezTo>
                  <a:pt x="339" y="1177"/>
                  <a:pt x="339" y="1178"/>
                  <a:pt x="339" y="1178"/>
                </a:cubicBezTo>
                <a:cubicBezTo>
                  <a:pt x="340" y="1179"/>
                  <a:pt x="340" y="1179"/>
                  <a:pt x="340" y="1180"/>
                </a:cubicBezTo>
                <a:cubicBezTo>
                  <a:pt x="340" y="1181"/>
                  <a:pt x="340" y="1181"/>
                  <a:pt x="341" y="1182"/>
                </a:cubicBezTo>
                <a:cubicBezTo>
                  <a:pt x="341" y="1182"/>
                  <a:pt x="341" y="1183"/>
                  <a:pt x="341" y="1183"/>
                </a:cubicBezTo>
                <a:cubicBezTo>
                  <a:pt x="341" y="1184"/>
                  <a:pt x="342" y="1185"/>
                  <a:pt x="342" y="1185"/>
                </a:cubicBezTo>
                <a:cubicBezTo>
                  <a:pt x="342" y="1186"/>
                  <a:pt x="342" y="1187"/>
                  <a:pt x="342" y="1187"/>
                </a:cubicBezTo>
                <a:cubicBezTo>
                  <a:pt x="343" y="1188"/>
                  <a:pt x="343" y="1188"/>
                  <a:pt x="343" y="1189"/>
                </a:cubicBezTo>
                <a:cubicBezTo>
                  <a:pt x="342" y="1189"/>
                  <a:pt x="342" y="1189"/>
                  <a:pt x="342" y="1189"/>
                </a:cubicBezTo>
                <a:cubicBezTo>
                  <a:pt x="342" y="1190"/>
                  <a:pt x="342" y="1190"/>
                  <a:pt x="343" y="1190"/>
                </a:cubicBezTo>
                <a:cubicBezTo>
                  <a:pt x="343" y="1191"/>
                  <a:pt x="343" y="1191"/>
                  <a:pt x="344" y="1191"/>
                </a:cubicBezTo>
                <a:cubicBezTo>
                  <a:pt x="345" y="1191"/>
                  <a:pt x="345" y="1191"/>
                  <a:pt x="346" y="1191"/>
                </a:cubicBezTo>
                <a:cubicBezTo>
                  <a:pt x="347" y="1191"/>
                  <a:pt x="347" y="1191"/>
                  <a:pt x="348" y="1192"/>
                </a:cubicBezTo>
                <a:cubicBezTo>
                  <a:pt x="349" y="1193"/>
                  <a:pt x="350" y="1195"/>
                  <a:pt x="351" y="1196"/>
                </a:cubicBezTo>
                <a:cubicBezTo>
                  <a:pt x="351" y="1197"/>
                  <a:pt x="351" y="1197"/>
                  <a:pt x="352" y="1197"/>
                </a:cubicBezTo>
                <a:cubicBezTo>
                  <a:pt x="353" y="1198"/>
                  <a:pt x="352" y="1198"/>
                  <a:pt x="353" y="1199"/>
                </a:cubicBezTo>
                <a:cubicBezTo>
                  <a:pt x="353" y="1199"/>
                  <a:pt x="354" y="1199"/>
                  <a:pt x="354" y="1200"/>
                </a:cubicBezTo>
                <a:cubicBezTo>
                  <a:pt x="354" y="1200"/>
                  <a:pt x="355" y="1201"/>
                  <a:pt x="354" y="1202"/>
                </a:cubicBezTo>
                <a:cubicBezTo>
                  <a:pt x="354" y="1202"/>
                  <a:pt x="354" y="1203"/>
                  <a:pt x="354" y="1203"/>
                </a:cubicBezTo>
                <a:cubicBezTo>
                  <a:pt x="355" y="1204"/>
                  <a:pt x="356" y="1203"/>
                  <a:pt x="357" y="1203"/>
                </a:cubicBezTo>
                <a:cubicBezTo>
                  <a:pt x="358" y="1203"/>
                  <a:pt x="358" y="1204"/>
                  <a:pt x="359" y="1204"/>
                </a:cubicBezTo>
                <a:cubicBezTo>
                  <a:pt x="360" y="1204"/>
                  <a:pt x="361" y="1204"/>
                  <a:pt x="362" y="1205"/>
                </a:cubicBezTo>
                <a:cubicBezTo>
                  <a:pt x="363" y="1205"/>
                  <a:pt x="364" y="1206"/>
                  <a:pt x="364" y="1206"/>
                </a:cubicBezTo>
                <a:cubicBezTo>
                  <a:pt x="365" y="1207"/>
                  <a:pt x="365" y="1208"/>
                  <a:pt x="366" y="1208"/>
                </a:cubicBezTo>
                <a:cubicBezTo>
                  <a:pt x="367" y="1209"/>
                  <a:pt x="367" y="1209"/>
                  <a:pt x="368" y="1210"/>
                </a:cubicBezTo>
                <a:cubicBezTo>
                  <a:pt x="369" y="1211"/>
                  <a:pt x="370" y="1212"/>
                  <a:pt x="371" y="1213"/>
                </a:cubicBezTo>
                <a:cubicBezTo>
                  <a:pt x="372" y="1213"/>
                  <a:pt x="372" y="1215"/>
                  <a:pt x="374" y="1215"/>
                </a:cubicBezTo>
                <a:cubicBezTo>
                  <a:pt x="375" y="1216"/>
                  <a:pt x="376" y="1217"/>
                  <a:pt x="377" y="1218"/>
                </a:cubicBezTo>
                <a:cubicBezTo>
                  <a:pt x="377" y="1219"/>
                  <a:pt x="377" y="1219"/>
                  <a:pt x="378" y="1219"/>
                </a:cubicBezTo>
                <a:cubicBezTo>
                  <a:pt x="379" y="1219"/>
                  <a:pt x="379" y="1220"/>
                  <a:pt x="379" y="1220"/>
                </a:cubicBezTo>
                <a:cubicBezTo>
                  <a:pt x="381" y="1221"/>
                  <a:pt x="382" y="1221"/>
                  <a:pt x="383" y="1222"/>
                </a:cubicBezTo>
                <a:cubicBezTo>
                  <a:pt x="383" y="1224"/>
                  <a:pt x="384" y="1224"/>
                  <a:pt x="385" y="1225"/>
                </a:cubicBezTo>
                <a:cubicBezTo>
                  <a:pt x="386" y="1226"/>
                  <a:pt x="387" y="1227"/>
                  <a:pt x="388" y="1227"/>
                </a:cubicBezTo>
                <a:cubicBezTo>
                  <a:pt x="389" y="1228"/>
                  <a:pt x="390" y="1228"/>
                  <a:pt x="391" y="1229"/>
                </a:cubicBezTo>
                <a:cubicBezTo>
                  <a:pt x="392" y="1230"/>
                  <a:pt x="392" y="1231"/>
                  <a:pt x="394" y="1232"/>
                </a:cubicBezTo>
                <a:cubicBezTo>
                  <a:pt x="395" y="1232"/>
                  <a:pt x="396" y="1232"/>
                  <a:pt x="398" y="1232"/>
                </a:cubicBezTo>
                <a:cubicBezTo>
                  <a:pt x="399" y="1231"/>
                  <a:pt x="399" y="1232"/>
                  <a:pt x="400" y="1231"/>
                </a:cubicBezTo>
                <a:cubicBezTo>
                  <a:pt x="401" y="1231"/>
                  <a:pt x="401" y="1231"/>
                  <a:pt x="402" y="1231"/>
                </a:cubicBezTo>
                <a:cubicBezTo>
                  <a:pt x="403" y="1230"/>
                  <a:pt x="404" y="1230"/>
                  <a:pt x="406" y="1231"/>
                </a:cubicBezTo>
                <a:cubicBezTo>
                  <a:pt x="406" y="1231"/>
                  <a:pt x="406" y="1232"/>
                  <a:pt x="407" y="1232"/>
                </a:cubicBezTo>
                <a:cubicBezTo>
                  <a:pt x="407" y="1233"/>
                  <a:pt x="408" y="1233"/>
                  <a:pt x="408" y="1233"/>
                </a:cubicBezTo>
                <a:cubicBezTo>
                  <a:pt x="409" y="1234"/>
                  <a:pt x="409" y="1235"/>
                  <a:pt x="409" y="1235"/>
                </a:cubicBezTo>
                <a:cubicBezTo>
                  <a:pt x="409" y="1236"/>
                  <a:pt x="410" y="1236"/>
                  <a:pt x="411" y="1237"/>
                </a:cubicBezTo>
                <a:cubicBezTo>
                  <a:pt x="412" y="1237"/>
                  <a:pt x="412" y="1238"/>
                  <a:pt x="413" y="1239"/>
                </a:cubicBezTo>
                <a:cubicBezTo>
                  <a:pt x="415" y="1239"/>
                  <a:pt x="415" y="1239"/>
                  <a:pt x="416" y="1240"/>
                </a:cubicBezTo>
                <a:cubicBezTo>
                  <a:pt x="417" y="1241"/>
                  <a:pt x="419" y="1241"/>
                  <a:pt x="419" y="1242"/>
                </a:cubicBezTo>
                <a:cubicBezTo>
                  <a:pt x="420" y="1243"/>
                  <a:pt x="419" y="1244"/>
                  <a:pt x="418" y="1245"/>
                </a:cubicBezTo>
                <a:cubicBezTo>
                  <a:pt x="418" y="1245"/>
                  <a:pt x="418" y="1245"/>
                  <a:pt x="418" y="1245"/>
                </a:cubicBezTo>
                <a:cubicBezTo>
                  <a:pt x="418" y="1246"/>
                  <a:pt x="417" y="1246"/>
                  <a:pt x="417" y="1246"/>
                </a:cubicBezTo>
                <a:cubicBezTo>
                  <a:pt x="417" y="1248"/>
                  <a:pt x="420" y="1245"/>
                  <a:pt x="420" y="1245"/>
                </a:cubicBezTo>
                <a:cubicBezTo>
                  <a:pt x="421" y="1245"/>
                  <a:pt x="422" y="1245"/>
                  <a:pt x="422" y="1245"/>
                </a:cubicBezTo>
                <a:cubicBezTo>
                  <a:pt x="423" y="1245"/>
                  <a:pt x="424" y="1245"/>
                  <a:pt x="424" y="1245"/>
                </a:cubicBezTo>
                <a:cubicBezTo>
                  <a:pt x="425" y="1245"/>
                  <a:pt x="425" y="1245"/>
                  <a:pt x="426" y="1244"/>
                </a:cubicBezTo>
                <a:cubicBezTo>
                  <a:pt x="427" y="1244"/>
                  <a:pt x="427" y="1244"/>
                  <a:pt x="428" y="1245"/>
                </a:cubicBezTo>
                <a:cubicBezTo>
                  <a:pt x="428" y="1246"/>
                  <a:pt x="428" y="1246"/>
                  <a:pt x="429" y="1247"/>
                </a:cubicBezTo>
                <a:cubicBezTo>
                  <a:pt x="430" y="1247"/>
                  <a:pt x="430" y="1247"/>
                  <a:pt x="430" y="1248"/>
                </a:cubicBezTo>
                <a:cubicBezTo>
                  <a:pt x="430" y="1249"/>
                  <a:pt x="430" y="1250"/>
                  <a:pt x="430" y="1250"/>
                </a:cubicBezTo>
                <a:cubicBezTo>
                  <a:pt x="430" y="1251"/>
                  <a:pt x="431" y="1251"/>
                  <a:pt x="431" y="1252"/>
                </a:cubicBezTo>
                <a:cubicBezTo>
                  <a:pt x="430" y="1253"/>
                  <a:pt x="429" y="1253"/>
                  <a:pt x="429" y="1254"/>
                </a:cubicBezTo>
                <a:cubicBezTo>
                  <a:pt x="430" y="1255"/>
                  <a:pt x="431" y="1255"/>
                  <a:pt x="432" y="1255"/>
                </a:cubicBezTo>
                <a:cubicBezTo>
                  <a:pt x="432" y="1256"/>
                  <a:pt x="432" y="1257"/>
                  <a:pt x="433" y="1257"/>
                </a:cubicBezTo>
                <a:cubicBezTo>
                  <a:pt x="434" y="1257"/>
                  <a:pt x="435" y="1257"/>
                  <a:pt x="435" y="1258"/>
                </a:cubicBezTo>
                <a:cubicBezTo>
                  <a:pt x="435" y="1259"/>
                  <a:pt x="436" y="1259"/>
                  <a:pt x="436" y="1260"/>
                </a:cubicBezTo>
                <a:cubicBezTo>
                  <a:pt x="437" y="1260"/>
                  <a:pt x="438" y="1260"/>
                  <a:pt x="438" y="1260"/>
                </a:cubicBezTo>
                <a:cubicBezTo>
                  <a:pt x="439" y="1260"/>
                  <a:pt x="440" y="1259"/>
                  <a:pt x="440" y="1259"/>
                </a:cubicBezTo>
                <a:cubicBezTo>
                  <a:pt x="441" y="1259"/>
                  <a:pt x="443" y="1259"/>
                  <a:pt x="444" y="1259"/>
                </a:cubicBezTo>
                <a:cubicBezTo>
                  <a:pt x="446" y="1260"/>
                  <a:pt x="445" y="1262"/>
                  <a:pt x="446" y="1263"/>
                </a:cubicBezTo>
                <a:cubicBezTo>
                  <a:pt x="446" y="1264"/>
                  <a:pt x="447" y="1265"/>
                  <a:pt x="448" y="1266"/>
                </a:cubicBezTo>
                <a:cubicBezTo>
                  <a:pt x="448" y="1268"/>
                  <a:pt x="448" y="1269"/>
                  <a:pt x="448" y="1271"/>
                </a:cubicBezTo>
                <a:cubicBezTo>
                  <a:pt x="449" y="1272"/>
                  <a:pt x="449" y="1273"/>
                  <a:pt x="450" y="1274"/>
                </a:cubicBezTo>
                <a:cubicBezTo>
                  <a:pt x="450" y="1275"/>
                  <a:pt x="450" y="1277"/>
                  <a:pt x="451" y="1278"/>
                </a:cubicBezTo>
                <a:cubicBezTo>
                  <a:pt x="451" y="1280"/>
                  <a:pt x="452" y="1281"/>
                  <a:pt x="453" y="1282"/>
                </a:cubicBezTo>
                <a:cubicBezTo>
                  <a:pt x="453" y="1283"/>
                  <a:pt x="455" y="1284"/>
                  <a:pt x="455" y="1285"/>
                </a:cubicBezTo>
                <a:cubicBezTo>
                  <a:pt x="455" y="1286"/>
                  <a:pt x="455" y="1287"/>
                  <a:pt x="455" y="1287"/>
                </a:cubicBezTo>
                <a:cubicBezTo>
                  <a:pt x="454" y="1288"/>
                  <a:pt x="454" y="1288"/>
                  <a:pt x="453" y="1288"/>
                </a:cubicBezTo>
                <a:cubicBezTo>
                  <a:pt x="452" y="1288"/>
                  <a:pt x="452" y="1289"/>
                  <a:pt x="451" y="1289"/>
                </a:cubicBezTo>
                <a:cubicBezTo>
                  <a:pt x="451" y="1289"/>
                  <a:pt x="450" y="1289"/>
                  <a:pt x="449" y="1290"/>
                </a:cubicBezTo>
                <a:cubicBezTo>
                  <a:pt x="448" y="1290"/>
                  <a:pt x="448" y="1291"/>
                  <a:pt x="448" y="1292"/>
                </a:cubicBezTo>
                <a:cubicBezTo>
                  <a:pt x="450" y="1292"/>
                  <a:pt x="449" y="1294"/>
                  <a:pt x="448" y="1295"/>
                </a:cubicBezTo>
                <a:cubicBezTo>
                  <a:pt x="448" y="1296"/>
                  <a:pt x="447" y="1296"/>
                  <a:pt x="447" y="1297"/>
                </a:cubicBezTo>
                <a:cubicBezTo>
                  <a:pt x="446" y="1297"/>
                  <a:pt x="446" y="1298"/>
                  <a:pt x="446" y="1298"/>
                </a:cubicBezTo>
                <a:cubicBezTo>
                  <a:pt x="445" y="1301"/>
                  <a:pt x="443" y="1303"/>
                  <a:pt x="444" y="1305"/>
                </a:cubicBezTo>
                <a:cubicBezTo>
                  <a:pt x="444" y="1306"/>
                  <a:pt x="444" y="1307"/>
                  <a:pt x="444" y="1307"/>
                </a:cubicBezTo>
                <a:cubicBezTo>
                  <a:pt x="445" y="1308"/>
                  <a:pt x="446" y="1307"/>
                  <a:pt x="446" y="1307"/>
                </a:cubicBezTo>
                <a:cubicBezTo>
                  <a:pt x="447" y="1308"/>
                  <a:pt x="447" y="1308"/>
                  <a:pt x="448" y="1308"/>
                </a:cubicBezTo>
                <a:cubicBezTo>
                  <a:pt x="449" y="1308"/>
                  <a:pt x="450" y="1308"/>
                  <a:pt x="450" y="1308"/>
                </a:cubicBezTo>
                <a:cubicBezTo>
                  <a:pt x="452" y="1308"/>
                  <a:pt x="453" y="1308"/>
                  <a:pt x="454" y="1306"/>
                </a:cubicBezTo>
                <a:cubicBezTo>
                  <a:pt x="455" y="1305"/>
                  <a:pt x="455" y="1304"/>
                  <a:pt x="457" y="1303"/>
                </a:cubicBezTo>
                <a:cubicBezTo>
                  <a:pt x="458" y="1302"/>
                  <a:pt x="458" y="1300"/>
                  <a:pt x="459" y="1299"/>
                </a:cubicBezTo>
                <a:cubicBezTo>
                  <a:pt x="460" y="1299"/>
                  <a:pt x="460" y="1297"/>
                  <a:pt x="461" y="1297"/>
                </a:cubicBezTo>
                <a:cubicBezTo>
                  <a:pt x="462" y="1296"/>
                  <a:pt x="463" y="1294"/>
                  <a:pt x="462" y="1293"/>
                </a:cubicBezTo>
                <a:cubicBezTo>
                  <a:pt x="462" y="1292"/>
                  <a:pt x="462" y="1292"/>
                  <a:pt x="461" y="1291"/>
                </a:cubicBezTo>
                <a:cubicBezTo>
                  <a:pt x="461" y="1291"/>
                  <a:pt x="462" y="1290"/>
                  <a:pt x="462" y="1289"/>
                </a:cubicBezTo>
                <a:cubicBezTo>
                  <a:pt x="462" y="1288"/>
                  <a:pt x="464" y="1288"/>
                  <a:pt x="464" y="1287"/>
                </a:cubicBezTo>
                <a:cubicBezTo>
                  <a:pt x="465" y="1285"/>
                  <a:pt x="466" y="1285"/>
                  <a:pt x="467" y="1285"/>
                </a:cubicBezTo>
                <a:cubicBezTo>
                  <a:pt x="468" y="1284"/>
                  <a:pt x="469" y="1284"/>
                  <a:pt x="470" y="1284"/>
                </a:cubicBezTo>
                <a:cubicBezTo>
                  <a:pt x="470" y="1284"/>
                  <a:pt x="470" y="1285"/>
                  <a:pt x="471" y="1285"/>
                </a:cubicBezTo>
                <a:cubicBezTo>
                  <a:pt x="473" y="1285"/>
                  <a:pt x="474" y="1285"/>
                  <a:pt x="474" y="1283"/>
                </a:cubicBezTo>
                <a:cubicBezTo>
                  <a:pt x="474" y="1281"/>
                  <a:pt x="474" y="1279"/>
                  <a:pt x="474" y="1277"/>
                </a:cubicBezTo>
                <a:cubicBezTo>
                  <a:pt x="474" y="1275"/>
                  <a:pt x="473" y="1273"/>
                  <a:pt x="471" y="1272"/>
                </a:cubicBezTo>
                <a:cubicBezTo>
                  <a:pt x="470" y="1270"/>
                  <a:pt x="467" y="1269"/>
                  <a:pt x="466" y="1268"/>
                </a:cubicBezTo>
                <a:cubicBezTo>
                  <a:pt x="465" y="1268"/>
                  <a:pt x="464" y="1268"/>
                  <a:pt x="464" y="1268"/>
                </a:cubicBezTo>
                <a:cubicBezTo>
                  <a:pt x="463" y="1268"/>
                  <a:pt x="462" y="1268"/>
                  <a:pt x="462" y="1267"/>
                </a:cubicBezTo>
                <a:cubicBezTo>
                  <a:pt x="460" y="1266"/>
                  <a:pt x="462" y="1263"/>
                  <a:pt x="463" y="1261"/>
                </a:cubicBezTo>
                <a:cubicBezTo>
                  <a:pt x="463" y="1260"/>
                  <a:pt x="463" y="1259"/>
                  <a:pt x="464" y="1257"/>
                </a:cubicBezTo>
                <a:cubicBezTo>
                  <a:pt x="465" y="1256"/>
                  <a:pt x="465" y="1255"/>
                  <a:pt x="466" y="1253"/>
                </a:cubicBezTo>
                <a:cubicBezTo>
                  <a:pt x="467" y="1252"/>
                  <a:pt x="467" y="1251"/>
                  <a:pt x="468" y="1250"/>
                </a:cubicBezTo>
                <a:cubicBezTo>
                  <a:pt x="469" y="1249"/>
                  <a:pt x="470" y="1248"/>
                  <a:pt x="471" y="1248"/>
                </a:cubicBezTo>
                <a:cubicBezTo>
                  <a:pt x="472" y="1248"/>
                  <a:pt x="475" y="1247"/>
                  <a:pt x="475" y="1248"/>
                </a:cubicBezTo>
                <a:cubicBezTo>
                  <a:pt x="476" y="1249"/>
                  <a:pt x="473" y="1251"/>
                  <a:pt x="476" y="1251"/>
                </a:cubicBezTo>
                <a:cubicBezTo>
                  <a:pt x="477" y="1251"/>
                  <a:pt x="477" y="1250"/>
                  <a:pt x="478" y="1251"/>
                </a:cubicBezTo>
                <a:cubicBezTo>
                  <a:pt x="478" y="1251"/>
                  <a:pt x="479" y="1251"/>
                  <a:pt x="479" y="1252"/>
                </a:cubicBezTo>
                <a:cubicBezTo>
                  <a:pt x="481" y="1252"/>
                  <a:pt x="482" y="1251"/>
                  <a:pt x="484" y="1252"/>
                </a:cubicBezTo>
                <a:cubicBezTo>
                  <a:pt x="485" y="1253"/>
                  <a:pt x="486" y="1254"/>
                  <a:pt x="486" y="1255"/>
                </a:cubicBezTo>
                <a:cubicBezTo>
                  <a:pt x="488" y="1257"/>
                  <a:pt x="489" y="1260"/>
                  <a:pt x="491" y="1261"/>
                </a:cubicBezTo>
                <a:cubicBezTo>
                  <a:pt x="492" y="1261"/>
                  <a:pt x="493" y="1262"/>
                  <a:pt x="494" y="1263"/>
                </a:cubicBezTo>
                <a:cubicBezTo>
                  <a:pt x="495" y="1263"/>
                  <a:pt x="496" y="1265"/>
                  <a:pt x="497" y="1265"/>
                </a:cubicBezTo>
                <a:cubicBezTo>
                  <a:pt x="499" y="1265"/>
                  <a:pt x="499" y="1263"/>
                  <a:pt x="499" y="1262"/>
                </a:cubicBezTo>
                <a:cubicBezTo>
                  <a:pt x="499" y="1260"/>
                  <a:pt x="500" y="1259"/>
                  <a:pt x="500" y="1257"/>
                </a:cubicBezTo>
                <a:cubicBezTo>
                  <a:pt x="500" y="1257"/>
                  <a:pt x="500" y="1256"/>
                  <a:pt x="500" y="1255"/>
                </a:cubicBezTo>
                <a:cubicBezTo>
                  <a:pt x="499" y="1254"/>
                  <a:pt x="498" y="1254"/>
                  <a:pt x="498" y="1253"/>
                </a:cubicBezTo>
                <a:cubicBezTo>
                  <a:pt x="497" y="1252"/>
                  <a:pt x="497" y="1251"/>
                  <a:pt x="496" y="1250"/>
                </a:cubicBezTo>
                <a:cubicBezTo>
                  <a:pt x="495" y="1250"/>
                  <a:pt x="494" y="1249"/>
                  <a:pt x="493" y="1249"/>
                </a:cubicBezTo>
                <a:cubicBezTo>
                  <a:pt x="492" y="1248"/>
                  <a:pt x="492" y="1247"/>
                  <a:pt x="491" y="1246"/>
                </a:cubicBezTo>
                <a:cubicBezTo>
                  <a:pt x="490" y="1245"/>
                  <a:pt x="489" y="1244"/>
                  <a:pt x="487" y="1244"/>
                </a:cubicBezTo>
                <a:cubicBezTo>
                  <a:pt x="486" y="1243"/>
                  <a:pt x="484" y="1242"/>
                  <a:pt x="483" y="1241"/>
                </a:cubicBezTo>
                <a:cubicBezTo>
                  <a:pt x="481" y="1241"/>
                  <a:pt x="480" y="1240"/>
                  <a:pt x="479" y="1239"/>
                </a:cubicBezTo>
                <a:cubicBezTo>
                  <a:pt x="477" y="1238"/>
                  <a:pt x="476" y="1238"/>
                  <a:pt x="475" y="1237"/>
                </a:cubicBezTo>
                <a:cubicBezTo>
                  <a:pt x="474" y="1237"/>
                  <a:pt x="473" y="1236"/>
                  <a:pt x="472" y="1236"/>
                </a:cubicBezTo>
                <a:cubicBezTo>
                  <a:pt x="471" y="1235"/>
                  <a:pt x="470" y="1234"/>
                  <a:pt x="469" y="1234"/>
                </a:cubicBezTo>
                <a:cubicBezTo>
                  <a:pt x="468" y="1233"/>
                  <a:pt x="466" y="1233"/>
                  <a:pt x="465" y="1233"/>
                </a:cubicBezTo>
                <a:cubicBezTo>
                  <a:pt x="464" y="1233"/>
                  <a:pt x="463" y="1231"/>
                  <a:pt x="461" y="1231"/>
                </a:cubicBezTo>
                <a:cubicBezTo>
                  <a:pt x="459" y="1229"/>
                  <a:pt x="457" y="1229"/>
                  <a:pt x="455" y="1228"/>
                </a:cubicBezTo>
                <a:cubicBezTo>
                  <a:pt x="454" y="1227"/>
                  <a:pt x="454" y="1226"/>
                  <a:pt x="453" y="1226"/>
                </a:cubicBezTo>
                <a:cubicBezTo>
                  <a:pt x="452" y="1225"/>
                  <a:pt x="450" y="1223"/>
                  <a:pt x="450" y="1222"/>
                </a:cubicBezTo>
                <a:cubicBezTo>
                  <a:pt x="450" y="1220"/>
                  <a:pt x="452" y="1221"/>
                  <a:pt x="453" y="1220"/>
                </a:cubicBezTo>
                <a:cubicBezTo>
                  <a:pt x="453" y="1220"/>
                  <a:pt x="453" y="1219"/>
                  <a:pt x="454" y="1219"/>
                </a:cubicBezTo>
                <a:cubicBezTo>
                  <a:pt x="454" y="1219"/>
                  <a:pt x="454" y="1218"/>
                  <a:pt x="454" y="1218"/>
                </a:cubicBezTo>
                <a:cubicBezTo>
                  <a:pt x="455" y="1214"/>
                  <a:pt x="453" y="1212"/>
                  <a:pt x="450" y="1213"/>
                </a:cubicBezTo>
                <a:cubicBezTo>
                  <a:pt x="448" y="1213"/>
                  <a:pt x="447" y="1213"/>
                  <a:pt x="446" y="1213"/>
                </a:cubicBezTo>
                <a:cubicBezTo>
                  <a:pt x="444" y="1214"/>
                  <a:pt x="443" y="1213"/>
                  <a:pt x="442" y="1213"/>
                </a:cubicBezTo>
                <a:cubicBezTo>
                  <a:pt x="440" y="1213"/>
                  <a:pt x="439" y="1214"/>
                  <a:pt x="438" y="1214"/>
                </a:cubicBezTo>
                <a:cubicBezTo>
                  <a:pt x="437" y="1214"/>
                  <a:pt x="437" y="1214"/>
                  <a:pt x="436" y="1214"/>
                </a:cubicBezTo>
                <a:cubicBezTo>
                  <a:pt x="434" y="1214"/>
                  <a:pt x="432" y="1214"/>
                  <a:pt x="431" y="1213"/>
                </a:cubicBezTo>
                <a:cubicBezTo>
                  <a:pt x="430" y="1213"/>
                  <a:pt x="429" y="1212"/>
                  <a:pt x="428" y="1212"/>
                </a:cubicBezTo>
                <a:cubicBezTo>
                  <a:pt x="427" y="1211"/>
                  <a:pt x="426" y="1211"/>
                  <a:pt x="426" y="1211"/>
                </a:cubicBezTo>
                <a:cubicBezTo>
                  <a:pt x="425" y="1210"/>
                  <a:pt x="425" y="1210"/>
                  <a:pt x="425" y="1209"/>
                </a:cubicBezTo>
                <a:cubicBezTo>
                  <a:pt x="424" y="1208"/>
                  <a:pt x="423" y="1208"/>
                  <a:pt x="422" y="1208"/>
                </a:cubicBezTo>
                <a:cubicBezTo>
                  <a:pt x="421" y="1207"/>
                  <a:pt x="421" y="1205"/>
                  <a:pt x="420" y="1204"/>
                </a:cubicBezTo>
                <a:cubicBezTo>
                  <a:pt x="419" y="1204"/>
                  <a:pt x="419" y="1204"/>
                  <a:pt x="418" y="1203"/>
                </a:cubicBezTo>
                <a:cubicBezTo>
                  <a:pt x="418" y="1203"/>
                  <a:pt x="417" y="1202"/>
                  <a:pt x="417" y="1202"/>
                </a:cubicBezTo>
                <a:cubicBezTo>
                  <a:pt x="416" y="1201"/>
                  <a:pt x="416" y="1201"/>
                  <a:pt x="415" y="1200"/>
                </a:cubicBezTo>
                <a:cubicBezTo>
                  <a:pt x="414" y="1200"/>
                  <a:pt x="414" y="1198"/>
                  <a:pt x="414" y="1197"/>
                </a:cubicBezTo>
                <a:cubicBezTo>
                  <a:pt x="414" y="1197"/>
                  <a:pt x="413" y="1196"/>
                  <a:pt x="412" y="1195"/>
                </a:cubicBezTo>
                <a:cubicBezTo>
                  <a:pt x="411" y="1194"/>
                  <a:pt x="411" y="1193"/>
                  <a:pt x="410" y="1192"/>
                </a:cubicBezTo>
                <a:cubicBezTo>
                  <a:pt x="410" y="1191"/>
                  <a:pt x="410" y="1191"/>
                  <a:pt x="410" y="1190"/>
                </a:cubicBezTo>
                <a:cubicBezTo>
                  <a:pt x="409" y="1189"/>
                  <a:pt x="409" y="1189"/>
                  <a:pt x="409" y="1188"/>
                </a:cubicBezTo>
                <a:cubicBezTo>
                  <a:pt x="408" y="1187"/>
                  <a:pt x="408" y="1186"/>
                  <a:pt x="408" y="1184"/>
                </a:cubicBezTo>
                <a:cubicBezTo>
                  <a:pt x="408" y="1182"/>
                  <a:pt x="407" y="1182"/>
                  <a:pt x="406" y="1180"/>
                </a:cubicBezTo>
                <a:cubicBezTo>
                  <a:pt x="405" y="1180"/>
                  <a:pt x="405" y="1178"/>
                  <a:pt x="404" y="1177"/>
                </a:cubicBezTo>
                <a:cubicBezTo>
                  <a:pt x="403" y="1176"/>
                  <a:pt x="402" y="1176"/>
                  <a:pt x="401" y="1176"/>
                </a:cubicBezTo>
                <a:cubicBezTo>
                  <a:pt x="400" y="1175"/>
                  <a:pt x="399" y="1174"/>
                  <a:pt x="398" y="1173"/>
                </a:cubicBezTo>
                <a:cubicBezTo>
                  <a:pt x="397" y="1172"/>
                  <a:pt x="396" y="1172"/>
                  <a:pt x="395" y="1171"/>
                </a:cubicBezTo>
                <a:cubicBezTo>
                  <a:pt x="394" y="1170"/>
                  <a:pt x="393" y="1169"/>
                  <a:pt x="392" y="1169"/>
                </a:cubicBezTo>
                <a:cubicBezTo>
                  <a:pt x="390" y="1168"/>
                  <a:pt x="390" y="1167"/>
                  <a:pt x="389" y="1166"/>
                </a:cubicBezTo>
                <a:cubicBezTo>
                  <a:pt x="388" y="1166"/>
                  <a:pt x="388" y="1166"/>
                  <a:pt x="387" y="1165"/>
                </a:cubicBezTo>
                <a:cubicBezTo>
                  <a:pt x="387" y="1165"/>
                  <a:pt x="386" y="1165"/>
                  <a:pt x="386" y="1164"/>
                </a:cubicBezTo>
                <a:cubicBezTo>
                  <a:pt x="384" y="1163"/>
                  <a:pt x="383" y="1163"/>
                  <a:pt x="382" y="1162"/>
                </a:cubicBezTo>
                <a:cubicBezTo>
                  <a:pt x="381" y="1161"/>
                  <a:pt x="381" y="1160"/>
                  <a:pt x="380" y="1159"/>
                </a:cubicBezTo>
                <a:cubicBezTo>
                  <a:pt x="379" y="1158"/>
                  <a:pt x="378" y="1157"/>
                  <a:pt x="378" y="1155"/>
                </a:cubicBezTo>
                <a:cubicBezTo>
                  <a:pt x="378" y="1154"/>
                  <a:pt x="378" y="1153"/>
                  <a:pt x="378" y="1151"/>
                </a:cubicBezTo>
                <a:cubicBezTo>
                  <a:pt x="378" y="1150"/>
                  <a:pt x="377" y="1149"/>
                  <a:pt x="377" y="1147"/>
                </a:cubicBezTo>
                <a:cubicBezTo>
                  <a:pt x="377" y="1146"/>
                  <a:pt x="378" y="1144"/>
                  <a:pt x="379" y="1145"/>
                </a:cubicBezTo>
                <a:cubicBezTo>
                  <a:pt x="380" y="1145"/>
                  <a:pt x="381" y="1147"/>
                  <a:pt x="381" y="1145"/>
                </a:cubicBezTo>
                <a:cubicBezTo>
                  <a:pt x="381" y="1144"/>
                  <a:pt x="381" y="1144"/>
                  <a:pt x="381" y="1144"/>
                </a:cubicBezTo>
                <a:cubicBezTo>
                  <a:pt x="383" y="1142"/>
                  <a:pt x="382" y="1140"/>
                  <a:pt x="380" y="1139"/>
                </a:cubicBezTo>
                <a:cubicBezTo>
                  <a:pt x="379" y="1138"/>
                  <a:pt x="379" y="1138"/>
                  <a:pt x="378" y="1137"/>
                </a:cubicBezTo>
                <a:cubicBezTo>
                  <a:pt x="378" y="1137"/>
                  <a:pt x="378" y="1136"/>
                  <a:pt x="377" y="1136"/>
                </a:cubicBezTo>
                <a:cubicBezTo>
                  <a:pt x="377" y="1135"/>
                  <a:pt x="375" y="1134"/>
                  <a:pt x="375" y="1133"/>
                </a:cubicBezTo>
                <a:cubicBezTo>
                  <a:pt x="376" y="1132"/>
                  <a:pt x="376" y="1132"/>
                  <a:pt x="376" y="1132"/>
                </a:cubicBezTo>
                <a:cubicBezTo>
                  <a:pt x="377" y="1131"/>
                  <a:pt x="377" y="1130"/>
                  <a:pt x="377" y="1130"/>
                </a:cubicBezTo>
                <a:cubicBezTo>
                  <a:pt x="378" y="1129"/>
                  <a:pt x="379" y="1127"/>
                  <a:pt x="381" y="1128"/>
                </a:cubicBezTo>
                <a:cubicBezTo>
                  <a:pt x="381" y="1128"/>
                  <a:pt x="379" y="1131"/>
                  <a:pt x="381" y="1130"/>
                </a:cubicBezTo>
                <a:cubicBezTo>
                  <a:pt x="381" y="1130"/>
                  <a:pt x="382" y="1129"/>
                  <a:pt x="383" y="1129"/>
                </a:cubicBezTo>
                <a:cubicBezTo>
                  <a:pt x="383" y="1129"/>
                  <a:pt x="384" y="1130"/>
                  <a:pt x="385" y="1129"/>
                </a:cubicBezTo>
                <a:cubicBezTo>
                  <a:pt x="386" y="1128"/>
                  <a:pt x="387" y="1127"/>
                  <a:pt x="388" y="1127"/>
                </a:cubicBezTo>
                <a:cubicBezTo>
                  <a:pt x="389" y="1127"/>
                  <a:pt x="391" y="1127"/>
                  <a:pt x="392" y="1126"/>
                </a:cubicBezTo>
                <a:cubicBezTo>
                  <a:pt x="393" y="1126"/>
                  <a:pt x="393" y="1125"/>
                  <a:pt x="394" y="1125"/>
                </a:cubicBezTo>
                <a:cubicBezTo>
                  <a:pt x="394" y="1124"/>
                  <a:pt x="394" y="1123"/>
                  <a:pt x="394" y="1123"/>
                </a:cubicBezTo>
                <a:cubicBezTo>
                  <a:pt x="394" y="1122"/>
                  <a:pt x="395" y="1122"/>
                  <a:pt x="396" y="1122"/>
                </a:cubicBezTo>
                <a:cubicBezTo>
                  <a:pt x="397" y="1122"/>
                  <a:pt x="397" y="1122"/>
                  <a:pt x="398" y="1123"/>
                </a:cubicBezTo>
                <a:cubicBezTo>
                  <a:pt x="399" y="1123"/>
                  <a:pt x="401" y="1122"/>
                  <a:pt x="402" y="1122"/>
                </a:cubicBezTo>
                <a:cubicBezTo>
                  <a:pt x="404" y="1122"/>
                  <a:pt x="404" y="1124"/>
                  <a:pt x="404" y="1125"/>
                </a:cubicBezTo>
                <a:cubicBezTo>
                  <a:pt x="405" y="1125"/>
                  <a:pt x="406" y="1125"/>
                  <a:pt x="405" y="1126"/>
                </a:cubicBezTo>
                <a:cubicBezTo>
                  <a:pt x="404" y="1126"/>
                  <a:pt x="404" y="1126"/>
                  <a:pt x="404" y="1127"/>
                </a:cubicBezTo>
                <a:cubicBezTo>
                  <a:pt x="404" y="1127"/>
                  <a:pt x="404" y="1127"/>
                  <a:pt x="403" y="1128"/>
                </a:cubicBezTo>
                <a:cubicBezTo>
                  <a:pt x="403" y="1128"/>
                  <a:pt x="403" y="1128"/>
                  <a:pt x="403" y="1128"/>
                </a:cubicBezTo>
                <a:cubicBezTo>
                  <a:pt x="403" y="1129"/>
                  <a:pt x="403" y="1129"/>
                  <a:pt x="403" y="1129"/>
                </a:cubicBezTo>
                <a:cubicBezTo>
                  <a:pt x="403" y="1129"/>
                  <a:pt x="403" y="1129"/>
                  <a:pt x="403" y="1129"/>
                </a:cubicBezTo>
                <a:cubicBezTo>
                  <a:pt x="403" y="1130"/>
                  <a:pt x="402" y="1130"/>
                  <a:pt x="402" y="1130"/>
                </a:cubicBezTo>
                <a:cubicBezTo>
                  <a:pt x="402" y="1130"/>
                  <a:pt x="402" y="1131"/>
                  <a:pt x="402" y="1131"/>
                </a:cubicBezTo>
                <a:cubicBezTo>
                  <a:pt x="402" y="1132"/>
                  <a:pt x="402" y="1133"/>
                  <a:pt x="402" y="1134"/>
                </a:cubicBezTo>
                <a:cubicBezTo>
                  <a:pt x="402" y="1135"/>
                  <a:pt x="403" y="1134"/>
                  <a:pt x="403" y="1135"/>
                </a:cubicBezTo>
                <a:cubicBezTo>
                  <a:pt x="404" y="1136"/>
                  <a:pt x="403" y="1138"/>
                  <a:pt x="404" y="1139"/>
                </a:cubicBezTo>
                <a:cubicBezTo>
                  <a:pt x="404" y="1140"/>
                  <a:pt x="405" y="1140"/>
                  <a:pt x="405" y="1140"/>
                </a:cubicBezTo>
                <a:cubicBezTo>
                  <a:pt x="405" y="1141"/>
                  <a:pt x="405" y="1141"/>
                  <a:pt x="406" y="1142"/>
                </a:cubicBezTo>
                <a:cubicBezTo>
                  <a:pt x="407" y="1142"/>
                  <a:pt x="407" y="1142"/>
                  <a:pt x="407" y="1143"/>
                </a:cubicBezTo>
                <a:cubicBezTo>
                  <a:pt x="408" y="1144"/>
                  <a:pt x="408" y="1144"/>
                  <a:pt x="408" y="1145"/>
                </a:cubicBezTo>
                <a:cubicBezTo>
                  <a:pt x="409" y="1147"/>
                  <a:pt x="410" y="1146"/>
                  <a:pt x="410" y="1144"/>
                </a:cubicBezTo>
                <a:cubicBezTo>
                  <a:pt x="411" y="1143"/>
                  <a:pt x="410" y="1142"/>
                  <a:pt x="412" y="1141"/>
                </a:cubicBezTo>
                <a:cubicBezTo>
                  <a:pt x="412" y="1140"/>
                  <a:pt x="413" y="1140"/>
                  <a:pt x="413" y="1140"/>
                </a:cubicBezTo>
                <a:cubicBezTo>
                  <a:pt x="414" y="1140"/>
                  <a:pt x="414" y="1141"/>
                  <a:pt x="415" y="1140"/>
                </a:cubicBezTo>
                <a:cubicBezTo>
                  <a:pt x="415" y="1139"/>
                  <a:pt x="415" y="1138"/>
                  <a:pt x="415" y="1138"/>
                </a:cubicBezTo>
                <a:cubicBezTo>
                  <a:pt x="415" y="1137"/>
                  <a:pt x="416" y="1137"/>
                  <a:pt x="416" y="1136"/>
                </a:cubicBezTo>
                <a:cubicBezTo>
                  <a:pt x="417" y="1135"/>
                  <a:pt x="416" y="1133"/>
                  <a:pt x="418" y="1133"/>
                </a:cubicBezTo>
                <a:cubicBezTo>
                  <a:pt x="419" y="1133"/>
                  <a:pt x="419" y="1133"/>
                  <a:pt x="420" y="1133"/>
                </a:cubicBezTo>
                <a:cubicBezTo>
                  <a:pt x="420" y="1134"/>
                  <a:pt x="420" y="1135"/>
                  <a:pt x="421" y="1135"/>
                </a:cubicBezTo>
                <a:cubicBezTo>
                  <a:pt x="422" y="1136"/>
                  <a:pt x="423" y="1136"/>
                  <a:pt x="423" y="1136"/>
                </a:cubicBezTo>
                <a:cubicBezTo>
                  <a:pt x="424" y="1137"/>
                  <a:pt x="424" y="1137"/>
                  <a:pt x="425" y="1137"/>
                </a:cubicBezTo>
                <a:cubicBezTo>
                  <a:pt x="425" y="1138"/>
                  <a:pt x="426" y="1138"/>
                  <a:pt x="426" y="1138"/>
                </a:cubicBezTo>
                <a:cubicBezTo>
                  <a:pt x="427" y="1139"/>
                  <a:pt x="429" y="1140"/>
                  <a:pt x="429" y="1141"/>
                </a:cubicBezTo>
                <a:cubicBezTo>
                  <a:pt x="429" y="1142"/>
                  <a:pt x="428" y="1144"/>
                  <a:pt x="429" y="1145"/>
                </a:cubicBezTo>
                <a:cubicBezTo>
                  <a:pt x="429" y="1146"/>
                  <a:pt x="430" y="1146"/>
                  <a:pt x="430" y="1147"/>
                </a:cubicBezTo>
                <a:cubicBezTo>
                  <a:pt x="430" y="1148"/>
                  <a:pt x="430" y="1148"/>
                  <a:pt x="430" y="1149"/>
                </a:cubicBezTo>
                <a:cubicBezTo>
                  <a:pt x="431" y="1150"/>
                  <a:pt x="432" y="1151"/>
                  <a:pt x="432" y="1152"/>
                </a:cubicBezTo>
                <a:cubicBezTo>
                  <a:pt x="433" y="1154"/>
                  <a:pt x="434" y="1154"/>
                  <a:pt x="435" y="1155"/>
                </a:cubicBezTo>
                <a:cubicBezTo>
                  <a:pt x="436" y="1156"/>
                  <a:pt x="437" y="1156"/>
                  <a:pt x="438" y="1157"/>
                </a:cubicBezTo>
                <a:cubicBezTo>
                  <a:pt x="439" y="1157"/>
                  <a:pt x="439" y="1158"/>
                  <a:pt x="440" y="1158"/>
                </a:cubicBezTo>
                <a:cubicBezTo>
                  <a:pt x="440" y="1160"/>
                  <a:pt x="438" y="1159"/>
                  <a:pt x="438" y="1158"/>
                </a:cubicBezTo>
                <a:cubicBezTo>
                  <a:pt x="437" y="1158"/>
                  <a:pt x="437" y="1158"/>
                  <a:pt x="437" y="1158"/>
                </a:cubicBezTo>
                <a:cubicBezTo>
                  <a:pt x="436" y="1158"/>
                  <a:pt x="436" y="1157"/>
                  <a:pt x="436" y="1157"/>
                </a:cubicBezTo>
                <a:cubicBezTo>
                  <a:pt x="435" y="1157"/>
                  <a:pt x="435" y="1158"/>
                  <a:pt x="435" y="1158"/>
                </a:cubicBezTo>
                <a:cubicBezTo>
                  <a:pt x="434" y="1158"/>
                  <a:pt x="434" y="1158"/>
                  <a:pt x="433" y="1158"/>
                </a:cubicBezTo>
                <a:cubicBezTo>
                  <a:pt x="433" y="1160"/>
                  <a:pt x="435" y="1160"/>
                  <a:pt x="435" y="1160"/>
                </a:cubicBezTo>
                <a:cubicBezTo>
                  <a:pt x="436" y="1161"/>
                  <a:pt x="436" y="1162"/>
                  <a:pt x="436" y="1163"/>
                </a:cubicBezTo>
                <a:cubicBezTo>
                  <a:pt x="437" y="1164"/>
                  <a:pt x="438" y="1164"/>
                  <a:pt x="439" y="1165"/>
                </a:cubicBezTo>
                <a:cubicBezTo>
                  <a:pt x="439" y="1166"/>
                  <a:pt x="439" y="1166"/>
                  <a:pt x="439" y="1166"/>
                </a:cubicBezTo>
                <a:cubicBezTo>
                  <a:pt x="440" y="1167"/>
                  <a:pt x="441" y="1167"/>
                  <a:pt x="442" y="1168"/>
                </a:cubicBezTo>
                <a:cubicBezTo>
                  <a:pt x="442" y="1168"/>
                  <a:pt x="442" y="1169"/>
                  <a:pt x="443" y="1169"/>
                </a:cubicBezTo>
                <a:cubicBezTo>
                  <a:pt x="444" y="1169"/>
                  <a:pt x="445" y="1169"/>
                  <a:pt x="445" y="1170"/>
                </a:cubicBezTo>
                <a:cubicBezTo>
                  <a:pt x="446" y="1170"/>
                  <a:pt x="446" y="1170"/>
                  <a:pt x="447" y="1170"/>
                </a:cubicBezTo>
                <a:cubicBezTo>
                  <a:pt x="448" y="1171"/>
                  <a:pt x="448" y="1171"/>
                  <a:pt x="448" y="1172"/>
                </a:cubicBezTo>
                <a:cubicBezTo>
                  <a:pt x="448" y="1172"/>
                  <a:pt x="448" y="1172"/>
                  <a:pt x="449" y="1173"/>
                </a:cubicBezTo>
                <a:cubicBezTo>
                  <a:pt x="449" y="1173"/>
                  <a:pt x="449" y="1173"/>
                  <a:pt x="450" y="1173"/>
                </a:cubicBezTo>
                <a:cubicBezTo>
                  <a:pt x="451" y="1174"/>
                  <a:pt x="450" y="1176"/>
                  <a:pt x="452" y="1176"/>
                </a:cubicBezTo>
                <a:cubicBezTo>
                  <a:pt x="453" y="1176"/>
                  <a:pt x="455" y="1176"/>
                  <a:pt x="456" y="1176"/>
                </a:cubicBezTo>
                <a:cubicBezTo>
                  <a:pt x="457" y="1176"/>
                  <a:pt x="459" y="1176"/>
                  <a:pt x="460" y="1176"/>
                </a:cubicBezTo>
                <a:cubicBezTo>
                  <a:pt x="461" y="1176"/>
                  <a:pt x="461" y="1177"/>
                  <a:pt x="462" y="1177"/>
                </a:cubicBezTo>
                <a:cubicBezTo>
                  <a:pt x="462" y="1178"/>
                  <a:pt x="463" y="1177"/>
                  <a:pt x="464" y="1178"/>
                </a:cubicBezTo>
                <a:cubicBezTo>
                  <a:pt x="464" y="1178"/>
                  <a:pt x="464" y="1179"/>
                  <a:pt x="465" y="1179"/>
                </a:cubicBezTo>
                <a:cubicBezTo>
                  <a:pt x="465" y="1179"/>
                  <a:pt x="466" y="1179"/>
                  <a:pt x="466" y="1180"/>
                </a:cubicBezTo>
                <a:cubicBezTo>
                  <a:pt x="467" y="1180"/>
                  <a:pt x="467" y="1181"/>
                  <a:pt x="467" y="1181"/>
                </a:cubicBezTo>
                <a:cubicBezTo>
                  <a:pt x="468" y="1182"/>
                  <a:pt x="469" y="1181"/>
                  <a:pt x="469" y="1182"/>
                </a:cubicBezTo>
                <a:cubicBezTo>
                  <a:pt x="470" y="1182"/>
                  <a:pt x="470" y="1182"/>
                  <a:pt x="471" y="1183"/>
                </a:cubicBezTo>
                <a:cubicBezTo>
                  <a:pt x="471" y="1184"/>
                  <a:pt x="472" y="1183"/>
                  <a:pt x="473" y="1184"/>
                </a:cubicBezTo>
                <a:cubicBezTo>
                  <a:pt x="473" y="1184"/>
                  <a:pt x="473" y="1185"/>
                  <a:pt x="474" y="1185"/>
                </a:cubicBezTo>
                <a:cubicBezTo>
                  <a:pt x="474" y="1186"/>
                  <a:pt x="475" y="1186"/>
                  <a:pt x="476" y="1186"/>
                </a:cubicBezTo>
                <a:cubicBezTo>
                  <a:pt x="476" y="1186"/>
                  <a:pt x="477" y="1187"/>
                  <a:pt x="477" y="1187"/>
                </a:cubicBezTo>
                <a:cubicBezTo>
                  <a:pt x="478" y="1188"/>
                  <a:pt x="478" y="1188"/>
                  <a:pt x="479" y="1188"/>
                </a:cubicBezTo>
                <a:cubicBezTo>
                  <a:pt x="480" y="1188"/>
                  <a:pt x="480" y="1190"/>
                  <a:pt x="481" y="1190"/>
                </a:cubicBezTo>
                <a:cubicBezTo>
                  <a:pt x="481" y="1190"/>
                  <a:pt x="482" y="1191"/>
                  <a:pt x="482" y="1191"/>
                </a:cubicBezTo>
                <a:cubicBezTo>
                  <a:pt x="483" y="1192"/>
                  <a:pt x="484" y="1192"/>
                  <a:pt x="485" y="1193"/>
                </a:cubicBezTo>
                <a:cubicBezTo>
                  <a:pt x="485" y="1194"/>
                  <a:pt x="485" y="1194"/>
                  <a:pt x="486" y="1195"/>
                </a:cubicBezTo>
                <a:cubicBezTo>
                  <a:pt x="486" y="1195"/>
                  <a:pt x="487" y="1195"/>
                  <a:pt x="487" y="1196"/>
                </a:cubicBezTo>
                <a:cubicBezTo>
                  <a:pt x="488" y="1196"/>
                  <a:pt x="488" y="1197"/>
                  <a:pt x="488" y="1197"/>
                </a:cubicBezTo>
                <a:cubicBezTo>
                  <a:pt x="489" y="1197"/>
                  <a:pt x="490" y="1197"/>
                  <a:pt x="490" y="1197"/>
                </a:cubicBezTo>
                <a:cubicBezTo>
                  <a:pt x="491" y="1198"/>
                  <a:pt x="492" y="1198"/>
                  <a:pt x="493" y="1198"/>
                </a:cubicBezTo>
                <a:cubicBezTo>
                  <a:pt x="494" y="1199"/>
                  <a:pt x="495" y="1199"/>
                  <a:pt x="496" y="1200"/>
                </a:cubicBezTo>
                <a:cubicBezTo>
                  <a:pt x="497" y="1200"/>
                  <a:pt x="498" y="1201"/>
                  <a:pt x="500" y="1202"/>
                </a:cubicBezTo>
                <a:cubicBezTo>
                  <a:pt x="500" y="1202"/>
                  <a:pt x="501" y="1204"/>
                  <a:pt x="502" y="1204"/>
                </a:cubicBezTo>
                <a:cubicBezTo>
                  <a:pt x="502" y="1203"/>
                  <a:pt x="501" y="1202"/>
                  <a:pt x="502" y="1202"/>
                </a:cubicBezTo>
                <a:cubicBezTo>
                  <a:pt x="503" y="1202"/>
                  <a:pt x="503" y="1203"/>
                  <a:pt x="504" y="1202"/>
                </a:cubicBezTo>
                <a:cubicBezTo>
                  <a:pt x="504" y="1202"/>
                  <a:pt x="504" y="1201"/>
                  <a:pt x="504" y="1201"/>
                </a:cubicBezTo>
                <a:cubicBezTo>
                  <a:pt x="505" y="1201"/>
                  <a:pt x="505" y="1202"/>
                  <a:pt x="505" y="1202"/>
                </a:cubicBezTo>
                <a:cubicBezTo>
                  <a:pt x="505" y="1203"/>
                  <a:pt x="503" y="1203"/>
                  <a:pt x="503" y="1203"/>
                </a:cubicBezTo>
                <a:cubicBezTo>
                  <a:pt x="502" y="1203"/>
                  <a:pt x="503" y="1205"/>
                  <a:pt x="503" y="1205"/>
                </a:cubicBezTo>
                <a:cubicBezTo>
                  <a:pt x="504" y="1205"/>
                  <a:pt x="504" y="1206"/>
                  <a:pt x="505" y="1207"/>
                </a:cubicBezTo>
                <a:cubicBezTo>
                  <a:pt x="506" y="1207"/>
                  <a:pt x="507" y="1207"/>
                  <a:pt x="507" y="1208"/>
                </a:cubicBezTo>
                <a:cubicBezTo>
                  <a:pt x="508" y="1209"/>
                  <a:pt x="509" y="1210"/>
                  <a:pt x="509" y="1211"/>
                </a:cubicBezTo>
                <a:cubicBezTo>
                  <a:pt x="510" y="1211"/>
                  <a:pt x="511" y="1211"/>
                  <a:pt x="512" y="1212"/>
                </a:cubicBezTo>
                <a:cubicBezTo>
                  <a:pt x="512" y="1213"/>
                  <a:pt x="512" y="1214"/>
                  <a:pt x="513" y="1214"/>
                </a:cubicBezTo>
                <a:cubicBezTo>
                  <a:pt x="513" y="1214"/>
                  <a:pt x="514" y="1214"/>
                  <a:pt x="515" y="1214"/>
                </a:cubicBezTo>
                <a:cubicBezTo>
                  <a:pt x="516" y="1215"/>
                  <a:pt x="516" y="1217"/>
                  <a:pt x="517" y="1217"/>
                </a:cubicBezTo>
                <a:cubicBezTo>
                  <a:pt x="518" y="1217"/>
                  <a:pt x="518" y="1216"/>
                  <a:pt x="519" y="1216"/>
                </a:cubicBezTo>
                <a:cubicBezTo>
                  <a:pt x="520" y="1216"/>
                  <a:pt x="519" y="1217"/>
                  <a:pt x="520" y="1218"/>
                </a:cubicBezTo>
                <a:cubicBezTo>
                  <a:pt x="520" y="1218"/>
                  <a:pt x="521" y="1219"/>
                  <a:pt x="521" y="1219"/>
                </a:cubicBezTo>
                <a:cubicBezTo>
                  <a:pt x="521" y="1220"/>
                  <a:pt x="521" y="1222"/>
                  <a:pt x="520" y="1223"/>
                </a:cubicBezTo>
                <a:cubicBezTo>
                  <a:pt x="520" y="1223"/>
                  <a:pt x="519" y="1223"/>
                  <a:pt x="518" y="1223"/>
                </a:cubicBezTo>
                <a:cubicBezTo>
                  <a:pt x="518" y="1224"/>
                  <a:pt x="518" y="1225"/>
                  <a:pt x="518" y="1225"/>
                </a:cubicBezTo>
                <a:cubicBezTo>
                  <a:pt x="518" y="1226"/>
                  <a:pt x="517" y="1227"/>
                  <a:pt x="518" y="1228"/>
                </a:cubicBezTo>
                <a:cubicBezTo>
                  <a:pt x="518" y="1229"/>
                  <a:pt x="519" y="1228"/>
                  <a:pt x="519" y="1229"/>
                </a:cubicBezTo>
                <a:cubicBezTo>
                  <a:pt x="520" y="1229"/>
                  <a:pt x="520" y="1230"/>
                  <a:pt x="520" y="1230"/>
                </a:cubicBezTo>
                <a:cubicBezTo>
                  <a:pt x="520" y="1232"/>
                  <a:pt x="519" y="1234"/>
                  <a:pt x="519" y="1235"/>
                </a:cubicBezTo>
                <a:cubicBezTo>
                  <a:pt x="518" y="1237"/>
                  <a:pt x="519" y="1238"/>
                  <a:pt x="518" y="1240"/>
                </a:cubicBezTo>
                <a:cubicBezTo>
                  <a:pt x="517" y="1240"/>
                  <a:pt x="517" y="1240"/>
                  <a:pt x="517" y="1241"/>
                </a:cubicBezTo>
                <a:cubicBezTo>
                  <a:pt x="517" y="1241"/>
                  <a:pt x="517" y="1242"/>
                  <a:pt x="517" y="1243"/>
                </a:cubicBezTo>
                <a:cubicBezTo>
                  <a:pt x="516" y="1243"/>
                  <a:pt x="516" y="1243"/>
                  <a:pt x="516" y="1244"/>
                </a:cubicBezTo>
                <a:cubicBezTo>
                  <a:pt x="515" y="1245"/>
                  <a:pt x="516" y="1245"/>
                  <a:pt x="516" y="1246"/>
                </a:cubicBezTo>
                <a:cubicBezTo>
                  <a:pt x="517" y="1247"/>
                  <a:pt x="516" y="1247"/>
                  <a:pt x="517" y="1248"/>
                </a:cubicBezTo>
                <a:cubicBezTo>
                  <a:pt x="517" y="1249"/>
                  <a:pt x="517" y="1249"/>
                  <a:pt x="518" y="1250"/>
                </a:cubicBezTo>
                <a:cubicBezTo>
                  <a:pt x="518" y="1250"/>
                  <a:pt x="518" y="1251"/>
                  <a:pt x="517" y="1251"/>
                </a:cubicBezTo>
                <a:cubicBezTo>
                  <a:pt x="516" y="1251"/>
                  <a:pt x="517" y="1250"/>
                  <a:pt x="516" y="1250"/>
                </a:cubicBezTo>
                <a:cubicBezTo>
                  <a:pt x="516" y="1249"/>
                  <a:pt x="516" y="1251"/>
                  <a:pt x="516" y="1251"/>
                </a:cubicBezTo>
                <a:cubicBezTo>
                  <a:pt x="516" y="1252"/>
                  <a:pt x="517" y="1253"/>
                  <a:pt x="517" y="1253"/>
                </a:cubicBezTo>
                <a:cubicBezTo>
                  <a:pt x="518" y="1254"/>
                  <a:pt x="519" y="1254"/>
                  <a:pt x="519" y="1254"/>
                </a:cubicBezTo>
                <a:cubicBezTo>
                  <a:pt x="520" y="1254"/>
                  <a:pt x="520" y="1255"/>
                  <a:pt x="521" y="1255"/>
                </a:cubicBezTo>
                <a:cubicBezTo>
                  <a:pt x="522" y="1256"/>
                  <a:pt x="522" y="1256"/>
                  <a:pt x="523" y="1257"/>
                </a:cubicBezTo>
                <a:cubicBezTo>
                  <a:pt x="523" y="1257"/>
                  <a:pt x="524" y="1257"/>
                  <a:pt x="524" y="1257"/>
                </a:cubicBezTo>
                <a:cubicBezTo>
                  <a:pt x="525" y="1258"/>
                  <a:pt x="525" y="1258"/>
                  <a:pt x="526" y="1259"/>
                </a:cubicBezTo>
                <a:cubicBezTo>
                  <a:pt x="527" y="1259"/>
                  <a:pt x="527" y="1259"/>
                  <a:pt x="527" y="1260"/>
                </a:cubicBezTo>
                <a:cubicBezTo>
                  <a:pt x="527" y="1261"/>
                  <a:pt x="527" y="1262"/>
                  <a:pt x="528" y="1262"/>
                </a:cubicBezTo>
                <a:cubicBezTo>
                  <a:pt x="528" y="1263"/>
                  <a:pt x="528" y="1263"/>
                  <a:pt x="528" y="1264"/>
                </a:cubicBezTo>
                <a:cubicBezTo>
                  <a:pt x="528" y="1264"/>
                  <a:pt x="529" y="1265"/>
                  <a:pt x="529" y="1265"/>
                </a:cubicBezTo>
                <a:cubicBezTo>
                  <a:pt x="530" y="1266"/>
                  <a:pt x="529" y="1266"/>
                  <a:pt x="530" y="1267"/>
                </a:cubicBezTo>
                <a:cubicBezTo>
                  <a:pt x="530" y="1267"/>
                  <a:pt x="531" y="1268"/>
                  <a:pt x="531" y="1268"/>
                </a:cubicBezTo>
                <a:cubicBezTo>
                  <a:pt x="531" y="1269"/>
                  <a:pt x="531" y="1269"/>
                  <a:pt x="531" y="1270"/>
                </a:cubicBezTo>
                <a:cubicBezTo>
                  <a:pt x="532" y="1270"/>
                  <a:pt x="532" y="1271"/>
                  <a:pt x="533" y="1271"/>
                </a:cubicBezTo>
                <a:cubicBezTo>
                  <a:pt x="533" y="1272"/>
                  <a:pt x="533" y="1273"/>
                  <a:pt x="534" y="1274"/>
                </a:cubicBezTo>
                <a:cubicBezTo>
                  <a:pt x="535" y="1275"/>
                  <a:pt x="535" y="1274"/>
                  <a:pt x="535" y="1275"/>
                </a:cubicBezTo>
                <a:cubicBezTo>
                  <a:pt x="536" y="1277"/>
                  <a:pt x="537" y="1276"/>
                  <a:pt x="538" y="1277"/>
                </a:cubicBezTo>
                <a:cubicBezTo>
                  <a:pt x="539" y="1278"/>
                  <a:pt x="539" y="1278"/>
                  <a:pt x="539" y="1279"/>
                </a:cubicBezTo>
                <a:cubicBezTo>
                  <a:pt x="540" y="1279"/>
                  <a:pt x="540" y="1279"/>
                  <a:pt x="541" y="1279"/>
                </a:cubicBezTo>
                <a:cubicBezTo>
                  <a:pt x="542" y="1280"/>
                  <a:pt x="542" y="1281"/>
                  <a:pt x="542" y="1281"/>
                </a:cubicBezTo>
                <a:cubicBezTo>
                  <a:pt x="543" y="1282"/>
                  <a:pt x="543" y="1282"/>
                  <a:pt x="543" y="1282"/>
                </a:cubicBezTo>
                <a:cubicBezTo>
                  <a:pt x="544" y="1283"/>
                  <a:pt x="544" y="1283"/>
                  <a:pt x="545" y="1283"/>
                </a:cubicBezTo>
                <a:cubicBezTo>
                  <a:pt x="545" y="1282"/>
                  <a:pt x="545" y="1282"/>
                  <a:pt x="545" y="1281"/>
                </a:cubicBezTo>
                <a:cubicBezTo>
                  <a:pt x="545" y="1281"/>
                  <a:pt x="546" y="1280"/>
                  <a:pt x="546" y="1280"/>
                </a:cubicBezTo>
                <a:cubicBezTo>
                  <a:pt x="547" y="1280"/>
                  <a:pt x="547" y="1281"/>
                  <a:pt x="547" y="1281"/>
                </a:cubicBezTo>
                <a:cubicBezTo>
                  <a:pt x="549" y="1282"/>
                  <a:pt x="550" y="1280"/>
                  <a:pt x="551" y="1282"/>
                </a:cubicBezTo>
                <a:cubicBezTo>
                  <a:pt x="551" y="1282"/>
                  <a:pt x="551" y="1283"/>
                  <a:pt x="551" y="1284"/>
                </a:cubicBezTo>
                <a:cubicBezTo>
                  <a:pt x="551" y="1284"/>
                  <a:pt x="551" y="1285"/>
                  <a:pt x="551" y="1285"/>
                </a:cubicBezTo>
                <a:cubicBezTo>
                  <a:pt x="550" y="1286"/>
                  <a:pt x="550" y="1285"/>
                  <a:pt x="550" y="1284"/>
                </a:cubicBezTo>
                <a:cubicBezTo>
                  <a:pt x="549" y="1284"/>
                  <a:pt x="548" y="1284"/>
                  <a:pt x="548" y="1284"/>
                </a:cubicBezTo>
                <a:cubicBezTo>
                  <a:pt x="547" y="1284"/>
                  <a:pt x="547" y="1284"/>
                  <a:pt x="546" y="1284"/>
                </a:cubicBezTo>
                <a:cubicBezTo>
                  <a:pt x="546" y="1284"/>
                  <a:pt x="545" y="1284"/>
                  <a:pt x="544" y="1285"/>
                </a:cubicBezTo>
                <a:cubicBezTo>
                  <a:pt x="544" y="1285"/>
                  <a:pt x="545" y="1286"/>
                  <a:pt x="544" y="1286"/>
                </a:cubicBezTo>
                <a:cubicBezTo>
                  <a:pt x="544" y="1287"/>
                  <a:pt x="543" y="1286"/>
                  <a:pt x="542" y="1287"/>
                </a:cubicBezTo>
                <a:cubicBezTo>
                  <a:pt x="542" y="1287"/>
                  <a:pt x="541" y="1288"/>
                  <a:pt x="541" y="1288"/>
                </a:cubicBezTo>
                <a:cubicBezTo>
                  <a:pt x="541" y="1289"/>
                  <a:pt x="541" y="1289"/>
                  <a:pt x="541" y="1290"/>
                </a:cubicBezTo>
                <a:cubicBezTo>
                  <a:pt x="541" y="1290"/>
                  <a:pt x="541" y="1291"/>
                  <a:pt x="541" y="1291"/>
                </a:cubicBezTo>
                <a:cubicBezTo>
                  <a:pt x="541" y="1291"/>
                  <a:pt x="540" y="1292"/>
                  <a:pt x="540" y="1292"/>
                </a:cubicBezTo>
                <a:cubicBezTo>
                  <a:pt x="540" y="1293"/>
                  <a:pt x="540" y="1293"/>
                  <a:pt x="541" y="1293"/>
                </a:cubicBezTo>
                <a:cubicBezTo>
                  <a:pt x="542" y="1292"/>
                  <a:pt x="542" y="1292"/>
                  <a:pt x="543" y="1291"/>
                </a:cubicBezTo>
                <a:cubicBezTo>
                  <a:pt x="543" y="1291"/>
                  <a:pt x="544" y="1291"/>
                  <a:pt x="544" y="1290"/>
                </a:cubicBezTo>
                <a:cubicBezTo>
                  <a:pt x="544" y="1290"/>
                  <a:pt x="543" y="1289"/>
                  <a:pt x="543" y="1289"/>
                </a:cubicBezTo>
                <a:cubicBezTo>
                  <a:pt x="543" y="1288"/>
                  <a:pt x="543" y="1287"/>
                  <a:pt x="544" y="1288"/>
                </a:cubicBezTo>
                <a:cubicBezTo>
                  <a:pt x="545" y="1288"/>
                  <a:pt x="545" y="1289"/>
                  <a:pt x="545" y="1289"/>
                </a:cubicBezTo>
                <a:cubicBezTo>
                  <a:pt x="546" y="1290"/>
                  <a:pt x="546" y="1290"/>
                  <a:pt x="547" y="1290"/>
                </a:cubicBezTo>
                <a:cubicBezTo>
                  <a:pt x="547" y="1291"/>
                  <a:pt x="548" y="1291"/>
                  <a:pt x="548" y="1292"/>
                </a:cubicBezTo>
                <a:cubicBezTo>
                  <a:pt x="548" y="1293"/>
                  <a:pt x="549" y="1293"/>
                  <a:pt x="549" y="1293"/>
                </a:cubicBezTo>
                <a:cubicBezTo>
                  <a:pt x="550" y="1294"/>
                  <a:pt x="550" y="1295"/>
                  <a:pt x="550" y="1295"/>
                </a:cubicBezTo>
                <a:cubicBezTo>
                  <a:pt x="550" y="1296"/>
                  <a:pt x="551" y="1298"/>
                  <a:pt x="551" y="1298"/>
                </a:cubicBezTo>
                <a:cubicBezTo>
                  <a:pt x="552" y="1298"/>
                  <a:pt x="552" y="1298"/>
                  <a:pt x="553" y="1297"/>
                </a:cubicBezTo>
                <a:cubicBezTo>
                  <a:pt x="554" y="1297"/>
                  <a:pt x="553" y="1297"/>
                  <a:pt x="554" y="1297"/>
                </a:cubicBezTo>
                <a:cubicBezTo>
                  <a:pt x="555" y="1297"/>
                  <a:pt x="555" y="1297"/>
                  <a:pt x="556" y="1296"/>
                </a:cubicBezTo>
                <a:cubicBezTo>
                  <a:pt x="556" y="1296"/>
                  <a:pt x="556" y="1295"/>
                  <a:pt x="557" y="1295"/>
                </a:cubicBezTo>
                <a:cubicBezTo>
                  <a:pt x="558" y="1296"/>
                  <a:pt x="557" y="1297"/>
                  <a:pt x="558" y="1297"/>
                </a:cubicBezTo>
                <a:cubicBezTo>
                  <a:pt x="558" y="1298"/>
                  <a:pt x="559" y="1298"/>
                  <a:pt x="559" y="1299"/>
                </a:cubicBezTo>
                <a:cubicBezTo>
                  <a:pt x="560" y="1299"/>
                  <a:pt x="560" y="1299"/>
                  <a:pt x="560" y="1299"/>
                </a:cubicBezTo>
                <a:cubicBezTo>
                  <a:pt x="562" y="1298"/>
                  <a:pt x="564" y="1299"/>
                  <a:pt x="565" y="1298"/>
                </a:cubicBezTo>
                <a:cubicBezTo>
                  <a:pt x="567" y="1297"/>
                  <a:pt x="567" y="1297"/>
                  <a:pt x="569" y="1298"/>
                </a:cubicBezTo>
                <a:cubicBezTo>
                  <a:pt x="570" y="1298"/>
                  <a:pt x="572" y="1297"/>
                  <a:pt x="573" y="1297"/>
                </a:cubicBezTo>
                <a:cubicBezTo>
                  <a:pt x="574" y="1297"/>
                  <a:pt x="575" y="1297"/>
                  <a:pt x="577" y="1297"/>
                </a:cubicBezTo>
                <a:cubicBezTo>
                  <a:pt x="578" y="1297"/>
                  <a:pt x="579" y="1297"/>
                  <a:pt x="580" y="1297"/>
                </a:cubicBezTo>
                <a:cubicBezTo>
                  <a:pt x="580" y="1297"/>
                  <a:pt x="580" y="1298"/>
                  <a:pt x="581" y="1298"/>
                </a:cubicBezTo>
                <a:cubicBezTo>
                  <a:pt x="581" y="1298"/>
                  <a:pt x="582" y="1298"/>
                  <a:pt x="582" y="1298"/>
                </a:cubicBezTo>
                <a:cubicBezTo>
                  <a:pt x="582" y="1298"/>
                  <a:pt x="583" y="1298"/>
                  <a:pt x="583" y="1298"/>
                </a:cubicBezTo>
                <a:cubicBezTo>
                  <a:pt x="584" y="1298"/>
                  <a:pt x="584" y="1298"/>
                  <a:pt x="584" y="1299"/>
                </a:cubicBezTo>
                <a:cubicBezTo>
                  <a:pt x="585" y="1299"/>
                  <a:pt x="585" y="1299"/>
                  <a:pt x="586" y="1299"/>
                </a:cubicBezTo>
                <a:cubicBezTo>
                  <a:pt x="586" y="1300"/>
                  <a:pt x="586" y="1300"/>
                  <a:pt x="587" y="1300"/>
                </a:cubicBezTo>
                <a:cubicBezTo>
                  <a:pt x="587" y="1301"/>
                  <a:pt x="588" y="1300"/>
                  <a:pt x="589" y="1301"/>
                </a:cubicBezTo>
                <a:cubicBezTo>
                  <a:pt x="590" y="1301"/>
                  <a:pt x="590" y="1301"/>
                  <a:pt x="591" y="1302"/>
                </a:cubicBezTo>
                <a:cubicBezTo>
                  <a:pt x="591" y="1302"/>
                  <a:pt x="592" y="1302"/>
                  <a:pt x="592" y="1303"/>
                </a:cubicBezTo>
                <a:cubicBezTo>
                  <a:pt x="592" y="1303"/>
                  <a:pt x="591" y="1303"/>
                  <a:pt x="591" y="1304"/>
                </a:cubicBezTo>
                <a:cubicBezTo>
                  <a:pt x="590" y="1304"/>
                  <a:pt x="590" y="1305"/>
                  <a:pt x="589" y="1305"/>
                </a:cubicBezTo>
                <a:cubicBezTo>
                  <a:pt x="588" y="1306"/>
                  <a:pt x="588" y="1307"/>
                  <a:pt x="586" y="1307"/>
                </a:cubicBezTo>
                <a:cubicBezTo>
                  <a:pt x="585" y="1307"/>
                  <a:pt x="584" y="1306"/>
                  <a:pt x="583" y="1305"/>
                </a:cubicBezTo>
                <a:cubicBezTo>
                  <a:pt x="583" y="1305"/>
                  <a:pt x="582" y="1305"/>
                  <a:pt x="582" y="1305"/>
                </a:cubicBezTo>
                <a:cubicBezTo>
                  <a:pt x="581" y="1304"/>
                  <a:pt x="581" y="1304"/>
                  <a:pt x="580" y="1303"/>
                </a:cubicBezTo>
                <a:cubicBezTo>
                  <a:pt x="579" y="1303"/>
                  <a:pt x="578" y="1303"/>
                  <a:pt x="577" y="1302"/>
                </a:cubicBezTo>
                <a:cubicBezTo>
                  <a:pt x="577" y="1302"/>
                  <a:pt x="577" y="1302"/>
                  <a:pt x="576" y="1301"/>
                </a:cubicBezTo>
                <a:cubicBezTo>
                  <a:pt x="575" y="1301"/>
                  <a:pt x="575" y="1301"/>
                  <a:pt x="574" y="1301"/>
                </a:cubicBezTo>
                <a:cubicBezTo>
                  <a:pt x="573" y="1301"/>
                  <a:pt x="572" y="1300"/>
                  <a:pt x="572" y="1299"/>
                </a:cubicBezTo>
                <a:cubicBezTo>
                  <a:pt x="571" y="1299"/>
                  <a:pt x="570" y="1299"/>
                  <a:pt x="570" y="1299"/>
                </a:cubicBezTo>
                <a:cubicBezTo>
                  <a:pt x="568" y="1299"/>
                  <a:pt x="567" y="1298"/>
                  <a:pt x="566" y="1298"/>
                </a:cubicBezTo>
                <a:cubicBezTo>
                  <a:pt x="565" y="1299"/>
                  <a:pt x="564" y="1299"/>
                  <a:pt x="563" y="1299"/>
                </a:cubicBezTo>
                <a:cubicBezTo>
                  <a:pt x="563" y="1300"/>
                  <a:pt x="562" y="1299"/>
                  <a:pt x="561" y="1299"/>
                </a:cubicBezTo>
                <a:cubicBezTo>
                  <a:pt x="560" y="1299"/>
                  <a:pt x="560" y="1301"/>
                  <a:pt x="559" y="1302"/>
                </a:cubicBezTo>
                <a:cubicBezTo>
                  <a:pt x="558" y="1302"/>
                  <a:pt x="557" y="1302"/>
                  <a:pt x="557" y="1302"/>
                </a:cubicBezTo>
                <a:cubicBezTo>
                  <a:pt x="556" y="1303"/>
                  <a:pt x="556" y="1303"/>
                  <a:pt x="555" y="1304"/>
                </a:cubicBezTo>
                <a:cubicBezTo>
                  <a:pt x="555" y="1305"/>
                  <a:pt x="554" y="1306"/>
                  <a:pt x="553" y="1307"/>
                </a:cubicBezTo>
                <a:cubicBezTo>
                  <a:pt x="552" y="1307"/>
                  <a:pt x="550" y="1308"/>
                  <a:pt x="551" y="1309"/>
                </a:cubicBezTo>
                <a:cubicBezTo>
                  <a:pt x="552" y="1310"/>
                  <a:pt x="553" y="1310"/>
                  <a:pt x="553" y="1310"/>
                </a:cubicBezTo>
                <a:cubicBezTo>
                  <a:pt x="553" y="1311"/>
                  <a:pt x="553" y="1312"/>
                  <a:pt x="554" y="1312"/>
                </a:cubicBezTo>
                <a:cubicBezTo>
                  <a:pt x="555" y="1313"/>
                  <a:pt x="557" y="1313"/>
                  <a:pt x="557" y="1315"/>
                </a:cubicBezTo>
                <a:cubicBezTo>
                  <a:pt x="558" y="1315"/>
                  <a:pt x="558" y="1316"/>
                  <a:pt x="558" y="1316"/>
                </a:cubicBezTo>
                <a:cubicBezTo>
                  <a:pt x="559" y="1317"/>
                  <a:pt x="560" y="1317"/>
                  <a:pt x="560" y="1317"/>
                </a:cubicBezTo>
                <a:cubicBezTo>
                  <a:pt x="561" y="1318"/>
                  <a:pt x="562" y="1319"/>
                  <a:pt x="562" y="1321"/>
                </a:cubicBezTo>
                <a:cubicBezTo>
                  <a:pt x="562" y="1323"/>
                  <a:pt x="559" y="1325"/>
                  <a:pt x="561" y="1328"/>
                </a:cubicBezTo>
                <a:cubicBezTo>
                  <a:pt x="561" y="1329"/>
                  <a:pt x="562" y="1329"/>
                  <a:pt x="563" y="1330"/>
                </a:cubicBezTo>
                <a:cubicBezTo>
                  <a:pt x="563" y="1330"/>
                  <a:pt x="562" y="1333"/>
                  <a:pt x="563" y="1333"/>
                </a:cubicBezTo>
                <a:cubicBezTo>
                  <a:pt x="564" y="1333"/>
                  <a:pt x="564" y="1333"/>
                  <a:pt x="565" y="1332"/>
                </a:cubicBezTo>
                <a:cubicBezTo>
                  <a:pt x="566" y="1331"/>
                  <a:pt x="567" y="1332"/>
                  <a:pt x="568" y="1330"/>
                </a:cubicBezTo>
                <a:cubicBezTo>
                  <a:pt x="568" y="1329"/>
                  <a:pt x="568" y="1328"/>
                  <a:pt x="570" y="1328"/>
                </a:cubicBezTo>
                <a:cubicBezTo>
                  <a:pt x="572" y="1328"/>
                  <a:pt x="572" y="1330"/>
                  <a:pt x="573" y="1331"/>
                </a:cubicBezTo>
                <a:cubicBezTo>
                  <a:pt x="574" y="1332"/>
                  <a:pt x="575" y="1332"/>
                  <a:pt x="575" y="1334"/>
                </a:cubicBezTo>
                <a:cubicBezTo>
                  <a:pt x="576" y="1335"/>
                  <a:pt x="576" y="1336"/>
                  <a:pt x="576" y="1338"/>
                </a:cubicBezTo>
                <a:cubicBezTo>
                  <a:pt x="577" y="1339"/>
                  <a:pt x="578" y="1340"/>
                  <a:pt x="578" y="1341"/>
                </a:cubicBezTo>
                <a:cubicBezTo>
                  <a:pt x="578" y="1341"/>
                  <a:pt x="578" y="1343"/>
                  <a:pt x="579" y="1343"/>
                </a:cubicBezTo>
                <a:cubicBezTo>
                  <a:pt x="579" y="1343"/>
                  <a:pt x="579" y="1341"/>
                  <a:pt x="579" y="1341"/>
                </a:cubicBezTo>
                <a:cubicBezTo>
                  <a:pt x="579" y="1340"/>
                  <a:pt x="578" y="1338"/>
                  <a:pt x="578" y="1337"/>
                </a:cubicBezTo>
                <a:cubicBezTo>
                  <a:pt x="579" y="1337"/>
                  <a:pt x="580" y="1337"/>
                  <a:pt x="580" y="1336"/>
                </a:cubicBezTo>
                <a:cubicBezTo>
                  <a:pt x="580" y="1335"/>
                  <a:pt x="580" y="1335"/>
                  <a:pt x="580" y="1334"/>
                </a:cubicBezTo>
                <a:cubicBezTo>
                  <a:pt x="581" y="1332"/>
                  <a:pt x="582" y="1334"/>
                  <a:pt x="583" y="1334"/>
                </a:cubicBezTo>
                <a:cubicBezTo>
                  <a:pt x="584" y="1335"/>
                  <a:pt x="585" y="1334"/>
                  <a:pt x="587" y="1336"/>
                </a:cubicBezTo>
                <a:cubicBezTo>
                  <a:pt x="587" y="1336"/>
                  <a:pt x="587" y="1337"/>
                  <a:pt x="588" y="1337"/>
                </a:cubicBezTo>
                <a:cubicBezTo>
                  <a:pt x="588" y="1337"/>
                  <a:pt x="589" y="1337"/>
                  <a:pt x="589" y="1338"/>
                </a:cubicBezTo>
                <a:cubicBezTo>
                  <a:pt x="590" y="1338"/>
                  <a:pt x="591" y="1340"/>
                  <a:pt x="591" y="1341"/>
                </a:cubicBezTo>
                <a:cubicBezTo>
                  <a:pt x="592" y="1341"/>
                  <a:pt x="592" y="1342"/>
                  <a:pt x="593" y="1341"/>
                </a:cubicBezTo>
                <a:cubicBezTo>
                  <a:pt x="593" y="1341"/>
                  <a:pt x="592" y="1340"/>
                  <a:pt x="592" y="1339"/>
                </a:cubicBezTo>
                <a:cubicBezTo>
                  <a:pt x="592" y="1338"/>
                  <a:pt x="591" y="1337"/>
                  <a:pt x="590" y="1336"/>
                </a:cubicBezTo>
                <a:cubicBezTo>
                  <a:pt x="590" y="1334"/>
                  <a:pt x="590" y="1333"/>
                  <a:pt x="590" y="1332"/>
                </a:cubicBezTo>
                <a:cubicBezTo>
                  <a:pt x="589" y="1330"/>
                  <a:pt x="588" y="1330"/>
                  <a:pt x="588" y="1328"/>
                </a:cubicBezTo>
                <a:cubicBezTo>
                  <a:pt x="588" y="1327"/>
                  <a:pt x="588" y="1325"/>
                  <a:pt x="587" y="1324"/>
                </a:cubicBezTo>
                <a:cubicBezTo>
                  <a:pt x="586" y="1324"/>
                  <a:pt x="586" y="1323"/>
                  <a:pt x="586" y="1323"/>
                </a:cubicBezTo>
                <a:cubicBezTo>
                  <a:pt x="585" y="1322"/>
                  <a:pt x="586" y="1321"/>
                  <a:pt x="586" y="1320"/>
                </a:cubicBezTo>
                <a:cubicBezTo>
                  <a:pt x="585" y="1320"/>
                  <a:pt x="584" y="1318"/>
                  <a:pt x="585" y="1317"/>
                </a:cubicBezTo>
                <a:cubicBezTo>
                  <a:pt x="586" y="1317"/>
                  <a:pt x="586" y="1318"/>
                  <a:pt x="587" y="1319"/>
                </a:cubicBezTo>
                <a:cubicBezTo>
                  <a:pt x="587" y="1319"/>
                  <a:pt x="587" y="1320"/>
                  <a:pt x="588" y="1320"/>
                </a:cubicBezTo>
                <a:cubicBezTo>
                  <a:pt x="589" y="1320"/>
                  <a:pt x="591" y="1320"/>
                  <a:pt x="592" y="1322"/>
                </a:cubicBezTo>
                <a:cubicBezTo>
                  <a:pt x="592" y="1322"/>
                  <a:pt x="592" y="1323"/>
                  <a:pt x="593" y="1322"/>
                </a:cubicBezTo>
                <a:cubicBezTo>
                  <a:pt x="594" y="1322"/>
                  <a:pt x="594" y="1321"/>
                  <a:pt x="594" y="1320"/>
                </a:cubicBezTo>
                <a:cubicBezTo>
                  <a:pt x="595" y="1319"/>
                  <a:pt x="599" y="1319"/>
                  <a:pt x="598" y="1317"/>
                </a:cubicBezTo>
                <a:cubicBezTo>
                  <a:pt x="598" y="1316"/>
                  <a:pt x="597" y="1316"/>
                  <a:pt x="597" y="1316"/>
                </a:cubicBezTo>
                <a:cubicBezTo>
                  <a:pt x="597" y="1315"/>
                  <a:pt x="597" y="1314"/>
                  <a:pt x="597" y="1314"/>
                </a:cubicBezTo>
                <a:cubicBezTo>
                  <a:pt x="596" y="1313"/>
                  <a:pt x="595" y="1315"/>
                  <a:pt x="594" y="1315"/>
                </a:cubicBezTo>
                <a:cubicBezTo>
                  <a:pt x="592" y="1315"/>
                  <a:pt x="593" y="1314"/>
                  <a:pt x="592" y="1313"/>
                </a:cubicBezTo>
                <a:cubicBezTo>
                  <a:pt x="592" y="1312"/>
                  <a:pt x="592" y="1312"/>
                  <a:pt x="591" y="1312"/>
                </a:cubicBezTo>
                <a:cubicBezTo>
                  <a:pt x="591" y="1311"/>
                  <a:pt x="591" y="1310"/>
                  <a:pt x="590" y="1310"/>
                </a:cubicBezTo>
                <a:cubicBezTo>
                  <a:pt x="590" y="1309"/>
                  <a:pt x="588" y="1308"/>
                  <a:pt x="590" y="1307"/>
                </a:cubicBezTo>
                <a:cubicBezTo>
                  <a:pt x="591" y="1307"/>
                  <a:pt x="591" y="1307"/>
                  <a:pt x="592" y="1307"/>
                </a:cubicBezTo>
                <a:cubicBezTo>
                  <a:pt x="592" y="1306"/>
                  <a:pt x="593" y="1306"/>
                  <a:pt x="594" y="1307"/>
                </a:cubicBezTo>
                <a:cubicBezTo>
                  <a:pt x="594" y="1307"/>
                  <a:pt x="595" y="1307"/>
                  <a:pt x="596" y="1307"/>
                </a:cubicBezTo>
                <a:cubicBezTo>
                  <a:pt x="596" y="1307"/>
                  <a:pt x="597" y="1307"/>
                  <a:pt x="597" y="1307"/>
                </a:cubicBezTo>
                <a:cubicBezTo>
                  <a:pt x="597" y="1307"/>
                  <a:pt x="597" y="1307"/>
                  <a:pt x="597" y="1307"/>
                </a:cubicBezTo>
                <a:cubicBezTo>
                  <a:pt x="599" y="1308"/>
                  <a:pt x="598" y="1305"/>
                  <a:pt x="599" y="1305"/>
                </a:cubicBezTo>
                <a:cubicBezTo>
                  <a:pt x="601" y="1304"/>
                  <a:pt x="600" y="1307"/>
                  <a:pt x="601" y="1308"/>
                </a:cubicBezTo>
                <a:cubicBezTo>
                  <a:pt x="601" y="1308"/>
                  <a:pt x="602" y="1307"/>
                  <a:pt x="603" y="1308"/>
                </a:cubicBezTo>
                <a:cubicBezTo>
                  <a:pt x="603" y="1308"/>
                  <a:pt x="603" y="1309"/>
                  <a:pt x="603" y="1309"/>
                </a:cubicBezTo>
                <a:cubicBezTo>
                  <a:pt x="604" y="1311"/>
                  <a:pt x="605" y="1310"/>
                  <a:pt x="606" y="1311"/>
                </a:cubicBezTo>
                <a:cubicBezTo>
                  <a:pt x="607" y="1312"/>
                  <a:pt x="606" y="1313"/>
                  <a:pt x="607" y="1313"/>
                </a:cubicBezTo>
                <a:cubicBezTo>
                  <a:pt x="607" y="1314"/>
                  <a:pt x="608" y="1313"/>
                  <a:pt x="609" y="1313"/>
                </a:cubicBezTo>
                <a:cubicBezTo>
                  <a:pt x="609" y="1312"/>
                  <a:pt x="609" y="1313"/>
                  <a:pt x="610" y="1312"/>
                </a:cubicBezTo>
                <a:cubicBezTo>
                  <a:pt x="611" y="1312"/>
                  <a:pt x="611" y="1311"/>
                  <a:pt x="611" y="1311"/>
                </a:cubicBezTo>
                <a:cubicBezTo>
                  <a:pt x="611" y="1310"/>
                  <a:pt x="610" y="1309"/>
                  <a:pt x="610" y="1309"/>
                </a:cubicBezTo>
                <a:cubicBezTo>
                  <a:pt x="609" y="1308"/>
                  <a:pt x="609" y="1308"/>
                  <a:pt x="609" y="1307"/>
                </a:cubicBezTo>
                <a:cubicBezTo>
                  <a:pt x="609" y="1306"/>
                  <a:pt x="608" y="1305"/>
                  <a:pt x="609" y="1303"/>
                </a:cubicBezTo>
                <a:cubicBezTo>
                  <a:pt x="609" y="1303"/>
                  <a:pt x="610" y="1303"/>
                  <a:pt x="610" y="1302"/>
                </a:cubicBezTo>
                <a:cubicBezTo>
                  <a:pt x="609" y="1301"/>
                  <a:pt x="609" y="1301"/>
                  <a:pt x="608" y="1301"/>
                </a:cubicBezTo>
                <a:cubicBezTo>
                  <a:pt x="607" y="1300"/>
                  <a:pt x="606" y="1299"/>
                  <a:pt x="605" y="1298"/>
                </a:cubicBezTo>
                <a:cubicBezTo>
                  <a:pt x="605" y="1298"/>
                  <a:pt x="602" y="1297"/>
                  <a:pt x="602" y="1296"/>
                </a:cubicBezTo>
                <a:cubicBezTo>
                  <a:pt x="603" y="1295"/>
                  <a:pt x="605" y="1297"/>
                  <a:pt x="606" y="1297"/>
                </a:cubicBezTo>
                <a:cubicBezTo>
                  <a:pt x="607" y="1297"/>
                  <a:pt x="607" y="1296"/>
                  <a:pt x="608" y="1297"/>
                </a:cubicBezTo>
                <a:cubicBezTo>
                  <a:pt x="609" y="1297"/>
                  <a:pt x="609" y="1298"/>
                  <a:pt x="609" y="1298"/>
                </a:cubicBezTo>
                <a:cubicBezTo>
                  <a:pt x="610" y="1299"/>
                  <a:pt x="611" y="1300"/>
                  <a:pt x="611" y="1301"/>
                </a:cubicBezTo>
                <a:cubicBezTo>
                  <a:pt x="611" y="1301"/>
                  <a:pt x="611" y="1302"/>
                  <a:pt x="611" y="1303"/>
                </a:cubicBezTo>
                <a:cubicBezTo>
                  <a:pt x="612" y="1303"/>
                  <a:pt x="612" y="1303"/>
                  <a:pt x="613" y="1304"/>
                </a:cubicBezTo>
                <a:cubicBezTo>
                  <a:pt x="613" y="1304"/>
                  <a:pt x="614" y="1304"/>
                  <a:pt x="614" y="1304"/>
                </a:cubicBezTo>
                <a:cubicBezTo>
                  <a:pt x="615" y="1305"/>
                  <a:pt x="615" y="1305"/>
                  <a:pt x="615" y="1306"/>
                </a:cubicBezTo>
                <a:cubicBezTo>
                  <a:pt x="616" y="1306"/>
                  <a:pt x="619" y="1307"/>
                  <a:pt x="619" y="1306"/>
                </a:cubicBezTo>
                <a:cubicBezTo>
                  <a:pt x="620" y="1305"/>
                  <a:pt x="620" y="1303"/>
                  <a:pt x="619" y="1302"/>
                </a:cubicBezTo>
                <a:cubicBezTo>
                  <a:pt x="619" y="1302"/>
                  <a:pt x="618" y="1302"/>
                  <a:pt x="617" y="1302"/>
                </a:cubicBezTo>
                <a:cubicBezTo>
                  <a:pt x="616" y="1302"/>
                  <a:pt x="616" y="1302"/>
                  <a:pt x="615" y="1302"/>
                </a:cubicBezTo>
                <a:cubicBezTo>
                  <a:pt x="614" y="1301"/>
                  <a:pt x="614" y="1299"/>
                  <a:pt x="613" y="1298"/>
                </a:cubicBezTo>
                <a:cubicBezTo>
                  <a:pt x="612" y="1297"/>
                  <a:pt x="612" y="1296"/>
                  <a:pt x="612" y="1295"/>
                </a:cubicBezTo>
                <a:cubicBezTo>
                  <a:pt x="612" y="1294"/>
                  <a:pt x="612" y="1294"/>
                  <a:pt x="612" y="1293"/>
                </a:cubicBezTo>
                <a:cubicBezTo>
                  <a:pt x="612" y="1293"/>
                  <a:pt x="611" y="1293"/>
                  <a:pt x="611" y="1293"/>
                </a:cubicBezTo>
                <a:cubicBezTo>
                  <a:pt x="610" y="1292"/>
                  <a:pt x="610" y="1291"/>
                  <a:pt x="610" y="1291"/>
                </a:cubicBezTo>
                <a:cubicBezTo>
                  <a:pt x="609" y="1289"/>
                  <a:pt x="607" y="1290"/>
                  <a:pt x="606" y="1290"/>
                </a:cubicBezTo>
                <a:cubicBezTo>
                  <a:pt x="605" y="1290"/>
                  <a:pt x="605" y="1290"/>
                  <a:pt x="604" y="1289"/>
                </a:cubicBezTo>
                <a:cubicBezTo>
                  <a:pt x="604" y="1288"/>
                  <a:pt x="603" y="1288"/>
                  <a:pt x="602" y="1288"/>
                </a:cubicBezTo>
                <a:cubicBezTo>
                  <a:pt x="601" y="1287"/>
                  <a:pt x="600" y="1288"/>
                  <a:pt x="599" y="1287"/>
                </a:cubicBezTo>
                <a:cubicBezTo>
                  <a:pt x="598" y="1287"/>
                  <a:pt x="598" y="1286"/>
                  <a:pt x="597" y="1285"/>
                </a:cubicBezTo>
                <a:cubicBezTo>
                  <a:pt x="597" y="1284"/>
                  <a:pt x="597" y="1284"/>
                  <a:pt x="596" y="1283"/>
                </a:cubicBezTo>
                <a:cubicBezTo>
                  <a:pt x="596" y="1283"/>
                  <a:pt x="595" y="1282"/>
                  <a:pt x="595" y="1282"/>
                </a:cubicBezTo>
                <a:cubicBezTo>
                  <a:pt x="594" y="1281"/>
                  <a:pt x="592" y="1282"/>
                  <a:pt x="591" y="1282"/>
                </a:cubicBezTo>
                <a:cubicBezTo>
                  <a:pt x="591" y="1283"/>
                  <a:pt x="590" y="1284"/>
                  <a:pt x="590" y="1284"/>
                </a:cubicBezTo>
                <a:cubicBezTo>
                  <a:pt x="589" y="1284"/>
                  <a:pt x="589" y="1284"/>
                  <a:pt x="588" y="1285"/>
                </a:cubicBezTo>
                <a:cubicBezTo>
                  <a:pt x="587" y="1285"/>
                  <a:pt x="586" y="1285"/>
                  <a:pt x="586" y="1286"/>
                </a:cubicBezTo>
                <a:cubicBezTo>
                  <a:pt x="587" y="1286"/>
                  <a:pt x="587" y="1286"/>
                  <a:pt x="588" y="1286"/>
                </a:cubicBezTo>
                <a:cubicBezTo>
                  <a:pt x="588" y="1286"/>
                  <a:pt x="589" y="1286"/>
                  <a:pt x="590" y="1286"/>
                </a:cubicBezTo>
                <a:cubicBezTo>
                  <a:pt x="591" y="1286"/>
                  <a:pt x="591" y="1286"/>
                  <a:pt x="591" y="1286"/>
                </a:cubicBezTo>
                <a:cubicBezTo>
                  <a:pt x="592" y="1287"/>
                  <a:pt x="592" y="1288"/>
                  <a:pt x="593" y="1288"/>
                </a:cubicBezTo>
                <a:cubicBezTo>
                  <a:pt x="594" y="1288"/>
                  <a:pt x="594" y="1288"/>
                  <a:pt x="595" y="1289"/>
                </a:cubicBezTo>
                <a:cubicBezTo>
                  <a:pt x="595" y="1289"/>
                  <a:pt x="595" y="1290"/>
                  <a:pt x="595" y="1291"/>
                </a:cubicBezTo>
                <a:cubicBezTo>
                  <a:pt x="596" y="1291"/>
                  <a:pt x="597" y="1291"/>
                  <a:pt x="598" y="1292"/>
                </a:cubicBezTo>
                <a:cubicBezTo>
                  <a:pt x="598" y="1292"/>
                  <a:pt x="598" y="1293"/>
                  <a:pt x="599" y="1293"/>
                </a:cubicBezTo>
                <a:cubicBezTo>
                  <a:pt x="599" y="1295"/>
                  <a:pt x="602" y="1295"/>
                  <a:pt x="602" y="1297"/>
                </a:cubicBezTo>
                <a:cubicBezTo>
                  <a:pt x="601" y="1296"/>
                  <a:pt x="600" y="1296"/>
                  <a:pt x="600" y="1296"/>
                </a:cubicBezTo>
                <a:cubicBezTo>
                  <a:pt x="599" y="1296"/>
                  <a:pt x="599" y="1296"/>
                  <a:pt x="598" y="1295"/>
                </a:cubicBezTo>
                <a:cubicBezTo>
                  <a:pt x="597" y="1295"/>
                  <a:pt x="597" y="1294"/>
                  <a:pt x="597" y="1294"/>
                </a:cubicBezTo>
                <a:cubicBezTo>
                  <a:pt x="596" y="1294"/>
                  <a:pt x="595" y="1294"/>
                  <a:pt x="595" y="1294"/>
                </a:cubicBezTo>
                <a:cubicBezTo>
                  <a:pt x="594" y="1293"/>
                  <a:pt x="593" y="1293"/>
                  <a:pt x="592" y="1292"/>
                </a:cubicBezTo>
                <a:cubicBezTo>
                  <a:pt x="592" y="1291"/>
                  <a:pt x="591" y="1291"/>
                  <a:pt x="591" y="1291"/>
                </a:cubicBezTo>
                <a:cubicBezTo>
                  <a:pt x="590" y="1290"/>
                  <a:pt x="590" y="1289"/>
                  <a:pt x="589" y="1288"/>
                </a:cubicBezTo>
                <a:cubicBezTo>
                  <a:pt x="587" y="1287"/>
                  <a:pt x="586" y="1288"/>
                  <a:pt x="585" y="1288"/>
                </a:cubicBezTo>
                <a:cubicBezTo>
                  <a:pt x="584" y="1287"/>
                  <a:pt x="584" y="1287"/>
                  <a:pt x="583" y="1287"/>
                </a:cubicBezTo>
                <a:cubicBezTo>
                  <a:pt x="582" y="1287"/>
                  <a:pt x="581" y="1287"/>
                  <a:pt x="581" y="1287"/>
                </a:cubicBezTo>
                <a:cubicBezTo>
                  <a:pt x="581" y="1286"/>
                  <a:pt x="581" y="1286"/>
                  <a:pt x="581" y="1286"/>
                </a:cubicBezTo>
                <a:cubicBezTo>
                  <a:pt x="581" y="1286"/>
                  <a:pt x="582" y="1286"/>
                  <a:pt x="583" y="1286"/>
                </a:cubicBezTo>
                <a:cubicBezTo>
                  <a:pt x="583" y="1285"/>
                  <a:pt x="584" y="1285"/>
                  <a:pt x="584" y="1284"/>
                </a:cubicBezTo>
                <a:cubicBezTo>
                  <a:pt x="585" y="1284"/>
                  <a:pt x="586" y="1284"/>
                  <a:pt x="586" y="1284"/>
                </a:cubicBezTo>
                <a:cubicBezTo>
                  <a:pt x="587" y="1284"/>
                  <a:pt x="588" y="1284"/>
                  <a:pt x="588" y="1284"/>
                </a:cubicBezTo>
                <a:cubicBezTo>
                  <a:pt x="590" y="1283"/>
                  <a:pt x="588" y="1282"/>
                  <a:pt x="588" y="1281"/>
                </a:cubicBezTo>
                <a:cubicBezTo>
                  <a:pt x="587" y="1280"/>
                  <a:pt x="588" y="1280"/>
                  <a:pt x="587" y="1279"/>
                </a:cubicBezTo>
                <a:cubicBezTo>
                  <a:pt x="587" y="1279"/>
                  <a:pt x="586" y="1279"/>
                  <a:pt x="586" y="1278"/>
                </a:cubicBezTo>
                <a:cubicBezTo>
                  <a:pt x="585" y="1278"/>
                  <a:pt x="585" y="1277"/>
                  <a:pt x="586" y="1277"/>
                </a:cubicBezTo>
                <a:cubicBezTo>
                  <a:pt x="586" y="1276"/>
                  <a:pt x="587" y="1276"/>
                  <a:pt x="588" y="1276"/>
                </a:cubicBezTo>
                <a:cubicBezTo>
                  <a:pt x="589" y="1276"/>
                  <a:pt x="589" y="1274"/>
                  <a:pt x="590" y="1276"/>
                </a:cubicBezTo>
                <a:cubicBezTo>
                  <a:pt x="591" y="1276"/>
                  <a:pt x="591" y="1277"/>
                  <a:pt x="591" y="1277"/>
                </a:cubicBezTo>
                <a:cubicBezTo>
                  <a:pt x="591" y="1277"/>
                  <a:pt x="592" y="1278"/>
                  <a:pt x="592" y="1278"/>
                </a:cubicBezTo>
                <a:cubicBezTo>
                  <a:pt x="593" y="1280"/>
                  <a:pt x="591" y="1280"/>
                  <a:pt x="591" y="1281"/>
                </a:cubicBezTo>
                <a:cubicBezTo>
                  <a:pt x="592" y="1281"/>
                  <a:pt x="592" y="1281"/>
                  <a:pt x="593" y="1280"/>
                </a:cubicBezTo>
                <a:cubicBezTo>
                  <a:pt x="593" y="1279"/>
                  <a:pt x="594" y="1280"/>
                  <a:pt x="594" y="1279"/>
                </a:cubicBezTo>
                <a:cubicBezTo>
                  <a:pt x="596" y="1278"/>
                  <a:pt x="594" y="1277"/>
                  <a:pt x="593" y="1276"/>
                </a:cubicBezTo>
                <a:cubicBezTo>
                  <a:pt x="592" y="1275"/>
                  <a:pt x="593" y="1274"/>
                  <a:pt x="591" y="1273"/>
                </a:cubicBezTo>
                <a:cubicBezTo>
                  <a:pt x="590" y="1272"/>
                  <a:pt x="589" y="1273"/>
                  <a:pt x="588" y="1271"/>
                </a:cubicBezTo>
                <a:cubicBezTo>
                  <a:pt x="588" y="1270"/>
                  <a:pt x="589" y="1269"/>
                  <a:pt x="588" y="1268"/>
                </a:cubicBezTo>
                <a:cubicBezTo>
                  <a:pt x="588" y="1268"/>
                  <a:pt x="587" y="1267"/>
                  <a:pt x="587" y="1267"/>
                </a:cubicBezTo>
                <a:cubicBezTo>
                  <a:pt x="587" y="1266"/>
                  <a:pt x="586" y="1266"/>
                  <a:pt x="585" y="1265"/>
                </a:cubicBezTo>
                <a:cubicBezTo>
                  <a:pt x="585" y="1264"/>
                  <a:pt x="585" y="1263"/>
                  <a:pt x="584" y="1263"/>
                </a:cubicBezTo>
                <a:cubicBezTo>
                  <a:pt x="583" y="1262"/>
                  <a:pt x="583" y="1262"/>
                  <a:pt x="582" y="1261"/>
                </a:cubicBezTo>
                <a:cubicBezTo>
                  <a:pt x="582" y="1260"/>
                  <a:pt x="582" y="1260"/>
                  <a:pt x="582" y="1259"/>
                </a:cubicBezTo>
                <a:cubicBezTo>
                  <a:pt x="582" y="1259"/>
                  <a:pt x="581" y="1258"/>
                  <a:pt x="580" y="1258"/>
                </a:cubicBezTo>
                <a:cubicBezTo>
                  <a:pt x="580" y="1257"/>
                  <a:pt x="580" y="1256"/>
                  <a:pt x="580" y="1256"/>
                </a:cubicBezTo>
                <a:cubicBezTo>
                  <a:pt x="580" y="1254"/>
                  <a:pt x="581" y="1253"/>
                  <a:pt x="581" y="1252"/>
                </a:cubicBezTo>
                <a:cubicBezTo>
                  <a:pt x="581" y="1251"/>
                  <a:pt x="581" y="1250"/>
                  <a:pt x="581" y="1250"/>
                </a:cubicBezTo>
                <a:cubicBezTo>
                  <a:pt x="582" y="1249"/>
                  <a:pt x="582" y="1249"/>
                  <a:pt x="582" y="1248"/>
                </a:cubicBezTo>
                <a:cubicBezTo>
                  <a:pt x="583" y="1247"/>
                  <a:pt x="583" y="1248"/>
                  <a:pt x="584" y="1247"/>
                </a:cubicBezTo>
                <a:cubicBezTo>
                  <a:pt x="585" y="1247"/>
                  <a:pt x="585" y="1246"/>
                  <a:pt x="586" y="1246"/>
                </a:cubicBezTo>
                <a:cubicBezTo>
                  <a:pt x="586" y="1245"/>
                  <a:pt x="587" y="1246"/>
                  <a:pt x="586" y="1247"/>
                </a:cubicBezTo>
                <a:cubicBezTo>
                  <a:pt x="586" y="1248"/>
                  <a:pt x="585" y="1247"/>
                  <a:pt x="585" y="1248"/>
                </a:cubicBezTo>
                <a:cubicBezTo>
                  <a:pt x="584" y="1250"/>
                  <a:pt x="586" y="1250"/>
                  <a:pt x="587" y="1250"/>
                </a:cubicBezTo>
                <a:cubicBezTo>
                  <a:pt x="587" y="1251"/>
                  <a:pt x="588" y="1251"/>
                  <a:pt x="588" y="1252"/>
                </a:cubicBezTo>
                <a:cubicBezTo>
                  <a:pt x="589" y="1252"/>
                  <a:pt x="589" y="1252"/>
                  <a:pt x="590" y="1252"/>
                </a:cubicBezTo>
                <a:cubicBezTo>
                  <a:pt x="591" y="1252"/>
                  <a:pt x="591" y="1253"/>
                  <a:pt x="591" y="1253"/>
                </a:cubicBezTo>
                <a:cubicBezTo>
                  <a:pt x="592" y="1254"/>
                  <a:pt x="593" y="1254"/>
                  <a:pt x="593" y="1254"/>
                </a:cubicBezTo>
                <a:cubicBezTo>
                  <a:pt x="595" y="1254"/>
                  <a:pt x="595" y="1256"/>
                  <a:pt x="595" y="1257"/>
                </a:cubicBezTo>
                <a:cubicBezTo>
                  <a:pt x="595" y="1259"/>
                  <a:pt x="595" y="1260"/>
                  <a:pt x="597" y="1260"/>
                </a:cubicBezTo>
                <a:cubicBezTo>
                  <a:pt x="598" y="1261"/>
                  <a:pt x="598" y="1261"/>
                  <a:pt x="599" y="1261"/>
                </a:cubicBezTo>
                <a:cubicBezTo>
                  <a:pt x="600" y="1261"/>
                  <a:pt x="600" y="1261"/>
                  <a:pt x="601" y="1261"/>
                </a:cubicBezTo>
                <a:cubicBezTo>
                  <a:pt x="602" y="1261"/>
                  <a:pt x="602" y="1262"/>
                  <a:pt x="603" y="1262"/>
                </a:cubicBezTo>
                <a:cubicBezTo>
                  <a:pt x="604" y="1262"/>
                  <a:pt x="603" y="1261"/>
                  <a:pt x="603" y="1261"/>
                </a:cubicBezTo>
                <a:cubicBezTo>
                  <a:pt x="602" y="1261"/>
                  <a:pt x="602" y="1261"/>
                  <a:pt x="601" y="1260"/>
                </a:cubicBezTo>
                <a:cubicBezTo>
                  <a:pt x="601" y="1260"/>
                  <a:pt x="601" y="1259"/>
                  <a:pt x="600" y="1258"/>
                </a:cubicBezTo>
                <a:cubicBezTo>
                  <a:pt x="599" y="1258"/>
                  <a:pt x="597" y="1258"/>
                  <a:pt x="596" y="1257"/>
                </a:cubicBezTo>
                <a:cubicBezTo>
                  <a:pt x="596" y="1256"/>
                  <a:pt x="596" y="1255"/>
                  <a:pt x="596" y="1255"/>
                </a:cubicBezTo>
                <a:cubicBezTo>
                  <a:pt x="596" y="1254"/>
                  <a:pt x="597" y="1254"/>
                  <a:pt x="598" y="1255"/>
                </a:cubicBezTo>
                <a:cubicBezTo>
                  <a:pt x="599" y="1255"/>
                  <a:pt x="599" y="1254"/>
                  <a:pt x="600" y="1254"/>
                </a:cubicBezTo>
                <a:cubicBezTo>
                  <a:pt x="601" y="1254"/>
                  <a:pt x="601" y="1255"/>
                  <a:pt x="602" y="1255"/>
                </a:cubicBezTo>
                <a:cubicBezTo>
                  <a:pt x="602" y="1256"/>
                  <a:pt x="602" y="1256"/>
                  <a:pt x="603" y="1257"/>
                </a:cubicBezTo>
                <a:cubicBezTo>
                  <a:pt x="603" y="1257"/>
                  <a:pt x="604" y="1257"/>
                  <a:pt x="604" y="1258"/>
                </a:cubicBezTo>
                <a:cubicBezTo>
                  <a:pt x="605" y="1258"/>
                  <a:pt x="605" y="1259"/>
                  <a:pt x="605" y="1259"/>
                </a:cubicBezTo>
                <a:cubicBezTo>
                  <a:pt x="606" y="1260"/>
                  <a:pt x="606" y="1260"/>
                  <a:pt x="607" y="1260"/>
                </a:cubicBezTo>
                <a:cubicBezTo>
                  <a:pt x="607" y="1260"/>
                  <a:pt x="608" y="1261"/>
                  <a:pt x="608" y="1260"/>
                </a:cubicBezTo>
                <a:cubicBezTo>
                  <a:pt x="609" y="1260"/>
                  <a:pt x="607" y="1260"/>
                  <a:pt x="607" y="1259"/>
                </a:cubicBezTo>
                <a:cubicBezTo>
                  <a:pt x="607" y="1259"/>
                  <a:pt x="606" y="1258"/>
                  <a:pt x="606" y="1258"/>
                </a:cubicBezTo>
                <a:cubicBezTo>
                  <a:pt x="606" y="1256"/>
                  <a:pt x="604" y="1256"/>
                  <a:pt x="604" y="1255"/>
                </a:cubicBezTo>
                <a:cubicBezTo>
                  <a:pt x="603" y="1254"/>
                  <a:pt x="603" y="1251"/>
                  <a:pt x="604" y="1251"/>
                </a:cubicBezTo>
                <a:cubicBezTo>
                  <a:pt x="605" y="1251"/>
                  <a:pt x="606" y="1252"/>
                  <a:pt x="606" y="1252"/>
                </a:cubicBezTo>
                <a:cubicBezTo>
                  <a:pt x="607" y="1252"/>
                  <a:pt x="607" y="1251"/>
                  <a:pt x="608" y="1252"/>
                </a:cubicBezTo>
                <a:cubicBezTo>
                  <a:pt x="609" y="1252"/>
                  <a:pt x="609" y="1253"/>
                  <a:pt x="609" y="1253"/>
                </a:cubicBezTo>
                <a:cubicBezTo>
                  <a:pt x="610" y="1253"/>
                  <a:pt x="610" y="1252"/>
                  <a:pt x="610" y="1252"/>
                </a:cubicBezTo>
                <a:cubicBezTo>
                  <a:pt x="609" y="1251"/>
                  <a:pt x="608" y="1250"/>
                  <a:pt x="607" y="1250"/>
                </a:cubicBezTo>
                <a:cubicBezTo>
                  <a:pt x="605" y="1249"/>
                  <a:pt x="606" y="1248"/>
                  <a:pt x="605" y="1246"/>
                </a:cubicBezTo>
                <a:cubicBezTo>
                  <a:pt x="604" y="1245"/>
                  <a:pt x="603" y="1244"/>
                  <a:pt x="604" y="1242"/>
                </a:cubicBezTo>
                <a:cubicBezTo>
                  <a:pt x="604" y="1241"/>
                  <a:pt x="606" y="1242"/>
                  <a:pt x="608" y="1242"/>
                </a:cubicBezTo>
                <a:cubicBezTo>
                  <a:pt x="608" y="1241"/>
                  <a:pt x="609" y="1241"/>
                  <a:pt x="609" y="1240"/>
                </a:cubicBezTo>
                <a:cubicBezTo>
                  <a:pt x="610" y="1240"/>
                  <a:pt x="611" y="1239"/>
                  <a:pt x="612" y="1239"/>
                </a:cubicBezTo>
                <a:cubicBezTo>
                  <a:pt x="613" y="1239"/>
                  <a:pt x="614" y="1238"/>
                  <a:pt x="615" y="1238"/>
                </a:cubicBezTo>
                <a:cubicBezTo>
                  <a:pt x="616" y="1238"/>
                  <a:pt x="617" y="1238"/>
                  <a:pt x="618" y="1238"/>
                </a:cubicBezTo>
                <a:cubicBezTo>
                  <a:pt x="618" y="1238"/>
                  <a:pt x="619" y="1238"/>
                  <a:pt x="620" y="1238"/>
                </a:cubicBezTo>
                <a:cubicBezTo>
                  <a:pt x="621" y="1238"/>
                  <a:pt x="622" y="1239"/>
                  <a:pt x="623" y="1239"/>
                </a:cubicBezTo>
                <a:cubicBezTo>
                  <a:pt x="624" y="1240"/>
                  <a:pt x="626" y="1240"/>
                  <a:pt x="627" y="1239"/>
                </a:cubicBezTo>
                <a:cubicBezTo>
                  <a:pt x="628" y="1238"/>
                  <a:pt x="629" y="1237"/>
                  <a:pt x="630" y="1237"/>
                </a:cubicBezTo>
                <a:cubicBezTo>
                  <a:pt x="632" y="1237"/>
                  <a:pt x="633" y="1237"/>
                  <a:pt x="634" y="1237"/>
                </a:cubicBezTo>
                <a:cubicBezTo>
                  <a:pt x="635" y="1238"/>
                  <a:pt x="636" y="1238"/>
                  <a:pt x="638" y="1239"/>
                </a:cubicBezTo>
                <a:cubicBezTo>
                  <a:pt x="639" y="1239"/>
                  <a:pt x="640" y="1239"/>
                  <a:pt x="642" y="1240"/>
                </a:cubicBezTo>
                <a:cubicBezTo>
                  <a:pt x="643" y="1240"/>
                  <a:pt x="643" y="1241"/>
                  <a:pt x="644" y="1241"/>
                </a:cubicBezTo>
                <a:cubicBezTo>
                  <a:pt x="644" y="1242"/>
                  <a:pt x="645" y="1242"/>
                  <a:pt x="646" y="1242"/>
                </a:cubicBezTo>
                <a:cubicBezTo>
                  <a:pt x="647" y="1242"/>
                  <a:pt x="648" y="1243"/>
                  <a:pt x="648" y="1244"/>
                </a:cubicBezTo>
                <a:cubicBezTo>
                  <a:pt x="649" y="1246"/>
                  <a:pt x="650" y="1246"/>
                  <a:pt x="651" y="1246"/>
                </a:cubicBezTo>
                <a:cubicBezTo>
                  <a:pt x="652" y="1246"/>
                  <a:pt x="654" y="1246"/>
                  <a:pt x="655" y="1246"/>
                </a:cubicBezTo>
                <a:cubicBezTo>
                  <a:pt x="656" y="1245"/>
                  <a:pt x="658" y="1245"/>
                  <a:pt x="659" y="1245"/>
                </a:cubicBezTo>
                <a:cubicBezTo>
                  <a:pt x="660" y="1245"/>
                  <a:pt x="660" y="1245"/>
                  <a:pt x="661" y="1245"/>
                </a:cubicBezTo>
                <a:cubicBezTo>
                  <a:pt x="662" y="1244"/>
                  <a:pt x="662" y="1245"/>
                  <a:pt x="662" y="1245"/>
                </a:cubicBezTo>
                <a:cubicBezTo>
                  <a:pt x="662" y="1246"/>
                  <a:pt x="663" y="1246"/>
                  <a:pt x="662" y="1247"/>
                </a:cubicBezTo>
                <a:cubicBezTo>
                  <a:pt x="661" y="1247"/>
                  <a:pt x="660" y="1247"/>
                  <a:pt x="660" y="1248"/>
                </a:cubicBezTo>
                <a:cubicBezTo>
                  <a:pt x="658" y="1248"/>
                  <a:pt x="658" y="1249"/>
                  <a:pt x="656" y="1250"/>
                </a:cubicBezTo>
                <a:cubicBezTo>
                  <a:pt x="655" y="1250"/>
                  <a:pt x="654" y="1250"/>
                  <a:pt x="653" y="1251"/>
                </a:cubicBezTo>
                <a:cubicBezTo>
                  <a:pt x="651" y="1252"/>
                  <a:pt x="651" y="1254"/>
                  <a:pt x="651" y="1255"/>
                </a:cubicBezTo>
                <a:cubicBezTo>
                  <a:pt x="651" y="1257"/>
                  <a:pt x="651" y="1257"/>
                  <a:pt x="652" y="1256"/>
                </a:cubicBezTo>
                <a:cubicBezTo>
                  <a:pt x="654" y="1256"/>
                  <a:pt x="656" y="1255"/>
                  <a:pt x="658" y="1253"/>
                </a:cubicBezTo>
                <a:cubicBezTo>
                  <a:pt x="659" y="1253"/>
                  <a:pt x="659" y="1253"/>
                  <a:pt x="660" y="1252"/>
                </a:cubicBezTo>
                <a:cubicBezTo>
                  <a:pt x="661" y="1251"/>
                  <a:pt x="662" y="1251"/>
                  <a:pt x="663" y="1250"/>
                </a:cubicBezTo>
                <a:cubicBezTo>
                  <a:pt x="663" y="1250"/>
                  <a:pt x="664" y="1249"/>
                  <a:pt x="665" y="1249"/>
                </a:cubicBezTo>
                <a:cubicBezTo>
                  <a:pt x="665" y="1248"/>
                  <a:pt x="665" y="1248"/>
                  <a:pt x="666" y="1247"/>
                </a:cubicBezTo>
                <a:cubicBezTo>
                  <a:pt x="667" y="1246"/>
                  <a:pt x="668" y="1246"/>
                  <a:pt x="669" y="1245"/>
                </a:cubicBezTo>
                <a:cubicBezTo>
                  <a:pt x="671" y="1244"/>
                  <a:pt x="672" y="1244"/>
                  <a:pt x="673" y="1243"/>
                </a:cubicBezTo>
                <a:cubicBezTo>
                  <a:pt x="673" y="1241"/>
                  <a:pt x="675" y="1241"/>
                  <a:pt x="676" y="1241"/>
                </a:cubicBezTo>
                <a:cubicBezTo>
                  <a:pt x="677" y="1240"/>
                  <a:pt x="677" y="1238"/>
                  <a:pt x="678" y="1237"/>
                </a:cubicBezTo>
                <a:cubicBezTo>
                  <a:pt x="680" y="1236"/>
                  <a:pt x="681" y="1237"/>
                  <a:pt x="682" y="1237"/>
                </a:cubicBezTo>
                <a:cubicBezTo>
                  <a:pt x="684" y="1237"/>
                  <a:pt x="685" y="1236"/>
                  <a:pt x="686" y="1236"/>
                </a:cubicBezTo>
                <a:cubicBezTo>
                  <a:pt x="688" y="1236"/>
                  <a:pt x="689" y="1236"/>
                  <a:pt x="690" y="1236"/>
                </a:cubicBezTo>
                <a:cubicBezTo>
                  <a:pt x="691" y="1235"/>
                  <a:pt x="691" y="1235"/>
                  <a:pt x="692" y="1235"/>
                </a:cubicBezTo>
                <a:cubicBezTo>
                  <a:pt x="693" y="1234"/>
                  <a:pt x="693" y="1235"/>
                  <a:pt x="693" y="1235"/>
                </a:cubicBezTo>
                <a:cubicBezTo>
                  <a:pt x="695" y="1236"/>
                  <a:pt x="696" y="1235"/>
                  <a:pt x="697" y="1236"/>
                </a:cubicBezTo>
                <a:cubicBezTo>
                  <a:pt x="699" y="1236"/>
                  <a:pt x="698" y="1237"/>
                  <a:pt x="699" y="1237"/>
                </a:cubicBezTo>
                <a:cubicBezTo>
                  <a:pt x="700" y="1237"/>
                  <a:pt x="701" y="1237"/>
                  <a:pt x="702" y="1237"/>
                </a:cubicBezTo>
                <a:cubicBezTo>
                  <a:pt x="704" y="1237"/>
                  <a:pt x="705" y="1237"/>
                  <a:pt x="706" y="1236"/>
                </a:cubicBezTo>
                <a:cubicBezTo>
                  <a:pt x="708" y="1235"/>
                  <a:pt x="708" y="1237"/>
                  <a:pt x="709" y="1238"/>
                </a:cubicBezTo>
                <a:cubicBezTo>
                  <a:pt x="709" y="1238"/>
                  <a:pt x="710" y="1238"/>
                  <a:pt x="710" y="1238"/>
                </a:cubicBezTo>
                <a:cubicBezTo>
                  <a:pt x="711" y="1239"/>
                  <a:pt x="711" y="1239"/>
                  <a:pt x="712" y="1240"/>
                </a:cubicBezTo>
                <a:cubicBezTo>
                  <a:pt x="712" y="1240"/>
                  <a:pt x="713" y="1241"/>
                  <a:pt x="714" y="1241"/>
                </a:cubicBezTo>
                <a:cubicBezTo>
                  <a:pt x="715" y="1241"/>
                  <a:pt x="716" y="1241"/>
                  <a:pt x="717" y="1241"/>
                </a:cubicBezTo>
                <a:cubicBezTo>
                  <a:pt x="718" y="1242"/>
                  <a:pt x="718" y="1242"/>
                  <a:pt x="719" y="1242"/>
                </a:cubicBezTo>
                <a:cubicBezTo>
                  <a:pt x="720" y="1242"/>
                  <a:pt x="722" y="1242"/>
                  <a:pt x="722" y="1243"/>
                </a:cubicBezTo>
                <a:cubicBezTo>
                  <a:pt x="721" y="1243"/>
                  <a:pt x="720" y="1243"/>
                  <a:pt x="720" y="1243"/>
                </a:cubicBezTo>
                <a:cubicBezTo>
                  <a:pt x="719" y="1243"/>
                  <a:pt x="719" y="1243"/>
                  <a:pt x="718" y="1243"/>
                </a:cubicBezTo>
                <a:cubicBezTo>
                  <a:pt x="716" y="1243"/>
                  <a:pt x="715" y="1243"/>
                  <a:pt x="714" y="1243"/>
                </a:cubicBezTo>
                <a:cubicBezTo>
                  <a:pt x="712" y="1244"/>
                  <a:pt x="711" y="1245"/>
                  <a:pt x="710" y="1245"/>
                </a:cubicBezTo>
                <a:cubicBezTo>
                  <a:pt x="709" y="1245"/>
                  <a:pt x="708" y="1244"/>
                  <a:pt x="707" y="1244"/>
                </a:cubicBezTo>
                <a:cubicBezTo>
                  <a:pt x="707" y="1244"/>
                  <a:pt x="706" y="1245"/>
                  <a:pt x="706" y="1245"/>
                </a:cubicBezTo>
                <a:cubicBezTo>
                  <a:pt x="705" y="1246"/>
                  <a:pt x="703" y="1245"/>
                  <a:pt x="703" y="1246"/>
                </a:cubicBezTo>
                <a:cubicBezTo>
                  <a:pt x="703" y="1248"/>
                  <a:pt x="704" y="1248"/>
                  <a:pt x="705" y="1248"/>
                </a:cubicBezTo>
                <a:cubicBezTo>
                  <a:pt x="706" y="1248"/>
                  <a:pt x="706" y="1249"/>
                  <a:pt x="706" y="1249"/>
                </a:cubicBezTo>
                <a:cubicBezTo>
                  <a:pt x="707" y="1249"/>
                  <a:pt x="708" y="1248"/>
                  <a:pt x="708" y="1249"/>
                </a:cubicBezTo>
                <a:cubicBezTo>
                  <a:pt x="711" y="1250"/>
                  <a:pt x="707" y="1251"/>
                  <a:pt x="706" y="1251"/>
                </a:cubicBezTo>
                <a:cubicBezTo>
                  <a:pt x="705" y="1251"/>
                  <a:pt x="704" y="1251"/>
                  <a:pt x="703" y="1251"/>
                </a:cubicBezTo>
                <a:cubicBezTo>
                  <a:pt x="702" y="1251"/>
                  <a:pt x="701" y="1252"/>
                  <a:pt x="700" y="1251"/>
                </a:cubicBezTo>
                <a:cubicBezTo>
                  <a:pt x="699" y="1251"/>
                  <a:pt x="699" y="1251"/>
                  <a:pt x="698" y="1250"/>
                </a:cubicBezTo>
                <a:cubicBezTo>
                  <a:pt x="698" y="1250"/>
                  <a:pt x="697" y="1250"/>
                  <a:pt x="696" y="1250"/>
                </a:cubicBezTo>
                <a:cubicBezTo>
                  <a:pt x="695" y="1250"/>
                  <a:pt x="694" y="1251"/>
                  <a:pt x="692" y="1251"/>
                </a:cubicBezTo>
                <a:cubicBezTo>
                  <a:pt x="691" y="1250"/>
                  <a:pt x="690" y="1250"/>
                  <a:pt x="688" y="1250"/>
                </a:cubicBezTo>
                <a:cubicBezTo>
                  <a:pt x="688" y="1250"/>
                  <a:pt x="687" y="1251"/>
                  <a:pt x="686" y="1251"/>
                </a:cubicBezTo>
                <a:cubicBezTo>
                  <a:pt x="685" y="1250"/>
                  <a:pt x="686" y="1250"/>
                  <a:pt x="686" y="1249"/>
                </a:cubicBezTo>
                <a:cubicBezTo>
                  <a:pt x="686" y="1248"/>
                  <a:pt x="685" y="1248"/>
                  <a:pt x="685" y="1248"/>
                </a:cubicBezTo>
                <a:cubicBezTo>
                  <a:pt x="684" y="1248"/>
                  <a:pt x="684" y="1248"/>
                  <a:pt x="684" y="1248"/>
                </a:cubicBezTo>
                <a:cubicBezTo>
                  <a:pt x="683" y="1248"/>
                  <a:pt x="683" y="1248"/>
                  <a:pt x="683" y="1247"/>
                </a:cubicBezTo>
                <a:cubicBezTo>
                  <a:pt x="680" y="1247"/>
                  <a:pt x="683" y="1249"/>
                  <a:pt x="683" y="1250"/>
                </a:cubicBezTo>
                <a:cubicBezTo>
                  <a:pt x="684" y="1252"/>
                  <a:pt x="682" y="1252"/>
                  <a:pt x="681" y="1252"/>
                </a:cubicBezTo>
                <a:cubicBezTo>
                  <a:pt x="679" y="1252"/>
                  <a:pt x="679" y="1253"/>
                  <a:pt x="677" y="1252"/>
                </a:cubicBezTo>
                <a:cubicBezTo>
                  <a:pt x="677" y="1251"/>
                  <a:pt x="677" y="1251"/>
                  <a:pt x="676" y="1251"/>
                </a:cubicBezTo>
                <a:cubicBezTo>
                  <a:pt x="675" y="1250"/>
                  <a:pt x="675" y="1250"/>
                  <a:pt x="674" y="1250"/>
                </a:cubicBezTo>
                <a:cubicBezTo>
                  <a:pt x="673" y="1248"/>
                  <a:pt x="672" y="1249"/>
                  <a:pt x="671" y="1249"/>
                </a:cubicBezTo>
                <a:cubicBezTo>
                  <a:pt x="670" y="1249"/>
                  <a:pt x="669" y="1249"/>
                  <a:pt x="669" y="1250"/>
                </a:cubicBezTo>
                <a:cubicBezTo>
                  <a:pt x="668" y="1250"/>
                  <a:pt x="668" y="1250"/>
                  <a:pt x="667" y="1251"/>
                </a:cubicBezTo>
                <a:cubicBezTo>
                  <a:pt x="667" y="1251"/>
                  <a:pt x="666" y="1251"/>
                  <a:pt x="665" y="1251"/>
                </a:cubicBezTo>
                <a:cubicBezTo>
                  <a:pt x="665" y="1251"/>
                  <a:pt x="665" y="1252"/>
                  <a:pt x="664" y="1252"/>
                </a:cubicBezTo>
                <a:cubicBezTo>
                  <a:pt x="663" y="1252"/>
                  <a:pt x="663" y="1252"/>
                  <a:pt x="662" y="1253"/>
                </a:cubicBezTo>
                <a:cubicBezTo>
                  <a:pt x="661" y="1253"/>
                  <a:pt x="660" y="1254"/>
                  <a:pt x="659" y="1255"/>
                </a:cubicBezTo>
                <a:cubicBezTo>
                  <a:pt x="658" y="1255"/>
                  <a:pt x="657" y="1255"/>
                  <a:pt x="656" y="1256"/>
                </a:cubicBezTo>
                <a:cubicBezTo>
                  <a:pt x="655" y="1256"/>
                  <a:pt x="653" y="1256"/>
                  <a:pt x="652" y="1257"/>
                </a:cubicBezTo>
                <a:cubicBezTo>
                  <a:pt x="650" y="1258"/>
                  <a:pt x="652" y="1259"/>
                  <a:pt x="651" y="1261"/>
                </a:cubicBezTo>
                <a:cubicBezTo>
                  <a:pt x="651" y="1261"/>
                  <a:pt x="651" y="1262"/>
                  <a:pt x="650" y="1262"/>
                </a:cubicBezTo>
                <a:cubicBezTo>
                  <a:pt x="650" y="1263"/>
                  <a:pt x="650" y="1264"/>
                  <a:pt x="650" y="1264"/>
                </a:cubicBezTo>
                <a:cubicBezTo>
                  <a:pt x="650" y="1265"/>
                  <a:pt x="651" y="1265"/>
                  <a:pt x="651" y="1266"/>
                </a:cubicBezTo>
                <a:cubicBezTo>
                  <a:pt x="651" y="1267"/>
                  <a:pt x="651" y="1269"/>
                  <a:pt x="650" y="1270"/>
                </a:cubicBezTo>
                <a:cubicBezTo>
                  <a:pt x="649" y="1270"/>
                  <a:pt x="649" y="1271"/>
                  <a:pt x="650" y="1272"/>
                </a:cubicBezTo>
                <a:cubicBezTo>
                  <a:pt x="651" y="1273"/>
                  <a:pt x="652" y="1272"/>
                  <a:pt x="653" y="1272"/>
                </a:cubicBezTo>
                <a:cubicBezTo>
                  <a:pt x="655" y="1271"/>
                  <a:pt x="656" y="1271"/>
                  <a:pt x="658" y="1271"/>
                </a:cubicBezTo>
                <a:cubicBezTo>
                  <a:pt x="660" y="1270"/>
                  <a:pt x="661" y="1271"/>
                  <a:pt x="663" y="1271"/>
                </a:cubicBezTo>
                <a:cubicBezTo>
                  <a:pt x="663" y="1271"/>
                  <a:pt x="666" y="1270"/>
                  <a:pt x="666" y="1272"/>
                </a:cubicBezTo>
                <a:cubicBezTo>
                  <a:pt x="665" y="1272"/>
                  <a:pt x="664" y="1273"/>
                  <a:pt x="664" y="1273"/>
                </a:cubicBezTo>
                <a:cubicBezTo>
                  <a:pt x="663" y="1273"/>
                  <a:pt x="663" y="1274"/>
                  <a:pt x="663" y="1274"/>
                </a:cubicBezTo>
                <a:cubicBezTo>
                  <a:pt x="662" y="1275"/>
                  <a:pt x="660" y="1276"/>
                  <a:pt x="661" y="1277"/>
                </a:cubicBezTo>
                <a:cubicBezTo>
                  <a:pt x="661" y="1278"/>
                  <a:pt x="662" y="1277"/>
                  <a:pt x="662" y="1278"/>
                </a:cubicBezTo>
                <a:cubicBezTo>
                  <a:pt x="662" y="1278"/>
                  <a:pt x="662" y="1279"/>
                  <a:pt x="662" y="1279"/>
                </a:cubicBezTo>
                <a:cubicBezTo>
                  <a:pt x="662" y="1280"/>
                  <a:pt x="662" y="1280"/>
                  <a:pt x="663" y="1280"/>
                </a:cubicBezTo>
                <a:cubicBezTo>
                  <a:pt x="663" y="1281"/>
                  <a:pt x="663" y="1283"/>
                  <a:pt x="664" y="1284"/>
                </a:cubicBezTo>
                <a:cubicBezTo>
                  <a:pt x="665" y="1285"/>
                  <a:pt x="667" y="1284"/>
                  <a:pt x="668" y="1285"/>
                </a:cubicBezTo>
                <a:cubicBezTo>
                  <a:pt x="668" y="1287"/>
                  <a:pt x="666" y="1287"/>
                  <a:pt x="665" y="1288"/>
                </a:cubicBezTo>
                <a:cubicBezTo>
                  <a:pt x="665" y="1288"/>
                  <a:pt x="665" y="1289"/>
                  <a:pt x="664" y="1289"/>
                </a:cubicBezTo>
                <a:cubicBezTo>
                  <a:pt x="663" y="1289"/>
                  <a:pt x="662" y="1289"/>
                  <a:pt x="662" y="1290"/>
                </a:cubicBezTo>
                <a:cubicBezTo>
                  <a:pt x="662" y="1291"/>
                  <a:pt x="662" y="1291"/>
                  <a:pt x="663" y="1291"/>
                </a:cubicBezTo>
                <a:cubicBezTo>
                  <a:pt x="664" y="1292"/>
                  <a:pt x="664" y="1293"/>
                  <a:pt x="664" y="1293"/>
                </a:cubicBezTo>
                <a:cubicBezTo>
                  <a:pt x="665" y="1294"/>
                  <a:pt x="666" y="1295"/>
                  <a:pt x="667" y="1296"/>
                </a:cubicBezTo>
                <a:cubicBezTo>
                  <a:pt x="668" y="1296"/>
                  <a:pt x="669" y="1296"/>
                  <a:pt x="669" y="1297"/>
                </a:cubicBezTo>
                <a:cubicBezTo>
                  <a:pt x="669" y="1298"/>
                  <a:pt x="667" y="1297"/>
                  <a:pt x="667" y="1297"/>
                </a:cubicBezTo>
                <a:cubicBezTo>
                  <a:pt x="665" y="1297"/>
                  <a:pt x="664" y="1297"/>
                  <a:pt x="663" y="1297"/>
                </a:cubicBezTo>
                <a:cubicBezTo>
                  <a:pt x="662" y="1297"/>
                  <a:pt x="662" y="1296"/>
                  <a:pt x="661" y="1296"/>
                </a:cubicBezTo>
                <a:cubicBezTo>
                  <a:pt x="660" y="1296"/>
                  <a:pt x="660" y="1296"/>
                  <a:pt x="660" y="1295"/>
                </a:cubicBezTo>
                <a:cubicBezTo>
                  <a:pt x="659" y="1294"/>
                  <a:pt x="659" y="1294"/>
                  <a:pt x="659" y="1293"/>
                </a:cubicBezTo>
                <a:cubicBezTo>
                  <a:pt x="659" y="1292"/>
                  <a:pt x="659" y="1292"/>
                  <a:pt x="658" y="1292"/>
                </a:cubicBezTo>
                <a:cubicBezTo>
                  <a:pt x="658" y="1291"/>
                  <a:pt x="657" y="1291"/>
                  <a:pt x="657" y="1290"/>
                </a:cubicBezTo>
                <a:cubicBezTo>
                  <a:pt x="656" y="1290"/>
                  <a:pt x="655" y="1291"/>
                  <a:pt x="656" y="1292"/>
                </a:cubicBezTo>
                <a:cubicBezTo>
                  <a:pt x="656" y="1292"/>
                  <a:pt x="656" y="1293"/>
                  <a:pt x="656" y="1293"/>
                </a:cubicBezTo>
                <a:cubicBezTo>
                  <a:pt x="657" y="1294"/>
                  <a:pt x="657" y="1294"/>
                  <a:pt x="657" y="1295"/>
                </a:cubicBezTo>
                <a:cubicBezTo>
                  <a:pt x="657" y="1296"/>
                  <a:pt x="658" y="1297"/>
                  <a:pt x="656" y="1298"/>
                </a:cubicBezTo>
                <a:cubicBezTo>
                  <a:pt x="656" y="1298"/>
                  <a:pt x="655" y="1298"/>
                  <a:pt x="654" y="1298"/>
                </a:cubicBezTo>
                <a:cubicBezTo>
                  <a:pt x="653" y="1298"/>
                  <a:pt x="653" y="1298"/>
                  <a:pt x="653" y="1299"/>
                </a:cubicBezTo>
                <a:cubicBezTo>
                  <a:pt x="653" y="1299"/>
                  <a:pt x="653" y="1299"/>
                  <a:pt x="652" y="1299"/>
                </a:cubicBezTo>
                <a:cubicBezTo>
                  <a:pt x="652" y="1300"/>
                  <a:pt x="653" y="1301"/>
                  <a:pt x="653" y="1300"/>
                </a:cubicBezTo>
                <a:cubicBezTo>
                  <a:pt x="654" y="1300"/>
                  <a:pt x="655" y="1301"/>
                  <a:pt x="655" y="1301"/>
                </a:cubicBezTo>
                <a:cubicBezTo>
                  <a:pt x="656" y="1301"/>
                  <a:pt x="657" y="1301"/>
                  <a:pt x="657" y="1301"/>
                </a:cubicBezTo>
                <a:cubicBezTo>
                  <a:pt x="659" y="1302"/>
                  <a:pt x="660" y="1301"/>
                  <a:pt x="662" y="1301"/>
                </a:cubicBezTo>
                <a:cubicBezTo>
                  <a:pt x="663" y="1302"/>
                  <a:pt x="664" y="1303"/>
                  <a:pt x="666" y="1303"/>
                </a:cubicBezTo>
                <a:cubicBezTo>
                  <a:pt x="666" y="1304"/>
                  <a:pt x="667" y="1304"/>
                  <a:pt x="668" y="1305"/>
                </a:cubicBezTo>
                <a:cubicBezTo>
                  <a:pt x="668" y="1305"/>
                  <a:pt x="669" y="1305"/>
                  <a:pt x="669" y="1305"/>
                </a:cubicBezTo>
                <a:cubicBezTo>
                  <a:pt x="670" y="1305"/>
                  <a:pt x="671" y="1306"/>
                  <a:pt x="671" y="1306"/>
                </a:cubicBezTo>
                <a:cubicBezTo>
                  <a:pt x="671" y="1307"/>
                  <a:pt x="671" y="1307"/>
                  <a:pt x="671" y="1307"/>
                </a:cubicBezTo>
                <a:cubicBezTo>
                  <a:pt x="671" y="1307"/>
                  <a:pt x="672" y="1307"/>
                  <a:pt x="672" y="1308"/>
                </a:cubicBezTo>
                <a:cubicBezTo>
                  <a:pt x="673" y="1308"/>
                  <a:pt x="672" y="1309"/>
                  <a:pt x="672" y="1309"/>
                </a:cubicBezTo>
                <a:cubicBezTo>
                  <a:pt x="673" y="1310"/>
                  <a:pt x="673" y="1310"/>
                  <a:pt x="673" y="1311"/>
                </a:cubicBezTo>
                <a:cubicBezTo>
                  <a:pt x="672" y="1312"/>
                  <a:pt x="672" y="1312"/>
                  <a:pt x="671" y="1312"/>
                </a:cubicBezTo>
                <a:cubicBezTo>
                  <a:pt x="671" y="1313"/>
                  <a:pt x="671" y="1313"/>
                  <a:pt x="670" y="1313"/>
                </a:cubicBezTo>
                <a:cubicBezTo>
                  <a:pt x="669" y="1313"/>
                  <a:pt x="668" y="1313"/>
                  <a:pt x="668" y="1313"/>
                </a:cubicBezTo>
                <a:cubicBezTo>
                  <a:pt x="668" y="1314"/>
                  <a:pt x="669" y="1314"/>
                  <a:pt x="669" y="1315"/>
                </a:cubicBezTo>
                <a:cubicBezTo>
                  <a:pt x="670" y="1315"/>
                  <a:pt x="670" y="1316"/>
                  <a:pt x="670" y="1316"/>
                </a:cubicBezTo>
                <a:cubicBezTo>
                  <a:pt x="671" y="1316"/>
                  <a:pt x="672" y="1316"/>
                  <a:pt x="672" y="1317"/>
                </a:cubicBezTo>
                <a:cubicBezTo>
                  <a:pt x="672" y="1318"/>
                  <a:pt x="672" y="1319"/>
                  <a:pt x="672" y="1319"/>
                </a:cubicBezTo>
                <a:cubicBezTo>
                  <a:pt x="671" y="1322"/>
                  <a:pt x="673" y="1321"/>
                  <a:pt x="675" y="1321"/>
                </a:cubicBezTo>
                <a:cubicBezTo>
                  <a:pt x="676" y="1321"/>
                  <a:pt x="677" y="1321"/>
                  <a:pt x="678" y="1322"/>
                </a:cubicBezTo>
                <a:cubicBezTo>
                  <a:pt x="680" y="1323"/>
                  <a:pt x="679" y="1324"/>
                  <a:pt x="678" y="1325"/>
                </a:cubicBezTo>
                <a:cubicBezTo>
                  <a:pt x="678" y="1326"/>
                  <a:pt x="677" y="1326"/>
                  <a:pt x="677" y="1327"/>
                </a:cubicBezTo>
                <a:cubicBezTo>
                  <a:pt x="676" y="1327"/>
                  <a:pt x="676" y="1327"/>
                  <a:pt x="675" y="1326"/>
                </a:cubicBezTo>
                <a:cubicBezTo>
                  <a:pt x="675" y="1326"/>
                  <a:pt x="672" y="1326"/>
                  <a:pt x="672" y="1327"/>
                </a:cubicBezTo>
                <a:cubicBezTo>
                  <a:pt x="672" y="1328"/>
                  <a:pt x="672" y="1327"/>
                  <a:pt x="673" y="1328"/>
                </a:cubicBezTo>
                <a:cubicBezTo>
                  <a:pt x="673" y="1328"/>
                  <a:pt x="673" y="1328"/>
                  <a:pt x="673" y="1328"/>
                </a:cubicBezTo>
                <a:cubicBezTo>
                  <a:pt x="674" y="1329"/>
                  <a:pt x="674" y="1329"/>
                  <a:pt x="675" y="1329"/>
                </a:cubicBezTo>
                <a:cubicBezTo>
                  <a:pt x="676" y="1329"/>
                  <a:pt x="676" y="1329"/>
                  <a:pt x="677" y="1329"/>
                </a:cubicBezTo>
                <a:cubicBezTo>
                  <a:pt x="678" y="1329"/>
                  <a:pt x="678" y="1329"/>
                  <a:pt x="679" y="1329"/>
                </a:cubicBezTo>
                <a:cubicBezTo>
                  <a:pt x="680" y="1329"/>
                  <a:pt x="680" y="1329"/>
                  <a:pt x="681" y="1329"/>
                </a:cubicBezTo>
                <a:cubicBezTo>
                  <a:pt x="682" y="1328"/>
                  <a:pt x="682" y="1329"/>
                  <a:pt x="683" y="1329"/>
                </a:cubicBezTo>
                <a:cubicBezTo>
                  <a:pt x="684" y="1329"/>
                  <a:pt x="685" y="1328"/>
                  <a:pt x="686" y="1328"/>
                </a:cubicBezTo>
                <a:cubicBezTo>
                  <a:pt x="687" y="1328"/>
                  <a:pt x="688" y="1328"/>
                  <a:pt x="689" y="1328"/>
                </a:cubicBezTo>
                <a:cubicBezTo>
                  <a:pt x="690" y="1328"/>
                  <a:pt x="693" y="1327"/>
                  <a:pt x="691" y="1329"/>
                </a:cubicBezTo>
                <a:cubicBezTo>
                  <a:pt x="691" y="1330"/>
                  <a:pt x="690" y="1330"/>
                  <a:pt x="690" y="1330"/>
                </a:cubicBezTo>
                <a:cubicBezTo>
                  <a:pt x="689" y="1331"/>
                  <a:pt x="688" y="1331"/>
                  <a:pt x="688" y="1332"/>
                </a:cubicBezTo>
                <a:cubicBezTo>
                  <a:pt x="687" y="1332"/>
                  <a:pt x="685" y="1332"/>
                  <a:pt x="684" y="1333"/>
                </a:cubicBezTo>
                <a:cubicBezTo>
                  <a:pt x="682" y="1333"/>
                  <a:pt x="681" y="1333"/>
                  <a:pt x="680" y="1334"/>
                </a:cubicBezTo>
                <a:cubicBezTo>
                  <a:pt x="679" y="1334"/>
                  <a:pt x="677" y="1334"/>
                  <a:pt x="676" y="1335"/>
                </a:cubicBezTo>
                <a:cubicBezTo>
                  <a:pt x="675" y="1336"/>
                  <a:pt x="678" y="1335"/>
                  <a:pt x="679" y="1335"/>
                </a:cubicBezTo>
                <a:cubicBezTo>
                  <a:pt x="680" y="1335"/>
                  <a:pt x="680" y="1335"/>
                  <a:pt x="681" y="1335"/>
                </a:cubicBezTo>
                <a:cubicBezTo>
                  <a:pt x="682" y="1335"/>
                  <a:pt x="683" y="1335"/>
                  <a:pt x="683" y="1335"/>
                </a:cubicBezTo>
                <a:cubicBezTo>
                  <a:pt x="684" y="1334"/>
                  <a:pt x="684" y="1334"/>
                  <a:pt x="684" y="1334"/>
                </a:cubicBezTo>
                <a:cubicBezTo>
                  <a:pt x="685" y="1334"/>
                  <a:pt x="686" y="1334"/>
                  <a:pt x="687" y="1334"/>
                </a:cubicBezTo>
                <a:cubicBezTo>
                  <a:pt x="687" y="1335"/>
                  <a:pt x="687" y="1335"/>
                  <a:pt x="687" y="1335"/>
                </a:cubicBezTo>
                <a:cubicBezTo>
                  <a:pt x="687" y="1336"/>
                  <a:pt x="686" y="1335"/>
                  <a:pt x="687" y="1336"/>
                </a:cubicBezTo>
                <a:cubicBezTo>
                  <a:pt x="687" y="1336"/>
                  <a:pt x="687" y="1336"/>
                  <a:pt x="687" y="1336"/>
                </a:cubicBezTo>
                <a:cubicBezTo>
                  <a:pt x="688" y="1337"/>
                  <a:pt x="688" y="1336"/>
                  <a:pt x="688" y="1337"/>
                </a:cubicBezTo>
                <a:cubicBezTo>
                  <a:pt x="687" y="1338"/>
                  <a:pt x="687" y="1337"/>
                  <a:pt x="687" y="1338"/>
                </a:cubicBezTo>
                <a:cubicBezTo>
                  <a:pt x="689" y="1338"/>
                  <a:pt x="689" y="1337"/>
                  <a:pt x="690" y="1336"/>
                </a:cubicBezTo>
                <a:cubicBezTo>
                  <a:pt x="691" y="1335"/>
                  <a:pt x="693" y="1335"/>
                  <a:pt x="694" y="1333"/>
                </a:cubicBezTo>
                <a:cubicBezTo>
                  <a:pt x="695" y="1332"/>
                  <a:pt x="696" y="1332"/>
                  <a:pt x="698" y="1333"/>
                </a:cubicBezTo>
                <a:cubicBezTo>
                  <a:pt x="698" y="1333"/>
                  <a:pt x="699" y="1333"/>
                  <a:pt x="699" y="1334"/>
                </a:cubicBezTo>
                <a:cubicBezTo>
                  <a:pt x="700" y="1334"/>
                  <a:pt x="700" y="1335"/>
                  <a:pt x="700" y="1335"/>
                </a:cubicBezTo>
                <a:cubicBezTo>
                  <a:pt x="701" y="1336"/>
                  <a:pt x="702" y="1335"/>
                  <a:pt x="703" y="1336"/>
                </a:cubicBezTo>
                <a:cubicBezTo>
                  <a:pt x="704" y="1337"/>
                  <a:pt x="704" y="1338"/>
                  <a:pt x="705" y="1336"/>
                </a:cubicBezTo>
                <a:cubicBezTo>
                  <a:pt x="706" y="1335"/>
                  <a:pt x="706" y="1335"/>
                  <a:pt x="707" y="1337"/>
                </a:cubicBezTo>
                <a:cubicBezTo>
                  <a:pt x="707" y="1337"/>
                  <a:pt x="707" y="1338"/>
                  <a:pt x="707" y="1338"/>
                </a:cubicBezTo>
                <a:cubicBezTo>
                  <a:pt x="707" y="1340"/>
                  <a:pt x="708" y="1340"/>
                  <a:pt x="709" y="1340"/>
                </a:cubicBezTo>
                <a:cubicBezTo>
                  <a:pt x="710" y="1341"/>
                  <a:pt x="710" y="1342"/>
                  <a:pt x="710" y="1343"/>
                </a:cubicBezTo>
                <a:cubicBezTo>
                  <a:pt x="711" y="1343"/>
                  <a:pt x="711" y="1344"/>
                  <a:pt x="711" y="1344"/>
                </a:cubicBezTo>
                <a:cubicBezTo>
                  <a:pt x="712" y="1344"/>
                  <a:pt x="712" y="1345"/>
                  <a:pt x="712" y="1345"/>
                </a:cubicBezTo>
                <a:cubicBezTo>
                  <a:pt x="713" y="1346"/>
                  <a:pt x="714" y="1345"/>
                  <a:pt x="714" y="1345"/>
                </a:cubicBezTo>
                <a:cubicBezTo>
                  <a:pt x="716" y="1345"/>
                  <a:pt x="716" y="1346"/>
                  <a:pt x="718" y="1346"/>
                </a:cubicBezTo>
                <a:cubicBezTo>
                  <a:pt x="718" y="1346"/>
                  <a:pt x="719" y="1347"/>
                  <a:pt x="720" y="1347"/>
                </a:cubicBezTo>
                <a:cubicBezTo>
                  <a:pt x="720" y="1347"/>
                  <a:pt x="720" y="1347"/>
                  <a:pt x="721" y="1348"/>
                </a:cubicBezTo>
                <a:cubicBezTo>
                  <a:pt x="722" y="1348"/>
                  <a:pt x="722" y="1348"/>
                  <a:pt x="723" y="1348"/>
                </a:cubicBezTo>
                <a:cubicBezTo>
                  <a:pt x="724" y="1348"/>
                  <a:pt x="724" y="1348"/>
                  <a:pt x="724" y="1347"/>
                </a:cubicBezTo>
                <a:cubicBezTo>
                  <a:pt x="725" y="1346"/>
                  <a:pt x="727" y="1347"/>
                  <a:pt x="728" y="1346"/>
                </a:cubicBezTo>
                <a:cubicBezTo>
                  <a:pt x="729" y="1346"/>
                  <a:pt x="730" y="1344"/>
                  <a:pt x="732" y="1345"/>
                </a:cubicBezTo>
                <a:cubicBezTo>
                  <a:pt x="732" y="1345"/>
                  <a:pt x="732" y="1346"/>
                  <a:pt x="733" y="1346"/>
                </a:cubicBezTo>
                <a:cubicBezTo>
                  <a:pt x="733" y="1346"/>
                  <a:pt x="734" y="1346"/>
                  <a:pt x="735" y="1346"/>
                </a:cubicBezTo>
                <a:cubicBezTo>
                  <a:pt x="736" y="1346"/>
                  <a:pt x="736" y="1346"/>
                  <a:pt x="736" y="1345"/>
                </a:cubicBezTo>
                <a:cubicBezTo>
                  <a:pt x="736" y="1344"/>
                  <a:pt x="737" y="1344"/>
                  <a:pt x="737" y="1343"/>
                </a:cubicBezTo>
                <a:cubicBezTo>
                  <a:pt x="738" y="1342"/>
                  <a:pt x="737" y="1340"/>
                  <a:pt x="737" y="1339"/>
                </a:cubicBezTo>
                <a:cubicBezTo>
                  <a:pt x="737" y="1337"/>
                  <a:pt x="737" y="1336"/>
                  <a:pt x="738" y="1335"/>
                </a:cubicBezTo>
                <a:cubicBezTo>
                  <a:pt x="739" y="1334"/>
                  <a:pt x="739" y="1332"/>
                  <a:pt x="740" y="1331"/>
                </a:cubicBezTo>
                <a:cubicBezTo>
                  <a:pt x="741" y="1330"/>
                  <a:pt x="742" y="1332"/>
                  <a:pt x="743" y="1333"/>
                </a:cubicBezTo>
                <a:cubicBezTo>
                  <a:pt x="745" y="1333"/>
                  <a:pt x="747" y="1332"/>
                  <a:pt x="748" y="1332"/>
                </a:cubicBezTo>
                <a:cubicBezTo>
                  <a:pt x="750" y="1332"/>
                  <a:pt x="751" y="1333"/>
                  <a:pt x="752" y="1334"/>
                </a:cubicBezTo>
                <a:cubicBezTo>
                  <a:pt x="754" y="1334"/>
                  <a:pt x="755" y="1334"/>
                  <a:pt x="756" y="1335"/>
                </a:cubicBezTo>
                <a:cubicBezTo>
                  <a:pt x="757" y="1337"/>
                  <a:pt x="759" y="1337"/>
                  <a:pt x="760" y="1337"/>
                </a:cubicBezTo>
                <a:cubicBezTo>
                  <a:pt x="761" y="1337"/>
                  <a:pt x="761" y="1338"/>
                  <a:pt x="762" y="1338"/>
                </a:cubicBezTo>
                <a:cubicBezTo>
                  <a:pt x="762" y="1339"/>
                  <a:pt x="763" y="1339"/>
                  <a:pt x="763" y="1339"/>
                </a:cubicBezTo>
                <a:cubicBezTo>
                  <a:pt x="765" y="1340"/>
                  <a:pt x="766" y="1341"/>
                  <a:pt x="767" y="1342"/>
                </a:cubicBezTo>
                <a:cubicBezTo>
                  <a:pt x="768" y="1343"/>
                  <a:pt x="769" y="1343"/>
                  <a:pt x="770" y="1344"/>
                </a:cubicBezTo>
                <a:cubicBezTo>
                  <a:pt x="772" y="1345"/>
                  <a:pt x="772" y="1346"/>
                  <a:pt x="773" y="1347"/>
                </a:cubicBezTo>
                <a:cubicBezTo>
                  <a:pt x="776" y="1349"/>
                  <a:pt x="779" y="1349"/>
                  <a:pt x="781" y="1349"/>
                </a:cubicBezTo>
                <a:cubicBezTo>
                  <a:pt x="783" y="1349"/>
                  <a:pt x="784" y="1348"/>
                  <a:pt x="786" y="1348"/>
                </a:cubicBezTo>
                <a:cubicBezTo>
                  <a:pt x="787" y="1348"/>
                  <a:pt x="789" y="1348"/>
                  <a:pt x="791" y="1348"/>
                </a:cubicBezTo>
                <a:cubicBezTo>
                  <a:pt x="795" y="1348"/>
                  <a:pt x="798" y="1348"/>
                  <a:pt x="801" y="1348"/>
                </a:cubicBezTo>
                <a:cubicBezTo>
                  <a:pt x="803" y="1347"/>
                  <a:pt x="805" y="1347"/>
                  <a:pt x="806" y="1345"/>
                </a:cubicBezTo>
                <a:cubicBezTo>
                  <a:pt x="807" y="1343"/>
                  <a:pt x="807" y="1342"/>
                  <a:pt x="809" y="1341"/>
                </a:cubicBezTo>
                <a:cubicBezTo>
                  <a:pt x="810" y="1340"/>
                  <a:pt x="811" y="1339"/>
                  <a:pt x="812" y="1338"/>
                </a:cubicBezTo>
                <a:cubicBezTo>
                  <a:pt x="814" y="1337"/>
                  <a:pt x="815" y="1336"/>
                  <a:pt x="817" y="1335"/>
                </a:cubicBezTo>
                <a:cubicBezTo>
                  <a:pt x="818" y="1335"/>
                  <a:pt x="819" y="1333"/>
                  <a:pt x="821" y="1334"/>
                </a:cubicBezTo>
                <a:cubicBezTo>
                  <a:pt x="822" y="1334"/>
                  <a:pt x="823" y="1335"/>
                  <a:pt x="824" y="1335"/>
                </a:cubicBezTo>
                <a:cubicBezTo>
                  <a:pt x="825" y="1336"/>
                  <a:pt x="826" y="1336"/>
                  <a:pt x="826" y="1336"/>
                </a:cubicBezTo>
                <a:cubicBezTo>
                  <a:pt x="827" y="1336"/>
                  <a:pt x="827" y="1337"/>
                  <a:pt x="828" y="1337"/>
                </a:cubicBezTo>
                <a:cubicBezTo>
                  <a:pt x="828" y="1337"/>
                  <a:pt x="829" y="1337"/>
                  <a:pt x="830" y="1338"/>
                </a:cubicBezTo>
                <a:cubicBezTo>
                  <a:pt x="831" y="1338"/>
                  <a:pt x="831" y="1339"/>
                  <a:pt x="832" y="1339"/>
                </a:cubicBezTo>
                <a:cubicBezTo>
                  <a:pt x="833" y="1339"/>
                  <a:pt x="835" y="1339"/>
                  <a:pt x="836" y="1338"/>
                </a:cubicBezTo>
                <a:cubicBezTo>
                  <a:pt x="836" y="1337"/>
                  <a:pt x="837" y="1336"/>
                  <a:pt x="837" y="1336"/>
                </a:cubicBezTo>
                <a:cubicBezTo>
                  <a:pt x="838" y="1335"/>
                  <a:pt x="838" y="1335"/>
                  <a:pt x="839" y="1335"/>
                </a:cubicBezTo>
                <a:cubicBezTo>
                  <a:pt x="840" y="1335"/>
                  <a:pt x="841" y="1333"/>
                  <a:pt x="842" y="1332"/>
                </a:cubicBezTo>
                <a:cubicBezTo>
                  <a:pt x="842" y="1331"/>
                  <a:pt x="844" y="1330"/>
                  <a:pt x="845" y="1331"/>
                </a:cubicBezTo>
                <a:cubicBezTo>
                  <a:pt x="845" y="1331"/>
                  <a:pt x="846" y="1332"/>
                  <a:pt x="846" y="1332"/>
                </a:cubicBezTo>
                <a:cubicBezTo>
                  <a:pt x="847" y="1332"/>
                  <a:pt x="847" y="1332"/>
                  <a:pt x="848" y="1333"/>
                </a:cubicBezTo>
                <a:cubicBezTo>
                  <a:pt x="849" y="1333"/>
                  <a:pt x="848" y="1335"/>
                  <a:pt x="848" y="1336"/>
                </a:cubicBezTo>
                <a:cubicBezTo>
                  <a:pt x="847" y="1336"/>
                  <a:pt x="847" y="1336"/>
                  <a:pt x="847" y="1337"/>
                </a:cubicBezTo>
                <a:cubicBezTo>
                  <a:pt x="846" y="1337"/>
                  <a:pt x="847" y="1338"/>
                  <a:pt x="846" y="1339"/>
                </a:cubicBezTo>
                <a:cubicBezTo>
                  <a:pt x="845" y="1340"/>
                  <a:pt x="844" y="1340"/>
                  <a:pt x="844" y="1341"/>
                </a:cubicBezTo>
                <a:cubicBezTo>
                  <a:pt x="844" y="1341"/>
                  <a:pt x="843" y="1342"/>
                  <a:pt x="843" y="1343"/>
                </a:cubicBezTo>
                <a:cubicBezTo>
                  <a:pt x="842" y="1343"/>
                  <a:pt x="842" y="1343"/>
                  <a:pt x="841" y="1344"/>
                </a:cubicBezTo>
                <a:cubicBezTo>
                  <a:pt x="841" y="1345"/>
                  <a:pt x="840" y="1347"/>
                  <a:pt x="842" y="1348"/>
                </a:cubicBezTo>
                <a:cubicBezTo>
                  <a:pt x="843" y="1349"/>
                  <a:pt x="844" y="1349"/>
                  <a:pt x="844" y="1351"/>
                </a:cubicBezTo>
                <a:cubicBezTo>
                  <a:pt x="844" y="1353"/>
                  <a:pt x="843" y="1353"/>
                  <a:pt x="842" y="1353"/>
                </a:cubicBezTo>
                <a:cubicBezTo>
                  <a:pt x="841" y="1354"/>
                  <a:pt x="841" y="1356"/>
                  <a:pt x="841" y="1357"/>
                </a:cubicBezTo>
                <a:cubicBezTo>
                  <a:pt x="841" y="1358"/>
                  <a:pt x="841" y="1359"/>
                  <a:pt x="841" y="1359"/>
                </a:cubicBezTo>
                <a:cubicBezTo>
                  <a:pt x="840" y="1360"/>
                  <a:pt x="840" y="1360"/>
                  <a:pt x="840" y="1361"/>
                </a:cubicBezTo>
                <a:cubicBezTo>
                  <a:pt x="840" y="1362"/>
                  <a:pt x="842" y="1362"/>
                  <a:pt x="842" y="1363"/>
                </a:cubicBezTo>
                <a:cubicBezTo>
                  <a:pt x="844" y="1365"/>
                  <a:pt x="843" y="1368"/>
                  <a:pt x="843" y="1370"/>
                </a:cubicBezTo>
                <a:cubicBezTo>
                  <a:pt x="842" y="1372"/>
                  <a:pt x="843" y="1373"/>
                  <a:pt x="843" y="1375"/>
                </a:cubicBezTo>
                <a:cubicBezTo>
                  <a:pt x="843" y="1377"/>
                  <a:pt x="842" y="1378"/>
                  <a:pt x="843" y="1379"/>
                </a:cubicBezTo>
                <a:cubicBezTo>
                  <a:pt x="844" y="1380"/>
                  <a:pt x="844" y="1381"/>
                  <a:pt x="844" y="1383"/>
                </a:cubicBezTo>
                <a:cubicBezTo>
                  <a:pt x="844" y="1384"/>
                  <a:pt x="843" y="1385"/>
                  <a:pt x="841" y="1386"/>
                </a:cubicBezTo>
                <a:cubicBezTo>
                  <a:pt x="840" y="1387"/>
                  <a:pt x="840" y="1387"/>
                  <a:pt x="839" y="1389"/>
                </a:cubicBezTo>
                <a:cubicBezTo>
                  <a:pt x="838" y="1390"/>
                  <a:pt x="838" y="1391"/>
                  <a:pt x="838" y="1392"/>
                </a:cubicBezTo>
                <a:cubicBezTo>
                  <a:pt x="837" y="1393"/>
                  <a:pt x="837" y="1395"/>
                  <a:pt x="837" y="1396"/>
                </a:cubicBezTo>
                <a:cubicBezTo>
                  <a:pt x="836" y="1397"/>
                  <a:pt x="836" y="1397"/>
                  <a:pt x="835" y="1398"/>
                </a:cubicBezTo>
                <a:cubicBezTo>
                  <a:pt x="835" y="1399"/>
                  <a:pt x="835" y="1399"/>
                  <a:pt x="834" y="1400"/>
                </a:cubicBezTo>
                <a:cubicBezTo>
                  <a:pt x="834" y="1401"/>
                  <a:pt x="833" y="1401"/>
                  <a:pt x="833" y="1402"/>
                </a:cubicBezTo>
                <a:cubicBezTo>
                  <a:pt x="833" y="1402"/>
                  <a:pt x="833" y="1403"/>
                  <a:pt x="833" y="1404"/>
                </a:cubicBezTo>
                <a:cubicBezTo>
                  <a:pt x="833" y="1405"/>
                  <a:pt x="832" y="1405"/>
                  <a:pt x="832" y="1406"/>
                </a:cubicBezTo>
                <a:cubicBezTo>
                  <a:pt x="831" y="1406"/>
                  <a:pt x="831" y="1407"/>
                  <a:pt x="831" y="1408"/>
                </a:cubicBezTo>
                <a:cubicBezTo>
                  <a:pt x="831" y="1408"/>
                  <a:pt x="830" y="1409"/>
                  <a:pt x="830" y="1410"/>
                </a:cubicBezTo>
                <a:cubicBezTo>
                  <a:pt x="829" y="1410"/>
                  <a:pt x="829" y="1411"/>
                  <a:pt x="829" y="1411"/>
                </a:cubicBezTo>
                <a:cubicBezTo>
                  <a:pt x="829" y="1413"/>
                  <a:pt x="828" y="1413"/>
                  <a:pt x="827" y="1414"/>
                </a:cubicBezTo>
                <a:cubicBezTo>
                  <a:pt x="827" y="1416"/>
                  <a:pt x="827" y="1417"/>
                  <a:pt x="827" y="1418"/>
                </a:cubicBezTo>
                <a:cubicBezTo>
                  <a:pt x="827" y="1419"/>
                  <a:pt x="827" y="1421"/>
                  <a:pt x="826" y="1422"/>
                </a:cubicBezTo>
                <a:cubicBezTo>
                  <a:pt x="826" y="1422"/>
                  <a:pt x="825" y="1423"/>
                  <a:pt x="825" y="1423"/>
                </a:cubicBezTo>
                <a:cubicBezTo>
                  <a:pt x="825" y="1424"/>
                  <a:pt x="825" y="1425"/>
                  <a:pt x="824" y="1426"/>
                </a:cubicBezTo>
                <a:cubicBezTo>
                  <a:pt x="824" y="1427"/>
                  <a:pt x="823" y="1428"/>
                  <a:pt x="823" y="1429"/>
                </a:cubicBezTo>
                <a:cubicBezTo>
                  <a:pt x="823" y="1430"/>
                  <a:pt x="823" y="1431"/>
                  <a:pt x="822" y="1432"/>
                </a:cubicBezTo>
                <a:cubicBezTo>
                  <a:pt x="821" y="1434"/>
                  <a:pt x="821" y="1435"/>
                  <a:pt x="821" y="1436"/>
                </a:cubicBezTo>
                <a:cubicBezTo>
                  <a:pt x="820" y="1437"/>
                  <a:pt x="820" y="1439"/>
                  <a:pt x="819" y="1440"/>
                </a:cubicBezTo>
                <a:cubicBezTo>
                  <a:pt x="818" y="1442"/>
                  <a:pt x="817" y="1444"/>
                  <a:pt x="816" y="1447"/>
                </a:cubicBezTo>
                <a:cubicBezTo>
                  <a:pt x="816" y="1448"/>
                  <a:pt x="815" y="1448"/>
                  <a:pt x="814" y="1449"/>
                </a:cubicBezTo>
                <a:cubicBezTo>
                  <a:pt x="813" y="1450"/>
                  <a:pt x="813" y="1451"/>
                  <a:pt x="812" y="1452"/>
                </a:cubicBezTo>
                <a:cubicBezTo>
                  <a:pt x="810" y="1454"/>
                  <a:pt x="808" y="1455"/>
                  <a:pt x="806" y="1456"/>
                </a:cubicBezTo>
                <a:cubicBezTo>
                  <a:pt x="805" y="1456"/>
                  <a:pt x="805" y="1457"/>
                  <a:pt x="803" y="1457"/>
                </a:cubicBezTo>
                <a:cubicBezTo>
                  <a:pt x="803" y="1457"/>
                  <a:pt x="802" y="1457"/>
                  <a:pt x="801" y="1457"/>
                </a:cubicBezTo>
                <a:cubicBezTo>
                  <a:pt x="801" y="1458"/>
                  <a:pt x="801" y="1458"/>
                  <a:pt x="800" y="1458"/>
                </a:cubicBezTo>
                <a:cubicBezTo>
                  <a:pt x="798" y="1459"/>
                  <a:pt x="797" y="1460"/>
                  <a:pt x="794" y="1459"/>
                </a:cubicBezTo>
                <a:cubicBezTo>
                  <a:pt x="792" y="1458"/>
                  <a:pt x="791" y="1456"/>
                  <a:pt x="788" y="1456"/>
                </a:cubicBezTo>
                <a:cubicBezTo>
                  <a:pt x="787" y="1456"/>
                  <a:pt x="782" y="1457"/>
                  <a:pt x="783" y="1459"/>
                </a:cubicBezTo>
                <a:cubicBezTo>
                  <a:pt x="784" y="1459"/>
                  <a:pt x="786" y="1458"/>
                  <a:pt x="788" y="1457"/>
                </a:cubicBezTo>
                <a:cubicBezTo>
                  <a:pt x="789" y="1457"/>
                  <a:pt x="791" y="1458"/>
                  <a:pt x="793" y="1459"/>
                </a:cubicBezTo>
                <a:cubicBezTo>
                  <a:pt x="793" y="1461"/>
                  <a:pt x="790" y="1460"/>
                  <a:pt x="789" y="1460"/>
                </a:cubicBezTo>
                <a:cubicBezTo>
                  <a:pt x="787" y="1460"/>
                  <a:pt x="787" y="1460"/>
                  <a:pt x="785" y="1461"/>
                </a:cubicBezTo>
                <a:cubicBezTo>
                  <a:pt x="783" y="1461"/>
                  <a:pt x="779" y="1461"/>
                  <a:pt x="777" y="1460"/>
                </a:cubicBezTo>
                <a:cubicBezTo>
                  <a:pt x="776" y="1459"/>
                  <a:pt x="775" y="1458"/>
                  <a:pt x="773" y="1457"/>
                </a:cubicBezTo>
                <a:cubicBezTo>
                  <a:pt x="772" y="1455"/>
                  <a:pt x="770" y="1455"/>
                  <a:pt x="768" y="1453"/>
                </a:cubicBezTo>
                <a:cubicBezTo>
                  <a:pt x="766" y="1451"/>
                  <a:pt x="766" y="1449"/>
                  <a:pt x="762" y="1450"/>
                </a:cubicBezTo>
                <a:cubicBezTo>
                  <a:pt x="760" y="1451"/>
                  <a:pt x="758" y="1452"/>
                  <a:pt x="756" y="1451"/>
                </a:cubicBezTo>
                <a:cubicBezTo>
                  <a:pt x="754" y="1450"/>
                  <a:pt x="754" y="1450"/>
                  <a:pt x="752" y="1450"/>
                </a:cubicBezTo>
                <a:cubicBezTo>
                  <a:pt x="750" y="1450"/>
                  <a:pt x="749" y="1449"/>
                  <a:pt x="748" y="1449"/>
                </a:cubicBezTo>
                <a:cubicBezTo>
                  <a:pt x="745" y="1449"/>
                  <a:pt x="744" y="1449"/>
                  <a:pt x="742" y="1449"/>
                </a:cubicBezTo>
                <a:cubicBezTo>
                  <a:pt x="739" y="1450"/>
                  <a:pt x="737" y="1451"/>
                  <a:pt x="735" y="1452"/>
                </a:cubicBezTo>
                <a:cubicBezTo>
                  <a:pt x="733" y="1453"/>
                  <a:pt x="732" y="1455"/>
                  <a:pt x="730" y="1456"/>
                </a:cubicBezTo>
                <a:cubicBezTo>
                  <a:pt x="727" y="1457"/>
                  <a:pt x="725" y="1457"/>
                  <a:pt x="723" y="1459"/>
                </a:cubicBezTo>
                <a:cubicBezTo>
                  <a:pt x="720" y="1460"/>
                  <a:pt x="718" y="1461"/>
                  <a:pt x="716" y="1462"/>
                </a:cubicBezTo>
                <a:cubicBezTo>
                  <a:pt x="713" y="1463"/>
                  <a:pt x="712" y="1465"/>
                  <a:pt x="709" y="1465"/>
                </a:cubicBezTo>
                <a:cubicBezTo>
                  <a:pt x="706" y="1465"/>
                  <a:pt x="704" y="1463"/>
                  <a:pt x="702" y="1462"/>
                </a:cubicBezTo>
                <a:cubicBezTo>
                  <a:pt x="699" y="1460"/>
                  <a:pt x="697" y="1460"/>
                  <a:pt x="694" y="1460"/>
                </a:cubicBezTo>
                <a:cubicBezTo>
                  <a:pt x="691" y="1460"/>
                  <a:pt x="689" y="1461"/>
                  <a:pt x="686" y="1460"/>
                </a:cubicBezTo>
                <a:cubicBezTo>
                  <a:pt x="685" y="1459"/>
                  <a:pt x="684" y="1459"/>
                  <a:pt x="683" y="1458"/>
                </a:cubicBezTo>
                <a:cubicBezTo>
                  <a:pt x="682" y="1458"/>
                  <a:pt x="681" y="1458"/>
                  <a:pt x="680" y="1457"/>
                </a:cubicBezTo>
                <a:cubicBezTo>
                  <a:pt x="675" y="1456"/>
                  <a:pt x="670" y="1453"/>
                  <a:pt x="666" y="1452"/>
                </a:cubicBezTo>
                <a:cubicBezTo>
                  <a:pt x="663" y="1452"/>
                  <a:pt x="660" y="1452"/>
                  <a:pt x="658" y="1451"/>
                </a:cubicBezTo>
                <a:cubicBezTo>
                  <a:pt x="655" y="1450"/>
                  <a:pt x="653" y="1448"/>
                  <a:pt x="650" y="1448"/>
                </a:cubicBezTo>
                <a:cubicBezTo>
                  <a:pt x="648" y="1448"/>
                  <a:pt x="645" y="1448"/>
                  <a:pt x="642" y="1449"/>
                </a:cubicBezTo>
                <a:cubicBezTo>
                  <a:pt x="640" y="1450"/>
                  <a:pt x="637" y="1451"/>
                  <a:pt x="635" y="1451"/>
                </a:cubicBezTo>
                <a:cubicBezTo>
                  <a:pt x="633" y="1451"/>
                  <a:pt x="632" y="1449"/>
                  <a:pt x="631" y="1448"/>
                </a:cubicBezTo>
                <a:cubicBezTo>
                  <a:pt x="631" y="1447"/>
                  <a:pt x="630" y="1446"/>
                  <a:pt x="630" y="1446"/>
                </a:cubicBezTo>
                <a:cubicBezTo>
                  <a:pt x="629" y="1445"/>
                  <a:pt x="630" y="1444"/>
                  <a:pt x="629" y="1443"/>
                </a:cubicBezTo>
                <a:cubicBezTo>
                  <a:pt x="628" y="1439"/>
                  <a:pt x="623" y="1439"/>
                  <a:pt x="620" y="1439"/>
                </a:cubicBezTo>
                <a:cubicBezTo>
                  <a:pt x="619" y="1439"/>
                  <a:pt x="617" y="1440"/>
                  <a:pt x="616" y="1440"/>
                </a:cubicBezTo>
                <a:cubicBezTo>
                  <a:pt x="615" y="1440"/>
                  <a:pt x="613" y="1439"/>
                  <a:pt x="612" y="1439"/>
                </a:cubicBezTo>
                <a:cubicBezTo>
                  <a:pt x="610" y="1438"/>
                  <a:pt x="608" y="1437"/>
                  <a:pt x="605" y="1436"/>
                </a:cubicBezTo>
                <a:cubicBezTo>
                  <a:pt x="604" y="1436"/>
                  <a:pt x="603" y="1437"/>
                  <a:pt x="601" y="1436"/>
                </a:cubicBezTo>
                <a:cubicBezTo>
                  <a:pt x="600" y="1435"/>
                  <a:pt x="599" y="1435"/>
                  <a:pt x="597" y="1435"/>
                </a:cubicBezTo>
                <a:cubicBezTo>
                  <a:pt x="594" y="1435"/>
                  <a:pt x="591" y="1434"/>
                  <a:pt x="591" y="1431"/>
                </a:cubicBezTo>
                <a:cubicBezTo>
                  <a:pt x="590" y="1429"/>
                  <a:pt x="592" y="1426"/>
                  <a:pt x="590" y="1425"/>
                </a:cubicBezTo>
                <a:cubicBezTo>
                  <a:pt x="589" y="1424"/>
                  <a:pt x="587" y="1424"/>
                  <a:pt x="586" y="1424"/>
                </a:cubicBezTo>
                <a:cubicBezTo>
                  <a:pt x="585" y="1424"/>
                  <a:pt x="584" y="1423"/>
                  <a:pt x="583" y="1423"/>
                </a:cubicBezTo>
                <a:cubicBezTo>
                  <a:pt x="581" y="1422"/>
                  <a:pt x="580" y="1422"/>
                  <a:pt x="579" y="1422"/>
                </a:cubicBezTo>
                <a:cubicBezTo>
                  <a:pt x="577" y="1422"/>
                  <a:pt x="576" y="1421"/>
                  <a:pt x="575" y="1421"/>
                </a:cubicBezTo>
                <a:cubicBezTo>
                  <a:pt x="569" y="1419"/>
                  <a:pt x="564" y="1420"/>
                  <a:pt x="559" y="1422"/>
                </a:cubicBezTo>
                <a:cubicBezTo>
                  <a:pt x="554" y="1424"/>
                  <a:pt x="549" y="1424"/>
                  <a:pt x="544" y="1426"/>
                </a:cubicBezTo>
                <a:cubicBezTo>
                  <a:pt x="538" y="1427"/>
                  <a:pt x="536" y="1432"/>
                  <a:pt x="533" y="1436"/>
                </a:cubicBezTo>
                <a:cubicBezTo>
                  <a:pt x="530" y="1440"/>
                  <a:pt x="526" y="1444"/>
                  <a:pt x="528" y="1449"/>
                </a:cubicBezTo>
                <a:cubicBezTo>
                  <a:pt x="530" y="1454"/>
                  <a:pt x="534" y="1458"/>
                  <a:pt x="531" y="1463"/>
                </a:cubicBezTo>
                <a:cubicBezTo>
                  <a:pt x="530" y="1466"/>
                  <a:pt x="529" y="1467"/>
                  <a:pt x="527" y="1469"/>
                </a:cubicBezTo>
                <a:cubicBezTo>
                  <a:pt x="525" y="1470"/>
                  <a:pt x="523" y="1472"/>
                  <a:pt x="522" y="1474"/>
                </a:cubicBezTo>
                <a:cubicBezTo>
                  <a:pt x="518" y="1477"/>
                  <a:pt x="511" y="1479"/>
                  <a:pt x="507" y="1476"/>
                </a:cubicBezTo>
                <a:cubicBezTo>
                  <a:pt x="505" y="1474"/>
                  <a:pt x="504" y="1473"/>
                  <a:pt x="501" y="1472"/>
                </a:cubicBezTo>
                <a:cubicBezTo>
                  <a:pt x="499" y="1471"/>
                  <a:pt x="498" y="1469"/>
                  <a:pt x="496" y="1468"/>
                </a:cubicBezTo>
                <a:cubicBezTo>
                  <a:pt x="493" y="1466"/>
                  <a:pt x="491" y="1466"/>
                  <a:pt x="488" y="1464"/>
                </a:cubicBezTo>
                <a:cubicBezTo>
                  <a:pt x="487" y="1463"/>
                  <a:pt x="486" y="1462"/>
                  <a:pt x="485" y="1461"/>
                </a:cubicBezTo>
                <a:cubicBezTo>
                  <a:pt x="484" y="1461"/>
                  <a:pt x="483" y="1461"/>
                  <a:pt x="481" y="1460"/>
                </a:cubicBezTo>
                <a:cubicBezTo>
                  <a:pt x="480" y="1460"/>
                  <a:pt x="478" y="1459"/>
                  <a:pt x="477" y="1458"/>
                </a:cubicBezTo>
                <a:cubicBezTo>
                  <a:pt x="475" y="1458"/>
                  <a:pt x="474" y="1458"/>
                  <a:pt x="472" y="1458"/>
                </a:cubicBezTo>
                <a:cubicBezTo>
                  <a:pt x="470" y="1458"/>
                  <a:pt x="468" y="1457"/>
                  <a:pt x="467" y="1456"/>
                </a:cubicBezTo>
                <a:cubicBezTo>
                  <a:pt x="464" y="1456"/>
                  <a:pt x="461" y="1456"/>
                  <a:pt x="459" y="1456"/>
                </a:cubicBezTo>
                <a:cubicBezTo>
                  <a:pt x="454" y="1455"/>
                  <a:pt x="448" y="1454"/>
                  <a:pt x="444" y="1451"/>
                </a:cubicBezTo>
                <a:cubicBezTo>
                  <a:pt x="442" y="1449"/>
                  <a:pt x="440" y="1447"/>
                  <a:pt x="439" y="1445"/>
                </a:cubicBezTo>
                <a:cubicBezTo>
                  <a:pt x="437" y="1442"/>
                  <a:pt x="437" y="1440"/>
                  <a:pt x="437" y="1437"/>
                </a:cubicBezTo>
                <a:cubicBezTo>
                  <a:pt x="437" y="1434"/>
                  <a:pt x="436" y="1432"/>
                  <a:pt x="433" y="1431"/>
                </a:cubicBezTo>
                <a:cubicBezTo>
                  <a:pt x="431" y="1429"/>
                  <a:pt x="428" y="1430"/>
                  <a:pt x="425" y="1429"/>
                </a:cubicBezTo>
                <a:cubicBezTo>
                  <a:pt x="423" y="1429"/>
                  <a:pt x="420" y="1428"/>
                  <a:pt x="418" y="1427"/>
                </a:cubicBezTo>
                <a:cubicBezTo>
                  <a:pt x="416" y="1426"/>
                  <a:pt x="413" y="1424"/>
                  <a:pt x="411" y="1423"/>
                </a:cubicBezTo>
                <a:cubicBezTo>
                  <a:pt x="406" y="1421"/>
                  <a:pt x="400" y="1421"/>
                  <a:pt x="394" y="1421"/>
                </a:cubicBezTo>
                <a:cubicBezTo>
                  <a:pt x="389" y="1421"/>
                  <a:pt x="383" y="1423"/>
                  <a:pt x="378" y="1421"/>
                </a:cubicBezTo>
                <a:cubicBezTo>
                  <a:pt x="375" y="1420"/>
                  <a:pt x="373" y="1418"/>
                  <a:pt x="370" y="1417"/>
                </a:cubicBezTo>
                <a:cubicBezTo>
                  <a:pt x="368" y="1415"/>
                  <a:pt x="366" y="1414"/>
                  <a:pt x="363" y="1414"/>
                </a:cubicBezTo>
                <a:cubicBezTo>
                  <a:pt x="361" y="1414"/>
                  <a:pt x="359" y="1414"/>
                  <a:pt x="357" y="1413"/>
                </a:cubicBezTo>
                <a:cubicBezTo>
                  <a:pt x="356" y="1413"/>
                  <a:pt x="355" y="1413"/>
                  <a:pt x="355" y="1412"/>
                </a:cubicBezTo>
                <a:cubicBezTo>
                  <a:pt x="354" y="1411"/>
                  <a:pt x="354" y="1410"/>
                  <a:pt x="354" y="1409"/>
                </a:cubicBezTo>
                <a:cubicBezTo>
                  <a:pt x="354" y="1407"/>
                  <a:pt x="354" y="1404"/>
                  <a:pt x="351" y="1404"/>
                </a:cubicBezTo>
                <a:cubicBezTo>
                  <a:pt x="349" y="1404"/>
                  <a:pt x="349" y="1408"/>
                  <a:pt x="346" y="1407"/>
                </a:cubicBezTo>
                <a:cubicBezTo>
                  <a:pt x="346" y="1406"/>
                  <a:pt x="348" y="1402"/>
                  <a:pt x="345" y="1402"/>
                </a:cubicBezTo>
                <a:cubicBezTo>
                  <a:pt x="344" y="1402"/>
                  <a:pt x="342" y="1403"/>
                  <a:pt x="340" y="1403"/>
                </a:cubicBezTo>
                <a:cubicBezTo>
                  <a:pt x="339" y="1402"/>
                  <a:pt x="338" y="1401"/>
                  <a:pt x="337" y="1400"/>
                </a:cubicBezTo>
                <a:cubicBezTo>
                  <a:pt x="336" y="1399"/>
                  <a:pt x="335" y="1399"/>
                  <a:pt x="334" y="1398"/>
                </a:cubicBezTo>
                <a:cubicBezTo>
                  <a:pt x="333" y="1396"/>
                  <a:pt x="333" y="1392"/>
                  <a:pt x="334" y="1390"/>
                </a:cubicBezTo>
                <a:cubicBezTo>
                  <a:pt x="335" y="1390"/>
                  <a:pt x="337" y="1390"/>
                  <a:pt x="338" y="1388"/>
                </a:cubicBezTo>
                <a:cubicBezTo>
                  <a:pt x="338" y="1388"/>
                  <a:pt x="339" y="1387"/>
                  <a:pt x="340" y="1386"/>
                </a:cubicBezTo>
                <a:cubicBezTo>
                  <a:pt x="342" y="1384"/>
                  <a:pt x="345" y="1384"/>
                  <a:pt x="346" y="1382"/>
                </a:cubicBezTo>
                <a:cubicBezTo>
                  <a:pt x="348" y="1380"/>
                  <a:pt x="349" y="1377"/>
                  <a:pt x="350" y="1375"/>
                </a:cubicBezTo>
                <a:cubicBezTo>
                  <a:pt x="351" y="1373"/>
                  <a:pt x="353" y="1372"/>
                  <a:pt x="354" y="1370"/>
                </a:cubicBezTo>
                <a:cubicBezTo>
                  <a:pt x="356" y="1368"/>
                  <a:pt x="353" y="1366"/>
                  <a:pt x="353" y="1363"/>
                </a:cubicBezTo>
                <a:cubicBezTo>
                  <a:pt x="353" y="1362"/>
                  <a:pt x="353" y="1361"/>
                  <a:pt x="352" y="1360"/>
                </a:cubicBezTo>
                <a:cubicBezTo>
                  <a:pt x="351" y="1359"/>
                  <a:pt x="350" y="1359"/>
                  <a:pt x="348" y="1358"/>
                </a:cubicBezTo>
                <a:cubicBezTo>
                  <a:pt x="347" y="1357"/>
                  <a:pt x="346" y="1355"/>
                  <a:pt x="344" y="1354"/>
                </a:cubicBezTo>
                <a:cubicBezTo>
                  <a:pt x="342" y="1351"/>
                  <a:pt x="341" y="1346"/>
                  <a:pt x="343" y="1343"/>
                </a:cubicBezTo>
                <a:cubicBezTo>
                  <a:pt x="344" y="1341"/>
                  <a:pt x="347" y="1341"/>
                  <a:pt x="349" y="1339"/>
                </a:cubicBezTo>
                <a:cubicBezTo>
                  <a:pt x="351" y="1337"/>
                  <a:pt x="352" y="1335"/>
                  <a:pt x="353" y="1333"/>
                </a:cubicBezTo>
                <a:cubicBezTo>
                  <a:pt x="354" y="1330"/>
                  <a:pt x="355" y="1329"/>
                  <a:pt x="353" y="1326"/>
                </a:cubicBezTo>
                <a:cubicBezTo>
                  <a:pt x="351" y="1324"/>
                  <a:pt x="349" y="1329"/>
                  <a:pt x="348" y="1330"/>
                </a:cubicBezTo>
                <a:cubicBezTo>
                  <a:pt x="347" y="1331"/>
                  <a:pt x="346" y="1331"/>
                  <a:pt x="344" y="1331"/>
                </a:cubicBezTo>
                <a:cubicBezTo>
                  <a:pt x="343" y="1332"/>
                  <a:pt x="343" y="1333"/>
                  <a:pt x="342" y="1334"/>
                </a:cubicBezTo>
                <a:cubicBezTo>
                  <a:pt x="341" y="1334"/>
                  <a:pt x="340" y="1335"/>
                  <a:pt x="339" y="1334"/>
                </a:cubicBezTo>
                <a:cubicBezTo>
                  <a:pt x="337" y="1333"/>
                  <a:pt x="338" y="1332"/>
                  <a:pt x="338" y="1331"/>
                </a:cubicBezTo>
                <a:cubicBezTo>
                  <a:pt x="339" y="1327"/>
                  <a:pt x="332" y="1318"/>
                  <a:pt x="329" y="1324"/>
                </a:cubicBezTo>
                <a:cubicBezTo>
                  <a:pt x="327" y="1325"/>
                  <a:pt x="327" y="1320"/>
                  <a:pt x="324" y="1321"/>
                </a:cubicBezTo>
                <a:cubicBezTo>
                  <a:pt x="323" y="1321"/>
                  <a:pt x="322" y="1322"/>
                  <a:pt x="321" y="1323"/>
                </a:cubicBezTo>
                <a:cubicBezTo>
                  <a:pt x="320" y="1323"/>
                  <a:pt x="319" y="1323"/>
                  <a:pt x="317" y="1323"/>
                </a:cubicBezTo>
                <a:cubicBezTo>
                  <a:pt x="316" y="1324"/>
                  <a:pt x="314" y="1325"/>
                  <a:pt x="312" y="1326"/>
                </a:cubicBezTo>
                <a:cubicBezTo>
                  <a:pt x="310" y="1327"/>
                  <a:pt x="309" y="1329"/>
                  <a:pt x="307" y="1329"/>
                </a:cubicBezTo>
                <a:cubicBezTo>
                  <a:pt x="304" y="1330"/>
                  <a:pt x="301" y="1330"/>
                  <a:pt x="299" y="1330"/>
                </a:cubicBezTo>
                <a:cubicBezTo>
                  <a:pt x="297" y="1330"/>
                  <a:pt x="296" y="1330"/>
                  <a:pt x="295" y="1330"/>
                </a:cubicBezTo>
                <a:cubicBezTo>
                  <a:pt x="293" y="1331"/>
                  <a:pt x="292" y="1331"/>
                  <a:pt x="291" y="1331"/>
                </a:cubicBezTo>
                <a:cubicBezTo>
                  <a:pt x="288" y="1331"/>
                  <a:pt x="287" y="1329"/>
                  <a:pt x="285" y="1328"/>
                </a:cubicBezTo>
                <a:cubicBezTo>
                  <a:pt x="283" y="1327"/>
                  <a:pt x="281" y="1327"/>
                  <a:pt x="279" y="1327"/>
                </a:cubicBezTo>
                <a:cubicBezTo>
                  <a:pt x="277" y="1328"/>
                  <a:pt x="275" y="1330"/>
                  <a:pt x="273" y="1330"/>
                </a:cubicBezTo>
                <a:cubicBezTo>
                  <a:pt x="271" y="1331"/>
                  <a:pt x="270" y="1330"/>
                  <a:pt x="269" y="1330"/>
                </a:cubicBezTo>
                <a:cubicBezTo>
                  <a:pt x="268" y="1329"/>
                  <a:pt x="266" y="1329"/>
                  <a:pt x="265" y="1329"/>
                </a:cubicBezTo>
                <a:cubicBezTo>
                  <a:pt x="262" y="1328"/>
                  <a:pt x="261" y="1325"/>
                  <a:pt x="259" y="1329"/>
                </a:cubicBezTo>
                <a:cubicBezTo>
                  <a:pt x="258" y="1331"/>
                  <a:pt x="255" y="1332"/>
                  <a:pt x="252" y="1332"/>
                </a:cubicBezTo>
                <a:cubicBezTo>
                  <a:pt x="250" y="1332"/>
                  <a:pt x="249" y="1333"/>
                  <a:pt x="246" y="1334"/>
                </a:cubicBezTo>
                <a:cubicBezTo>
                  <a:pt x="244" y="1336"/>
                  <a:pt x="241" y="1337"/>
                  <a:pt x="238" y="1336"/>
                </a:cubicBezTo>
                <a:cubicBezTo>
                  <a:pt x="236" y="1335"/>
                  <a:pt x="234" y="1333"/>
                  <a:pt x="232" y="1333"/>
                </a:cubicBezTo>
                <a:cubicBezTo>
                  <a:pt x="227" y="1332"/>
                  <a:pt x="223" y="1331"/>
                  <a:pt x="219" y="1331"/>
                </a:cubicBezTo>
                <a:cubicBezTo>
                  <a:pt x="214" y="1331"/>
                  <a:pt x="210" y="1331"/>
                  <a:pt x="206" y="1333"/>
                </a:cubicBezTo>
                <a:cubicBezTo>
                  <a:pt x="203" y="1334"/>
                  <a:pt x="200" y="1335"/>
                  <a:pt x="198" y="1334"/>
                </a:cubicBezTo>
                <a:cubicBezTo>
                  <a:pt x="196" y="1333"/>
                  <a:pt x="195" y="1333"/>
                  <a:pt x="193" y="1333"/>
                </a:cubicBezTo>
                <a:cubicBezTo>
                  <a:pt x="191" y="1335"/>
                  <a:pt x="188" y="1336"/>
                  <a:pt x="186" y="1337"/>
                </a:cubicBezTo>
                <a:cubicBezTo>
                  <a:pt x="183" y="1339"/>
                  <a:pt x="181" y="1338"/>
                  <a:pt x="178" y="1338"/>
                </a:cubicBezTo>
                <a:cubicBezTo>
                  <a:pt x="175" y="1337"/>
                  <a:pt x="173" y="1338"/>
                  <a:pt x="170" y="1339"/>
                </a:cubicBezTo>
                <a:cubicBezTo>
                  <a:pt x="167" y="1339"/>
                  <a:pt x="165" y="1339"/>
                  <a:pt x="162" y="1340"/>
                </a:cubicBezTo>
                <a:cubicBezTo>
                  <a:pt x="159" y="1340"/>
                  <a:pt x="157" y="1342"/>
                  <a:pt x="155" y="1342"/>
                </a:cubicBezTo>
                <a:cubicBezTo>
                  <a:pt x="152" y="1343"/>
                  <a:pt x="149" y="1343"/>
                  <a:pt x="147" y="1344"/>
                </a:cubicBezTo>
                <a:cubicBezTo>
                  <a:pt x="145" y="1345"/>
                  <a:pt x="142" y="1347"/>
                  <a:pt x="140" y="1348"/>
                </a:cubicBezTo>
                <a:cubicBezTo>
                  <a:pt x="138" y="1350"/>
                  <a:pt x="135" y="1356"/>
                  <a:pt x="133" y="1356"/>
                </a:cubicBezTo>
                <a:cubicBezTo>
                  <a:pt x="131" y="1356"/>
                  <a:pt x="131" y="1354"/>
                  <a:pt x="130" y="1353"/>
                </a:cubicBezTo>
                <a:cubicBezTo>
                  <a:pt x="127" y="1352"/>
                  <a:pt x="125" y="1354"/>
                  <a:pt x="123" y="1355"/>
                </a:cubicBezTo>
                <a:cubicBezTo>
                  <a:pt x="121" y="1357"/>
                  <a:pt x="118" y="1357"/>
                  <a:pt x="116" y="1358"/>
                </a:cubicBezTo>
                <a:cubicBezTo>
                  <a:pt x="111" y="1359"/>
                  <a:pt x="110" y="1366"/>
                  <a:pt x="105" y="1368"/>
                </a:cubicBezTo>
                <a:cubicBezTo>
                  <a:pt x="102" y="1369"/>
                  <a:pt x="100" y="1368"/>
                  <a:pt x="97" y="1369"/>
                </a:cubicBezTo>
                <a:cubicBezTo>
                  <a:pt x="94" y="1370"/>
                  <a:pt x="93" y="1372"/>
                  <a:pt x="90" y="1371"/>
                </a:cubicBezTo>
                <a:cubicBezTo>
                  <a:pt x="87" y="1370"/>
                  <a:pt x="85" y="1369"/>
                  <a:pt x="83" y="1369"/>
                </a:cubicBezTo>
                <a:cubicBezTo>
                  <a:pt x="82" y="1368"/>
                  <a:pt x="79" y="1368"/>
                  <a:pt x="78" y="1368"/>
                </a:cubicBezTo>
                <a:cubicBezTo>
                  <a:pt x="77" y="1367"/>
                  <a:pt x="78" y="1365"/>
                  <a:pt x="77" y="1365"/>
                </a:cubicBezTo>
                <a:cubicBezTo>
                  <a:pt x="76" y="1364"/>
                  <a:pt x="74" y="1365"/>
                  <a:pt x="73" y="1365"/>
                </a:cubicBezTo>
                <a:cubicBezTo>
                  <a:pt x="70" y="1366"/>
                  <a:pt x="68" y="1367"/>
                  <a:pt x="65" y="1368"/>
                </a:cubicBezTo>
                <a:cubicBezTo>
                  <a:pt x="63" y="1368"/>
                  <a:pt x="60" y="1369"/>
                  <a:pt x="58" y="1369"/>
                </a:cubicBezTo>
                <a:cubicBezTo>
                  <a:pt x="56" y="1369"/>
                  <a:pt x="53" y="1369"/>
                  <a:pt x="51" y="1369"/>
                </a:cubicBezTo>
                <a:cubicBezTo>
                  <a:pt x="50" y="1369"/>
                  <a:pt x="48" y="1369"/>
                  <a:pt x="47" y="1369"/>
                </a:cubicBezTo>
                <a:cubicBezTo>
                  <a:pt x="46" y="1369"/>
                  <a:pt x="45" y="1369"/>
                  <a:pt x="44" y="1369"/>
                </a:cubicBezTo>
                <a:cubicBezTo>
                  <a:pt x="43" y="1368"/>
                  <a:pt x="42" y="1367"/>
                  <a:pt x="42" y="1367"/>
                </a:cubicBezTo>
                <a:cubicBezTo>
                  <a:pt x="40" y="1366"/>
                  <a:pt x="39" y="1365"/>
                  <a:pt x="37" y="1365"/>
                </a:cubicBezTo>
                <a:cubicBezTo>
                  <a:pt x="34" y="1363"/>
                  <a:pt x="34" y="1359"/>
                  <a:pt x="31" y="1357"/>
                </a:cubicBezTo>
                <a:cubicBezTo>
                  <a:pt x="30" y="1356"/>
                  <a:pt x="30" y="1355"/>
                  <a:pt x="31" y="1354"/>
                </a:cubicBezTo>
                <a:cubicBezTo>
                  <a:pt x="32" y="1352"/>
                  <a:pt x="30" y="1353"/>
                  <a:pt x="29" y="1353"/>
                </a:cubicBezTo>
                <a:cubicBezTo>
                  <a:pt x="27" y="1353"/>
                  <a:pt x="27" y="1353"/>
                  <a:pt x="26" y="1354"/>
                </a:cubicBezTo>
                <a:cubicBezTo>
                  <a:pt x="25" y="1355"/>
                  <a:pt x="25" y="1355"/>
                  <a:pt x="24" y="1355"/>
                </a:cubicBezTo>
                <a:cubicBezTo>
                  <a:pt x="22" y="1355"/>
                  <a:pt x="19" y="1355"/>
                  <a:pt x="18" y="1357"/>
                </a:cubicBezTo>
                <a:cubicBezTo>
                  <a:pt x="18" y="1357"/>
                  <a:pt x="18" y="1359"/>
                  <a:pt x="17" y="1360"/>
                </a:cubicBezTo>
                <a:cubicBezTo>
                  <a:pt x="17" y="1362"/>
                  <a:pt x="15" y="1364"/>
                  <a:pt x="14" y="1366"/>
                </a:cubicBezTo>
                <a:cubicBezTo>
                  <a:pt x="13" y="1368"/>
                  <a:pt x="13" y="1371"/>
                  <a:pt x="12" y="1373"/>
                </a:cubicBezTo>
                <a:cubicBezTo>
                  <a:pt x="11" y="1375"/>
                  <a:pt x="10" y="1377"/>
                  <a:pt x="9" y="1380"/>
                </a:cubicBezTo>
                <a:cubicBezTo>
                  <a:pt x="8" y="1382"/>
                  <a:pt x="7" y="1384"/>
                  <a:pt x="6" y="1387"/>
                </a:cubicBezTo>
                <a:cubicBezTo>
                  <a:pt x="4" y="1390"/>
                  <a:pt x="3" y="1393"/>
                  <a:pt x="0" y="1395"/>
                </a:cubicBezTo>
                <a:cubicBezTo>
                  <a:pt x="0" y="2001"/>
                  <a:pt x="0" y="2001"/>
                  <a:pt x="0" y="2001"/>
                </a:cubicBezTo>
                <a:cubicBezTo>
                  <a:pt x="1" y="2001"/>
                  <a:pt x="1" y="2000"/>
                  <a:pt x="2" y="2000"/>
                </a:cubicBezTo>
                <a:cubicBezTo>
                  <a:pt x="5" y="1999"/>
                  <a:pt x="8" y="1999"/>
                  <a:pt x="11" y="1998"/>
                </a:cubicBezTo>
                <a:cubicBezTo>
                  <a:pt x="12" y="1997"/>
                  <a:pt x="13" y="1996"/>
                  <a:pt x="15" y="1995"/>
                </a:cubicBezTo>
                <a:cubicBezTo>
                  <a:pt x="16" y="1995"/>
                  <a:pt x="17" y="1994"/>
                  <a:pt x="19" y="1994"/>
                </a:cubicBezTo>
                <a:cubicBezTo>
                  <a:pt x="22" y="1993"/>
                  <a:pt x="24" y="1992"/>
                  <a:pt x="27" y="1992"/>
                </a:cubicBezTo>
                <a:cubicBezTo>
                  <a:pt x="30" y="1992"/>
                  <a:pt x="32" y="1992"/>
                  <a:pt x="35" y="1992"/>
                </a:cubicBezTo>
                <a:cubicBezTo>
                  <a:pt x="35" y="1992"/>
                  <a:pt x="36" y="1991"/>
                  <a:pt x="37" y="1991"/>
                </a:cubicBezTo>
                <a:cubicBezTo>
                  <a:pt x="38" y="1991"/>
                  <a:pt x="39" y="1991"/>
                  <a:pt x="41" y="1991"/>
                </a:cubicBezTo>
                <a:cubicBezTo>
                  <a:pt x="44" y="1991"/>
                  <a:pt x="47" y="1991"/>
                  <a:pt x="50" y="1990"/>
                </a:cubicBezTo>
                <a:cubicBezTo>
                  <a:pt x="51" y="1990"/>
                  <a:pt x="52" y="1990"/>
                  <a:pt x="54" y="1990"/>
                </a:cubicBezTo>
                <a:cubicBezTo>
                  <a:pt x="56" y="1990"/>
                  <a:pt x="57" y="1989"/>
                  <a:pt x="58" y="1989"/>
                </a:cubicBezTo>
                <a:cubicBezTo>
                  <a:pt x="60" y="1990"/>
                  <a:pt x="61" y="1990"/>
                  <a:pt x="62" y="1990"/>
                </a:cubicBezTo>
                <a:cubicBezTo>
                  <a:pt x="64" y="1991"/>
                  <a:pt x="65" y="1991"/>
                  <a:pt x="66" y="1991"/>
                </a:cubicBezTo>
                <a:cubicBezTo>
                  <a:pt x="68" y="1992"/>
                  <a:pt x="70" y="1992"/>
                  <a:pt x="71" y="1992"/>
                </a:cubicBezTo>
                <a:cubicBezTo>
                  <a:pt x="73" y="1992"/>
                  <a:pt x="74" y="1992"/>
                  <a:pt x="75" y="1993"/>
                </a:cubicBezTo>
                <a:cubicBezTo>
                  <a:pt x="76" y="1993"/>
                  <a:pt x="77" y="1993"/>
                  <a:pt x="78" y="1994"/>
                </a:cubicBezTo>
                <a:cubicBezTo>
                  <a:pt x="79" y="1994"/>
                  <a:pt x="80" y="1994"/>
                  <a:pt x="81" y="1994"/>
                </a:cubicBezTo>
                <a:cubicBezTo>
                  <a:pt x="81" y="1995"/>
                  <a:pt x="82" y="1995"/>
                  <a:pt x="83" y="1996"/>
                </a:cubicBezTo>
                <a:cubicBezTo>
                  <a:pt x="84" y="1996"/>
                  <a:pt x="84" y="1996"/>
                  <a:pt x="85" y="1996"/>
                </a:cubicBezTo>
                <a:cubicBezTo>
                  <a:pt x="86" y="1996"/>
                  <a:pt x="87" y="1997"/>
                  <a:pt x="89" y="1997"/>
                </a:cubicBezTo>
                <a:cubicBezTo>
                  <a:pt x="89" y="1998"/>
                  <a:pt x="90" y="1998"/>
                  <a:pt x="91" y="1998"/>
                </a:cubicBezTo>
                <a:cubicBezTo>
                  <a:pt x="91" y="1998"/>
                  <a:pt x="92" y="1998"/>
                  <a:pt x="93" y="1999"/>
                </a:cubicBezTo>
                <a:cubicBezTo>
                  <a:pt x="94" y="1999"/>
                  <a:pt x="95" y="1999"/>
                  <a:pt x="97" y="1999"/>
                </a:cubicBezTo>
                <a:cubicBezTo>
                  <a:pt x="99" y="1998"/>
                  <a:pt x="101" y="1996"/>
                  <a:pt x="103" y="1994"/>
                </a:cubicBezTo>
                <a:cubicBezTo>
                  <a:pt x="104" y="1993"/>
                  <a:pt x="106" y="1994"/>
                  <a:pt x="107" y="1993"/>
                </a:cubicBezTo>
                <a:cubicBezTo>
                  <a:pt x="108" y="1992"/>
                  <a:pt x="110" y="1992"/>
                  <a:pt x="111" y="1991"/>
                </a:cubicBezTo>
                <a:cubicBezTo>
                  <a:pt x="114" y="1991"/>
                  <a:pt x="117" y="1991"/>
                  <a:pt x="120" y="1990"/>
                </a:cubicBezTo>
                <a:cubicBezTo>
                  <a:pt x="120" y="1990"/>
                  <a:pt x="121" y="1989"/>
                  <a:pt x="122" y="1989"/>
                </a:cubicBezTo>
                <a:cubicBezTo>
                  <a:pt x="123" y="1988"/>
                  <a:pt x="123" y="1988"/>
                  <a:pt x="124" y="1988"/>
                </a:cubicBezTo>
                <a:cubicBezTo>
                  <a:pt x="126" y="1987"/>
                  <a:pt x="127" y="1986"/>
                  <a:pt x="128" y="1985"/>
                </a:cubicBezTo>
                <a:cubicBezTo>
                  <a:pt x="130" y="1984"/>
                  <a:pt x="131" y="1983"/>
                  <a:pt x="133" y="1982"/>
                </a:cubicBezTo>
                <a:cubicBezTo>
                  <a:pt x="134" y="1981"/>
                  <a:pt x="135" y="1981"/>
                  <a:pt x="137" y="1981"/>
                </a:cubicBezTo>
                <a:cubicBezTo>
                  <a:pt x="138" y="1981"/>
                  <a:pt x="140" y="1980"/>
                  <a:pt x="141" y="1980"/>
                </a:cubicBezTo>
                <a:cubicBezTo>
                  <a:pt x="143" y="1979"/>
                  <a:pt x="145" y="1978"/>
                  <a:pt x="147" y="1978"/>
                </a:cubicBezTo>
                <a:cubicBezTo>
                  <a:pt x="147" y="1978"/>
                  <a:pt x="148" y="1978"/>
                  <a:pt x="148" y="1977"/>
                </a:cubicBezTo>
                <a:cubicBezTo>
                  <a:pt x="148" y="1977"/>
                  <a:pt x="147" y="1977"/>
                  <a:pt x="146" y="1977"/>
                </a:cubicBezTo>
                <a:cubicBezTo>
                  <a:pt x="145" y="1977"/>
                  <a:pt x="145" y="1977"/>
                  <a:pt x="145" y="1976"/>
                </a:cubicBezTo>
                <a:cubicBezTo>
                  <a:pt x="146" y="1975"/>
                  <a:pt x="146" y="1975"/>
                  <a:pt x="145" y="1975"/>
                </a:cubicBezTo>
                <a:cubicBezTo>
                  <a:pt x="144" y="1975"/>
                  <a:pt x="143" y="1975"/>
                  <a:pt x="143" y="1974"/>
                </a:cubicBezTo>
                <a:cubicBezTo>
                  <a:pt x="142" y="1973"/>
                  <a:pt x="143" y="1973"/>
                  <a:pt x="144" y="1973"/>
                </a:cubicBezTo>
                <a:cubicBezTo>
                  <a:pt x="145" y="1973"/>
                  <a:pt x="146" y="1974"/>
                  <a:pt x="147" y="1975"/>
                </a:cubicBezTo>
                <a:cubicBezTo>
                  <a:pt x="147" y="1975"/>
                  <a:pt x="148" y="1976"/>
                  <a:pt x="148" y="1976"/>
                </a:cubicBezTo>
                <a:cubicBezTo>
                  <a:pt x="149" y="1977"/>
                  <a:pt x="148" y="1977"/>
                  <a:pt x="148" y="1978"/>
                </a:cubicBezTo>
                <a:cubicBezTo>
                  <a:pt x="149" y="1979"/>
                  <a:pt x="151" y="1979"/>
                  <a:pt x="152" y="1979"/>
                </a:cubicBezTo>
                <a:cubicBezTo>
                  <a:pt x="153" y="1979"/>
                  <a:pt x="155" y="1978"/>
                  <a:pt x="156" y="1977"/>
                </a:cubicBezTo>
                <a:cubicBezTo>
                  <a:pt x="157" y="1976"/>
                  <a:pt x="157" y="1975"/>
                  <a:pt x="157" y="1975"/>
                </a:cubicBezTo>
                <a:cubicBezTo>
                  <a:pt x="158" y="1974"/>
                  <a:pt x="159" y="1973"/>
                  <a:pt x="159" y="1972"/>
                </a:cubicBezTo>
                <a:cubicBezTo>
                  <a:pt x="160" y="1971"/>
                  <a:pt x="162" y="1971"/>
                  <a:pt x="163" y="1970"/>
                </a:cubicBezTo>
                <a:cubicBezTo>
                  <a:pt x="164" y="1970"/>
                  <a:pt x="165" y="1970"/>
                  <a:pt x="166" y="1970"/>
                </a:cubicBezTo>
                <a:cubicBezTo>
                  <a:pt x="166" y="1970"/>
                  <a:pt x="167" y="1970"/>
                  <a:pt x="168" y="1970"/>
                </a:cubicBezTo>
                <a:cubicBezTo>
                  <a:pt x="169" y="1970"/>
                  <a:pt x="171" y="1970"/>
                  <a:pt x="172" y="1969"/>
                </a:cubicBezTo>
                <a:cubicBezTo>
                  <a:pt x="172" y="1969"/>
                  <a:pt x="173" y="1969"/>
                  <a:pt x="174" y="1969"/>
                </a:cubicBezTo>
                <a:cubicBezTo>
                  <a:pt x="174" y="1969"/>
                  <a:pt x="175" y="1969"/>
                  <a:pt x="176" y="1969"/>
                </a:cubicBezTo>
                <a:cubicBezTo>
                  <a:pt x="176" y="1969"/>
                  <a:pt x="177" y="1968"/>
                  <a:pt x="177" y="1968"/>
                </a:cubicBezTo>
                <a:cubicBezTo>
                  <a:pt x="178" y="1968"/>
                  <a:pt x="178" y="1968"/>
                  <a:pt x="179" y="1968"/>
                </a:cubicBezTo>
                <a:cubicBezTo>
                  <a:pt x="180" y="1968"/>
                  <a:pt x="181" y="1968"/>
                  <a:pt x="182" y="1968"/>
                </a:cubicBezTo>
                <a:cubicBezTo>
                  <a:pt x="184" y="1968"/>
                  <a:pt x="186" y="1968"/>
                  <a:pt x="188" y="1968"/>
                </a:cubicBezTo>
                <a:cubicBezTo>
                  <a:pt x="189" y="1968"/>
                  <a:pt x="191" y="1967"/>
                  <a:pt x="192" y="1967"/>
                </a:cubicBezTo>
                <a:cubicBezTo>
                  <a:pt x="194" y="1967"/>
                  <a:pt x="195" y="1967"/>
                  <a:pt x="196" y="1967"/>
                </a:cubicBezTo>
                <a:cubicBezTo>
                  <a:pt x="198" y="1967"/>
                  <a:pt x="199" y="1967"/>
                  <a:pt x="201" y="1967"/>
                </a:cubicBezTo>
                <a:cubicBezTo>
                  <a:pt x="202" y="1966"/>
                  <a:pt x="203" y="1966"/>
                  <a:pt x="204" y="1965"/>
                </a:cubicBezTo>
                <a:cubicBezTo>
                  <a:pt x="205" y="1965"/>
                  <a:pt x="206" y="1965"/>
                  <a:pt x="206" y="1965"/>
                </a:cubicBezTo>
                <a:cubicBezTo>
                  <a:pt x="207" y="1965"/>
                  <a:pt x="207" y="1965"/>
                  <a:pt x="208" y="1965"/>
                </a:cubicBezTo>
                <a:cubicBezTo>
                  <a:pt x="211" y="1966"/>
                  <a:pt x="214" y="1965"/>
                  <a:pt x="217" y="1966"/>
                </a:cubicBezTo>
                <a:cubicBezTo>
                  <a:pt x="218" y="1966"/>
                  <a:pt x="219" y="1966"/>
                  <a:pt x="221" y="1967"/>
                </a:cubicBezTo>
                <a:cubicBezTo>
                  <a:pt x="222" y="1967"/>
                  <a:pt x="223" y="1968"/>
                  <a:pt x="225" y="1969"/>
                </a:cubicBezTo>
                <a:cubicBezTo>
                  <a:pt x="227" y="1971"/>
                  <a:pt x="230" y="1972"/>
                  <a:pt x="231" y="1975"/>
                </a:cubicBezTo>
                <a:cubicBezTo>
                  <a:pt x="232" y="1975"/>
                  <a:pt x="232" y="1976"/>
                  <a:pt x="233" y="1977"/>
                </a:cubicBezTo>
                <a:cubicBezTo>
                  <a:pt x="234" y="1978"/>
                  <a:pt x="234" y="1978"/>
                  <a:pt x="235" y="1978"/>
                </a:cubicBezTo>
                <a:cubicBezTo>
                  <a:pt x="236" y="1979"/>
                  <a:pt x="236" y="1980"/>
                  <a:pt x="237" y="1980"/>
                </a:cubicBezTo>
                <a:cubicBezTo>
                  <a:pt x="237" y="1981"/>
                  <a:pt x="238" y="1981"/>
                  <a:pt x="239" y="1981"/>
                </a:cubicBezTo>
                <a:cubicBezTo>
                  <a:pt x="240" y="1981"/>
                  <a:pt x="241" y="1980"/>
                  <a:pt x="241" y="1981"/>
                </a:cubicBezTo>
                <a:cubicBezTo>
                  <a:pt x="242" y="1982"/>
                  <a:pt x="240" y="1982"/>
                  <a:pt x="240" y="1982"/>
                </a:cubicBezTo>
                <a:cubicBezTo>
                  <a:pt x="239" y="1982"/>
                  <a:pt x="239" y="1982"/>
                  <a:pt x="238" y="1982"/>
                </a:cubicBezTo>
                <a:cubicBezTo>
                  <a:pt x="236" y="1983"/>
                  <a:pt x="239" y="1984"/>
                  <a:pt x="240" y="1984"/>
                </a:cubicBezTo>
                <a:cubicBezTo>
                  <a:pt x="240" y="1985"/>
                  <a:pt x="240" y="1986"/>
                  <a:pt x="241" y="1986"/>
                </a:cubicBezTo>
                <a:cubicBezTo>
                  <a:pt x="241" y="1986"/>
                  <a:pt x="242" y="1986"/>
                  <a:pt x="243" y="1985"/>
                </a:cubicBezTo>
                <a:cubicBezTo>
                  <a:pt x="243" y="1985"/>
                  <a:pt x="244" y="1984"/>
                  <a:pt x="245" y="1985"/>
                </a:cubicBezTo>
                <a:cubicBezTo>
                  <a:pt x="245" y="1985"/>
                  <a:pt x="245" y="1986"/>
                  <a:pt x="245" y="1986"/>
                </a:cubicBezTo>
                <a:cubicBezTo>
                  <a:pt x="244" y="1988"/>
                  <a:pt x="242" y="1988"/>
                  <a:pt x="242" y="1990"/>
                </a:cubicBezTo>
                <a:cubicBezTo>
                  <a:pt x="242" y="1991"/>
                  <a:pt x="243" y="1991"/>
                  <a:pt x="243" y="1992"/>
                </a:cubicBezTo>
                <a:cubicBezTo>
                  <a:pt x="244" y="1992"/>
                  <a:pt x="244" y="1993"/>
                  <a:pt x="244" y="1994"/>
                </a:cubicBezTo>
                <a:cubicBezTo>
                  <a:pt x="244" y="1995"/>
                  <a:pt x="244" y="1996"/>
                  <a:pt x="245" y="1998"/>
                </a:cubicBezTo>
                <a:cubicBezTo>
                  <a:pt x="245" y="1999"/>
                  <a:pt x="245" y="2000"/>
                  <a:pt x="246" y="2001"/>
                </a:cubicBezTo>
                <a:cubicBezTo>
                  <a:pt x="247" y="2003"/>
                  <a:pt x="248" y="2003"/>
                  <a:pt x="249" y="2004"/>
                </a:cubicBezTo>
                <a:cubicBezTo>
                  <a:pt x="250" y="2005"/>
                  <a:pt x="251" y="2006"/>
                  <a:pt x="252" y="2007"/>
                </a:cubicBezTo>
                <a:cubicBezTo>
                  <a:pt x="253" y="2008"/>
                  <a:pt x="254" y="2008"/>
                  <a:pt x="256" y="2008"/>
                </a:cubicBezTo>
                <a:cubicBezTo>
                  <a:pt x="256" y="2008"/>
                  <a:pt x="257" y="2009"/>
                  <a:pt x="258" y="2008"/>
                </a:cubicBezTo>
                <a:cubicBezTo>
                  <a:pt x="258" y="2008"/>
                  <a:pt x="258" y="2007"/>
                  <a:pt x="259" y="2007"/>
                </a:cubicBezTo>
                <a:cubicBezTo>
                  <a:pt x="260" y="2008"/>
                  <a:pt x="260" y="2008"/>
                  <a:pt x="261" y="2008"/>
                </a:cubicBezTo>
                <a:cubicBezTo>
                  <a:pt x="262" y="2008"/>
                  <a:pt x="262" y="2008"/>
                  <a:pt x="263" y="2007"/>
                </a:cubicBezTo>
                <a:cubicBezTo>
                  <a:pt x="264" y="2007"/>
                  <a:pt x="264" y="2004"/>
                  <a:pt x="265" y="2004"/>
                </a:cubicBezTo>
                <a:cubicBezTo>
                  <a:pt x="266" y="2004"/>
                  <a:pt x="267" y="2007"/>
                  <a:pt x="268" y="2006"/>
                </a:cubicBezTo>
                <a:cubicBezTo>
                  <a:pt x="268" y="2006"/>
                  <a:pt x="268" y="2005"/>
                  <a:pt x="268" y="2005"/>
                </a:cubicBezTo>
                <a:cubicBezTo>
                  <a:pt x="269" y="2004"/>
                  <a:pt x="269" y="2007"/>
                  <a:pt x="270" y="2006"/>
                </a:cubicBezTo>
                <a:cubicBezTo>
                  <a:pt x="271" y="2006"/>
                  <a:pt x="270" y="2005"/>
                  <a:pt x="270" y="2004"/>
                </a:cubicBezTo>
                <a:cubicBezTo>
                  <a:pt x="271" y="2004"/>
                  <a:pt x="272" y="2006"/>
                  <a:pt x="273" y="2006"/>
                </a:cubicBezTo>
                <a:cubicBezTo>
                  <a:pt x="275" y="2006"/>
                  <a:pt x="273" y="2004"/>
                  <a:pt x="273" y="2003"/>
                </a:cubicBezTo>
                <a:cubicBezTo>
                  <a:pt x="273" y="2002"/>
                  <a:pt x="273" y="2001"/>
                  <a:pt x="274" y="2001"/>
                </a:cubicBezTo>
                <a:cubicBezTo>
                  <a:pt x="274" y="2000"/>
                  <a:pt x="274" y="2002"/>
                  <a:pt x="274" y="2003"/>
                </a:cubicBezTo>
                <a:cubicBezTo>
                  <a:pt x="275" y="2004"/>
                  <a:pt x="277" y="2005"/>
                  <a:pt x="278" y="2004"/>
                </a:cubicBezTo>
                <a:cubicBezTo>
                  <a:pt x="279" y="2002"/>
                  <a:pt x="276" y="2002"/>
                  <a:pt x="277" y="2001"/>
                </a:cubicBezTo>
                <a:cubicBezTo>
                  <a:pt x="278" y="2000"/>
                  <a:pt x="280" y="2002"/>
                  <a:pt x="280" y="2002"/>
                </a:cubicBezTo>
                <a:cubicBezTo>
                  <a:pt x="281" y="2003"/>
                  <a:pt x="282" y="2003"/>
                  <a:pt x="282" y="2002"/>
                </a:cubicBezTo>
                <a:cubicBezTo>
                  <a:pt x="283" y="2002"/>
                  <a:pt x="283" y="2001"/>
                  <a:pt x="284" y="2001"/>
                </a:cubicBezTo>
                <a:cubicBezTo>
                  <a:pt x="285" y="2000"/>
                  <a:pt x="285" y="2002"/>
                  <a:pt x="286" y="2002"/>
                </a:cubicBezTo>
                <a:cubicBezTo>
                  <a:pt x="286" y="2004"/>
                  <a:pt x="287" y="2004"/>
                  <a:pt x="289" y="2004"/>
                </a:cubicBezTo>
                <a:cubicBezTo>
                  <a:pt x="290" y="2004"/>
                  <a:pt x="290" y="2004"/>
                  <a:pt x="291" y="2004"/>
                </a:cubicBezTo>
                <a:cubicBezTo>
                  <a:pt x="292" y="2004"/>
                  <a:pt x="294" y="2004"/>
                  <a:pt x="295" y="2004"/>
                </a:cubicBezTo>
                <a:cubicBezTo>
                  <a:pt x="296" y="2003"/>
                  <a:pt x="297" y="2003"/>
                  <a:pt x="297" y="2003"/>
                </a:cubicBezTo>
                <a:cubicBezTo>
                  <a:pt x="298" y="2003"/>
                  <a:pt x="299" y="2003"/>
                  <a:pt x="299" y="2002"/>
                </a:cubicBezTo>
                <a:cubicBezTo>
                  <a:pt x="300" y="2001"/>
                  <a:pt x="300" y="1999"/>
                  <a:pt x="299" y="1998"/>
                </a:cubicBezTo>
                <a:cubicBezTo>
                  <a:pt x="299" y="1998"/>
                  <a:pt x="298" y="1997"/>
                  <a:pt x="299" y="1997"/>
                </a:cubicBezTo>
                <a:cubicBezTo>
                  <a:pt x="300" y="1996"/>
                  <a:pt x="300" y="1997"/>
                  <a:pt x="301" y="1998"/>
                </a:cubicBezTo>
                <a:cubicBezTo>
                  <a:pt x="301" y="1998"/>
                  <a:pt x="301" y="1999"/>
                  <a:pt x="301" y="1999"/>
                </a:cubicBezTo>
                <a:cubicBezTo>
                  <a:pt x="302" y="1999"/>
                  <a:pt x="303" y="1999"/>
                  <a:pt x="303" y="2000"/>
                </a:cubicBezTo>
                <a:cubicBezTo>
                  <a:pt x="304" y="2001"/>
                  <a:pt x="303" y="2002"/>
                  <a:pt x="304" y="2003"/>
                </a:cubicBezTo>
                <a:cubicBezTo>
                  <a:pt x="306" y="2004"/>
                  <a:pt x="306" y="2002"/>
                  <a:pt x="307" y="2001"/>
                </a:cubicBezTo>
                <a:cubicBezTo>
                  <a:pt x="310" y="2000"/>
                  <a:pt x="311" y="2006"/>
                  <a:pt x="311" y="2007"/>
                </a:cubicBezTo>
                <a:cubicBezTo>
                  <a:pt x="312" y="2009"/>
                  <a:pt x="312" y="2010"/>
                  <a:pt x="313" y="2011"/>
                </a:cubicBezTo>
                <a:cubicBezTo>
                  <a:pt x="314" y="2012"/>
                  <a:pt x="315" y="2013"/>
                  <a:pt x="317" y="2013"/>
                </a:cubicBezTo>
                <a:cubicBezTo>
                  <a:pt x="318" y="2014"/>
                  <a:pt x="319" y="2015"/>
                  <a:pt x="320" y="2015"/>
                </a:cubicBezTo>
                <a:cubicBezTo>
                  <a:pt x="322" y="2015"/>
                  <a:pt x="322" y="2014"/>
                  <a:pt x="324" y="2013"/>
                </a:cubicBezTo>
                <a:cubicBezTo>
                  <a:pt x="324" y="2012"/>
                  <a:pt x="326" y="2010"/>
                  <a:pt x="327" y="2012"/>
                </a:cubicBezTo>
                <a:cubicBezTo>
                  <a:pt x="327" y="2013"/>
                  <a:pt x="326" y="2013"/>
                  <a:pt x="325" y="2013"/>
                </a:cubicBezTo>
                <a:cubicBezTo>
                  <a:pt x="325" y="2014"/>
                  <a:pt x="325" y="2014"/>
                  <a:pt x="326" y="2014"/>
                </a:cubicBezTo>
                <a:cubicBezTo>
                  <a:pt x="328" y="2016"/>
                  <a:pt x="321" y="2017"/>
                  <a:pt x="324" y="2020"/>
                </a:cubicBezTo>
                <a:cubicBezTo>
                  <a:pt x="325" y="2020"/>
                  <a:pt x="325" y="2020"/>
                  <a:pt x="325" y="2021"/>
                </a:cubicBezTo>
                <a:cubicBezTo>
                  <a:pt x="326" y="2022"/>
                  <a:pt x="325" y="2022"/>
                  <a:pt x="326" y="2023"/>
                </a:cubicBezTo>
                <a:cubicBezTo>
                  <a:pt x="326" y="2023"/>
                  <a:pt x="327" y="2024"/>
                  <a:pt x="328" y="2024"/>
                </a:cubicBezTo>
                <a:cubicBezTo>
                  <a:pt x="328" y="2025"/>
                  <a:pt x="328" y="2025"/>
                  <a:pt x="329" y="2026"/>
                </a:cubicBezTo>
                <a:cubicBezTo>
                  <a:pt x="329" y="2026"/>
                  <a:pt x="330" y="2027"/>
                  <a:pt x="331" y="2028"/>
                </a:cubicBezTo>
                <a:cubicBezTo>
                  <a:pt x="331" y="2029"/>
                  <a:pt x="331" y="2030"/>
                  <a:pt x="331" y="2031"/>
                </a:cubicBezTo>
                <a:cubicBezTo>
                  <a:pt x="331" y="2032"/>
                  <a:pt x="330" y="2033"/>
                  <a:pt x="330" y="2033"/>
                </a:cubicBezTo>
                <a:cubicBezTo>
                  <a:pt x="329" y="2035"/>
                  <a:pt x="330" y="2036"/>
                  <a:pt x="330" y="2038"/>
                </a:cubicBezTo>
                <a:cubicBezTo>
                  <a:pt x="330" y="2039"/>
                  <a:pt x="329" y="2041"/>
                  <a:pt x="329" y="2042"/>
                </a:cubicBezTo>
                <a:cubicBezTo>
                  <a:pt x="328" y="2044"/>
                  <a:pt x="329" y="2045"/>
                  <a:pt x="329" y="2047"/>
                </a:cubicBezTo>
                <a:cubicBezTo>
                  <a:pt x="329" y="2049"/>
                  <a:pt x="329" y="2052"/>
                  <a:pt x="328" y="2054"/>
                </a:cubicBezTo>
                <a:cubicBezTo>
                  <a:pt x="327" y="2056"/>
                  <a:pt x="326" y="2056"/>
                  <a:pt x="326" y="2058"/>
                </a:cubicBezTo>
                <a:cubicBezTo>
                  <a:pt x="325" y="2060"/>
                  <a:pt x="325" y="2063"/>
                  <a:pt x="323" y="2065"/>
                </a:cubicBezTo>
                <a:cubicBezTo>
                  <a:pt x="321" y="2066"/>
                  <a:pt x="321" y="2067"/>
                  <a:pt x="320" y="2068"/>
                </a:cubicBezTo>
                <a:cubicBezTo>
                  <a:pt x="319" y="2070"/>
                  <a:pt x="321" y="2070"/>
                  <a:pt x="323" y="2070"/>
                </a:cubicBezTo>
                <a:cubicBezTo>
                  <a:pt x="323" y="2070"/>
                  <a:pt x="323" y="2071"/>
                  <a:pt x="324" y="2071"/>
                </a:cubicBezTo>
                <a:cubicBezTo>
                  <a:pt x="325" y="2072"/>
                  <a:pt x="325" y="2071"/>
                  <a:pt x="326" y="2071"/>
                </a:cubicBezTo>
                <a:cubicBezTo>
                  <a:pt x="327" y="2071"/>
                  <a:pt x="327" y="2071"/>
                  <a:pt x="328" y="2072"/>
                </a:cubicBezTo>
                <a:cubicBezTo>
                  <a:pt x="328" y="2072"/>
                  <a:pt x="328" y="2072"/>
                  <a:pt x="327" y="2073"/>
                </a:cubicBezTo>
                <a:cubicBezTo>
                  <a:pt x="326" y="2073"/>
                  <a:pt x="326" y="2073"/>
                  <a:pt x="325" y="2073"/>
                </a:cubicBezTo>
                <a:cubicBezTo>
                  <a:pt x="324" y="2073"/>
                  <a:pt x="324" y="2072"/>
                  <a:pt x="324" y="2073"/>
                </a:cubicBezTo>
                <a:cubicBezTo>
                  <a:pt x="323" y="2075"/>
                  <a:pt x="325" y="2076"/>
                  <a:pt x="325" y="2077"/>
                </a:cubicBezTo>
                <a:cubicBezTo>
                  <a:pt x="325" y="2078"/>
                  <a:pt x="325" y="2079"/>
                  <a:pt x="325" y="2079"/>
                </a:cubicBezTo>
                <a:cubicBezTo>
                  <a:pt x="325" y="2080"/>
                  <a:pt x="324" y="2080"/>
                  <a:pt x="323" y="2080"/>
                </a:cubicBezTo>
                <a:cubicBezTo>
                  <a:pt x="323" y="2081"/>
                  <a:pt x="322" y="2080"/>
                  <a:pt x="322" y="2081"/>
                </a:cubicBezTo>
                <a:cubicBezTo>
                  <a:pt x="321" y="2081"/>
                  <a:pt x="321" y="2081"/>
                  <a:pt x="320" y="2081"/>
                </a:cubicBezTo>
                <a:cubicBezTo>
                  <a:pt x="318" y="2082"/>
                  <a:pt x="320" y="2083"/>
                  <a:pt x="321" y="2083"/>
                </a:cubicBezTo>
                <a:cubicBezTo>
                  <a:pt x="322" y="2084"/>
                  <a:pt x="322" y="2086"/>
                  <a:pt x="323" y="2087"/>
                </a:cubicBezTo>
                <a:cubicBezTo>
                  <a:pt x="324" y="2087"/>
                  <a:pt x="325" y="2087"/>
                  <a:pt x="325" y="2087"/>
                </a:cubicBezTo>
                <a:cubicBezTo>
                  <a:pt x="326" y="2088"/>
                  <a:pt x="326" y="2088"/>
                  <a:pt x="327" y="2089"/>
                </a:cubicBezTo>
                <a:cubicBezTo>
                  <a:pt x="328" y="2089"/>
                  <a:pt x="330" y="2088"/>
                  <a:pt x="329" y="2090"/>
                </a:cubicBezTo>
                <a:cubicBezTo>
                  <a:pt x="329" y="2091"/>
                  <a:pt x="328" y="2091"/>
                  <a:pt x="328" y="2090"/>
                </a:cubicBezTo>
                <a:cubicBezTo>
                  <a:pt x="327" y="2090"/>
                  <a:pt x="327" y="2090"/>
                  <a:pt x="326" y="2090"/>
                </a:cubicBezTo>
                <a:cubicBezTo>
                  <a:pt x="325" y="2089"/>
                  <a:pt x="323" y="2090"/>
                  <a:pt x="322" y="2089"/>
                </a:cubicBezTo>
                <a:cubicBezTo>
                  <a:pt x="321" y="2089"/>
                  <a:pt x="321" y="2088"/>
                  <a:pt x="320" y="2088"/>
                </a:cubicBezTo>
                <a:cubicBezTo>
                  <a:pt x="320" y="2088"/>
                  <a:pt x="319" y="2087"/>
                  <a:pt x="319" y="2087"/>
                </a:cubicBezTo>
                <a:cubicBezTo>
                  <a:pt x="318" y="2086"/>
                  <a:pt x="319" y="2091"/>
                  <a:pt x="319" y="2091"/>
                </a:cubicBezTo>
                <a:cubicBezTo>
                  <a:pt x="319" y="2092"/>
                  <a:pt x="319" y="2093"/>
                  <a:pt x="319" y="2094"/>
                </a:cubicBezTo>
                <a:cubicBezTo>
                  <a:pt x="319" y="2094"/>
                  <a:pt x="319" y="2095"/>
                  <a:pt x="319" y="2096"/>
                </a:cubicBezTo>
                <a:cubicBezTo>
                  <a:pt x="319" y="2096"/>
                  <a:pt x="319" y="2097"/>
                  <a:pt x="318" y="2098"/>
                </a:cubicBezTo>
                <a:cubicBezTo>
                  <a:pt x="318" y="2099"/>
                  <a:pt x="318" y="2100"/>
                  <a:pt x="317" y="2101"/>
                </a:cubicBezTo>
                <a:cubicBezTo>
                  <a:pt x="316" y="2103"/>
                  <a:pt x="316" y="2104"/>
                  <a:pt x="315" y="2105"/>
                </a:cubicBezTo>
                <a:cubicBezTo>
                  <a:pt x="315" y="2106"/>
                  <a:pt x="314" y="2107"/>
                  <a:pt x="313" y="2108"/>
                </a:cubicBezTo>
                <a:cubicBezTo>
                  <a:pt x="311" y="2108"/>
                  <a:pt x="310" y="2108"/>
                  <a:pt x="309" y="2107"/>
                </a:cubicBezTo>
                <a:cubicBezTo>
                  <a:pt x="309" y="2106"/>
                  <a:pt x="308" y="2103"/>
                  <a:pt x="307" y="2104"/>
                </a:cubicBezTo>
                <a:cubicBezTo>
                  <a:pt x="306" y="2104"/>
                  <a:pt x="308" y="2106"/>
                  <a:pt x="308" y="2107"/>
                </a:cubicBezTo>
                <a:cubicBezTo>
                  <a:pt x="309" y="2108"/>
                  <a:pt x="309" y="2110"/>
                  <a:pt x="309" y="2111"/>
                </a:cubicBezTo>
                <a:cubicBezTo>
                  <a:pt x="309" y="2111"/>
                  <a:pt x="310" y="2112"/>
                  <a:pt x="310" y="2112"/>
                </a:cubicBezTo>
                <a:cubicBezTo>
                  <a:pt x="310" y="2113"/>
                  <a:pt x="311" y="2113"/>
                  <a:pt x="311" y="2114"/>
                </a:cubicBezTo>
                <a:cubicBezTo>
                  <a:pt x="311" y="2116"/>
                  <a:pt x="312" y="2116"/>
                  <a:pt x="313" y="2117"/>
                </a:cubicBezTo>
                <a:cubicBezTo>
                  <a:pt x="315" y="2118"/>
                  <a:pt x="314" y="2119"/>
                  <a:pt x="316" y="2120"/>
                </a:cubicBezTo>
                <a:cubicBezTo>
                  <a:pt x="317" y="2121"/>
                  <a:pt x="317" y="2120"/>
                  <a:pt x="318" y="2119"/>
                </a:cubicBezTo>
                <a:cubicBezTo>
                  <a:pt x="318" y="2118"/>
                  <a:pt x="319" y="2117"/>
                  <a:pt x="319" y="2119"/>
                </a:cubicBezTo>
                <a:cubicBezTo>
                  <a:pt x="319" y="2120"/>
                  <a:pt x="319" y="2121"/>
                  <a:pt x="318" y="2121"/>
                </a:cubicBezTo>
                <a:cubicBezTo>
                  <a:pt x="318" y="2122"/>
                  <a:pt x="318" y="2122"/>
                  <a:pt x="317" y="2123"/>
                </a:cubicBezTo>
                <a:cubicBezTo>
                  <a:pt x="317" y="2124"/>
                  <a:pt x="317" y="2124"/>
                  <a:pt x="317" y="2125"/>
                </a:cubicBezTo>
                <a:cubicBezTo>
                  <a:pt x="317" y="2126"/>
                  <a:pt x="317" y="2129"/>
                  <a:pt x="318" y="2129"/>
                </a:cubicBezTo>
                <a:cubicBezTo>
                  <a:pt x="319" y="2130"/>
                  <a:pt x="320" y="2130"/>
                  <a:pt x="322" y="2130"/>
                </a:cubicBezTo>
                <a:cubicBezTo>
                  <a:pt x="323" y="2131"/>
                  <a:pt x="324" y="2133"/>
                  <a:pt x="324" y="2134"/>
                </a:cubicBezTo>
                <a:cubicBezTo>
                  <a:pt x="324" y="2136"/>
                  <a:pt x="324" y="2137"/>
                  <a:pt x="324" y="2139"/>
                </a:cubicBezTo>
                <a:cubicBezTo>
                  <a:pt x="325" y="2140"/>
                  <a:pt x="326" y="2140"/>
                  <a:pt x="326" y="2141"/>
                </a:cubicBezTo>
                <a:cubicBezTo>
                  <a:pt x="327" y="2141"/>
                  <a:pt x="328" y="2141"/>
                  <a:pt x="328" y="2142"/>
                </a:cubicBezTo>
                <a:cubicBezTo>
                  <a:pt x="329" y="2142"/>
                  <a:pt x="329" y="2143"/>
                  <a:pt x="329" y="2144"/>
                </a:cubicBezTo>
                <a:cubicBezTo>
                  <a:pt x="329" y="2144"/>
                  <a:pt x="329" y="2144"/>
                  <a:pt x="330" y="2145"/>
                </a:cubicBezTo>
                <a:cubicBezTo>
                  <a:pt x="330" y="2145"/>
                  <a:pt x="331" y="2144"/>
                  <a:pt x="332" y="2145"/>
                </a:cubicBezTo>
                <a:cubicBezTo>
                  <a:pt x="332" y="2145"/>
                  <a:pt x="332" y="2146"/>
                  <a:pt x="332" y="2146"/>
                </a:cubicBezTo>
                <a:cubicBezTo>
                  <a:pt x="332" y="2147"/>
                  <a:pt x="333" y="2147"/>
                  <a:pt x="333" y="2148"/>
                </a:cubicBezTo>
                <a:cubicBezTo>
                  <a:pt x="334" y="2149"/>
                  <a:pt x="335" y="2149"/>
                  <a:pt x="336" y="2150"/>
                </a:cubicBezTo>
                <a:cubicBezTo>
                  <a:pt x="337" y="2151"/>
                  <a:pt x="337" y="2152"/>
                  <a:pt x="337" y="2152"/>
                </a:cubicBezTo>
                <a:cubicBezTo>
                  <a:pt x="337" y="2152"/>
                  <a:pt x="338" y="2152"/>
                  <a:pt x="338" y="2153"/>
                </a:cubicBezTo>
                <a:cubicBezTo>
                  <a:pt x="928" y="2153"/>
                  <a:pt x="928" y="2153"/>
                  <a:pt x="928" y="2153"/>
                </a:cubicBezTo>
                <a:cubicBezTo>
                  <a:pt x="928" y="2152"/>
                  <a:pt x="928" y="2150"/>
                  <a:pt x="928" y="2149"/>
                </a:cubicBezTo>
                <a:cubicBezTo>
                  <a:pt x="928" y="2148"/>
                  <a:pt x="929" y="2146"/>
                  <a:pt x="930" y="2145"/>
                </a:cubicBezTo>
                <a:cubicBezTo>
                  <a:pt x="931" y="2144"/>
                  <a:pt x="933" y="2143"/>
                  <a:pt x="934" y="2142"/>
                </a:cubicBezTo>
                <a:cubicBezTo>
                  <a:pt x="935" y="2141"/>
                  <a:pt x="937" y="2140"/>
                  <a:pt x="938" y="2139"/>
                </a:cubicBezTo>
                <a:cubicBezTo>
                  <a:pt x="938" y="2138"/>
                  <a:pt x="940" y="2137"/>
                  <a:pt x="941" y="2137"/>
                </a:cubicBezTo>
                <a:cubicBezTo>
                  <a:pt x="942" y="2137"/>
                  <a:pt x="942" y="2137"/>
                  <a:pt x="943" y="2136"/>
                </a:cubicBezTo>
                <a:cubicBezTo>
                  <a:pt x="944" y="2136"/>
                  <a:pt x="945" y="2135"/>
                  <a:pt x="945" y="2135"/>
                </a:cubicBezTo>
                <a:cubicBezTo>
                  <a:pt x="946" y="2134"/>
                  <a:pt x="948" y="2133"/>
                  <a:pt x="946" y="2133"/>
                </a:cubicBezTo>
                <a:cubicBezTo>
                  <a:pt x="945" y="2133"/>
                  <a:pt x="945" y="2134"/>
                  <a:pt x="944" y="2134"/>
                </a:cubicBezTo>
                <a:cubicBezTo>
                  <a:pt x="944" y="2135"/>
                  <a:pt x="944" y="2135"/>
                  <a:pt x="943" y="2135"/>
                </a:cubicBezTo>
                <a:cubicBezTo>
                  <a:pt x="943" y="2136"/>
                  <a:pt x="943" y="2136"/>
                  <a:pt x="942" y="2136"/>
                </a:cubicBezTo>
                <a:cubicBezTo>
                  <a:pt x="942" y="2136"/>
                  <a:pt x="942" y="2135"/>
                  <a:pt x="942" y="2135"/>
                </a:cubicBezTo>
                <a:cubicBezTo>
                  <a:pt x="942" y="2135"/>
                  <a:pt x="942" y="2135"/>
                  <a:pt x="942" y="2134"/>
                </a:cubicBezTo>
                <a:cubicBezTo>
                  <a:pt x="942" y="2134"/>
                  <a:pt x="941" y="2133"/>
                  <a:pt x="941" y="2133"/>
                </a:cubicBezTo>
                <a:cubicBezTo>
                  <a:pt x="941" y="2132"/>
                  <a:pt x="942" y="2131"/>
                  <a:pt x="943" y="2131"/>
                </a:cubicBezTo>
                <a:cubicBezTo>
                  <a:pt x="943" y="2132"/>
                  <a:pt x="943" y="2133"/>
                  <a:pt x="944" y="2133"/>
                </a:cubicBezTo>
                <a:cubicBezTo>
                  <a:pt x="944" y="2133"/>
                  <a:pt x="945" y="2132"/>
                  <a:pt x="945" y="2132"/>
                </a:cubicBezTo>
                <a:cubicBezTo>
                  <a:pt x="946" y="2131"/>
                  <a:pt x="946" y="2131"/>
                  <a:pt x="947" y="2131"/>
                </a:cubicBezTo>
                <a:cubicBezTo>
                  <a:pt x="949" y="2131"/>
                  <a:pt x="949" y="2130"/>
                  <a:pt x="950" y="2129"/>
                </a:cubicBezTo>
                <a:cubicBezTo>
                  <a:pt x="952" y="2128"/>
                  <a:pt x="953" y="2128"/>
                  <a:pt x="954" y="2126"/>
                </a:cubicBezTo>
                <a:cubicBezTo>
                  <a:pt x="954" y="2125"/>
                  <a:pt x="954" y="2125"/>
                  <a:pt x="955" y="2124"/>
                </a:cubicBezTo>
                <a:cubicBezTo>
                  <a:pt x="955" y="2124"/>
                  <a:pt x="955" y="2123"/>
                  <a:pt x="955" y="2123"/>
                </a:cubicBezTo>
                <a:cubicBezTo>
                  <a:pt x="956" y="2121"/>
                  <a:pt x="957" y="2121"/>
                  <a:pt x="957" y="2120"/>
                </a:cubicBezTo>
                <a:cubicBezTo>
                  <a:pt x="958" y="2118"/>
                  <a:pt x="959" y="2117"/>
                  <a:pt x="959" y="2115"/>
                </a:cubicBezTo>
                <a:cubicBezTo>
                  <a:pt x="960" y="2114"/>
                  <a:pt x="962" y="2112"/>
                  <a:pt x="963" y="2111"/>
                </a:cubicBezTo>
                <a:cubicBezTo>
                  <a:pt x="964" y="2110"/>
                  <a:pt x="965" y="2108"/>
                  <a:pt x="967" y="2107"/>
                </a:cubicBezTo>
                <a:cubicBezTo>
                  <a:pt x="968" y="2106"/>
                  <a:pt x="969" y="2105"/>
                  <a:pt x="970" y="2104"/>
                </a:cubicBezTo>
                <a:cubicBezTo>
                  <a:pt x="972" y="2103"/>
                  <a:pt x="973" y="2101"/>
                  <a:pt x="974" y="2099"/>
                </a:cubicBezTo>
                <a:cubicBezTo>
                  <a:pt x="975" y="2099"/>
                  <a:pt x="976" y="2098"/>
                  <a:pt x="977" y="2097"/>
                </a:cubicBezTo>
                <a:cubicBezTo>
                  <a:pt x="977" y="2097"/>
                  <a:pt x="978" y="2096"/>
                  <a:pt x="979" y="2095"/>
                </a:cubicBezTo>
                <a:cubicBezTo>
                  <a:pt x="979" y="2094"/>
                  <a:pt x="979" y="2094"/>
                  <a:pt x="980" y="2093"/>
                </a:cubicBezTo>
                <a:cubicBezTo>
                  <a:pt x="982" y="2091"/>
                  <a:pt x="984" y="2089"/>
                  <a:pt x="986" y="2087"/>
                </a:cubicBezTo>
                <a:cubicBezTo>
                  <a:pt x="987" y="2085"/>
                  <a:pt x="988" y="2084"/>
                  <a:pt x="990" y="2083"/>
                </a:cubicBezTo>
                <a:cubicBezTo>
                  <a:pt x="990" y="2082"/>
                  <a:pt x="991" y="2081"/>
                  <a:pt x="992" y="2081"/>
                </a:cubicBezTo>
                <a:cubicBezTo>
                  <a:pt x="993" y="2080"/>
                  <a:pt x="994" y="2079"/>
                  <a:pt x="995" y="2078"/>
                </a:cubicBezTo>
                <a:cubicBezTo>
                  <a:pt x="996" y="2077"/>
                  <a:pt x="996" y="2077"/>
                  <a:pt x="997" y="2076"/>
                </a:cubicBezTo>
                <a:cubicBezTo>
                  <a:pt x="998" y="2075"/>
                  <a:pt x="1000" y="2074"/>
                  <a:pt x="1002" y="2073"/>
                </a:cubicBezTo>
                <a:cubicBezTo>
                  <a:pt x="1003" y="2072"/>
                  <a:pt x="1004" y="2071"/>
                  <a:pt x="1005" y="2070"/>
                </a:cubicBezTo>
                <a:cubicBezTo>
                  <a:pt x="1007" y="2068"/>
                  <a:pt x="1009" y="2068"/>
                  <a:pt x="1010" y="2066"/>
                </a:cubicBezTo>
                <a:cubicBezTo>
                  <a:pt x="1012" y="2065"/>
                  <a:pt x="1013" y="2064"/>
                  <a:pt x="1014" y="2063"/>
                </a:cubicBezTo>
                <a:cubicBezTo>
                  <a:pt x="1016" y="2061"/>
                  <a:pt x="1018" y="2060"/>
                  <a:pt x="1019" y="2059"/>
                </a:cubicBezTo>
                <a:cubicBezTo>
                  <a:pt x="1022" y="2056"/>
                  <a:pt x="1025" y="2054"/>
                  <a:pt x="1029" y="2053"/>
                </a:cubicBezTo>
                <a:cubicBezTo>
                  <a:pt x="1031" y="2052"/>
                  <a:pt x="1032" y="2050"/>
                  <a:pt x="1034" y="2049"/>
                </a:cubicBezTo>
                <a:cubicBezTo>
                  <a:pt x="1035" y="2048"/>
                  <a:pt x="1037" y="2047"/>
                  <a:pt x="1038" y="2046"/>
                </a:cubicBezTo>
                <a:cubicBezTo>
                  <a:pt x="1041" y="2043"/>
                  <a:pt x="1045" y="2040"/>
                  <a:pt x="1048" y="2037"/>
                </a:cubicBezTo>
                <a:cubicBezTo>
                  <a:pt x="1049" y="2036"/>
                  <a:pt x="1050" y="2035"/>
                  <a:pt x="1051" y="2034"/>
                </a:cubicBezTo>
                <a:cubicBezTo>
                  <a:pt x="1052" y="2033"/>
                  <a:pt x="1054" y="2032"/>
                  <a:pt x="1055" y="2031"/>
                </a:cubicBezTo>
                <a:cubicBezTo>
                  <a:pt x="1056" y="2030"/>
                  <a:pt x="1056" y="2029"/>
                  <a:pt x="1057" y="2028"/>
                </a:cubicBezTo>
                <a:cubicBezTo>
                  <a:pt x="1058" y="2027"/>
                  <a:pt x="1060" y="2026"/>
                  <a:pt x="1062" y="2024"/>
                </a:cubicBezTo>
                <a:cubicBezTo>
                  <a:pt x="1063" y="2023"/>
                  <a:pt x="1065" y="2022"/>
                  <a:pt x="1066" y="2020"/>
                </a:cubicBezTo>
                <a:cubicBezTo>
                  <a:pt x="1069" y="2018"/>
                  <a:pt x="1071" y="2015"/>
                  <a:pt x="1073" y="2013"/>
                </a:cubicBezTo>
                <a:cubicBezTo>
                  <a:pt x="1075" y="2010"/>
                  <a:pt x="1079" y="2008"/>
                  <a:pt x="1081" y="2005"/>
                </a:cubicBezTo>
                <a:cubicBezTo>
                  <a:pt x="1081" y="2003"/>
                  <a:pt x="1083" y="2002"/>
                  <a:pt x="1084" y="2000"/>
                </a:cubicBezTo>
                <a:cubicBezTo>
                  <a:pt x="1085" y="1999"/>
                  <a:pt x="1085" y="1998"/>
                  <a:pt x="1086" y="1996"/>
                </a:cubicBezTo>
                <a:cubicBezTo>
                  <a:pt x="1089" y="1993"/>
                  <a:pt x="1091" y="1989"/>
                  <a:pt x="1093" y="1985"/>
                </a:cubicBezTo>
                <a:cubicBezTo>
                  <a:pt x="1094" y="1983"/>
                  <a:pt x="1095" y="1982"/>
                  <a:pt x="1096" y="1981"/>
                </a:cubicBezTo>
                <a:cubicBezTo>
                  <a:pt x="1097" y="1979"/>
                  <a:pt x="1098" y="1977"/>
                  <a:pt x="1099" y="1975"/>
                </a:cubicBezTo>
                <a:cubicBezTo>
                  <a:pt x="1101" y="1973"/>
                  <a:pt x="1103" y="1970"/>
                  <a:pt x="1104" y="1967"/>
                </a:cubicBezTo>
                <a:cubicBezTo>
                  <a:pt x="1105" y="1965"/>
                  <a:pt x="1106" y="1963"/>
                  <a:pt x="1107" y="1961"/>
                </a:cubicBezTo>
                <a:cubicBezTo>
                  <a:pt x="1108" y="1959"/>
                  <a:pt x="1108" y="1957"/>
                  <a:pt x="1109" y="1956"/>
                </a:cubicBezTo>
                <a:cubicBezTo>
                  <a:pt x="1110" y="1954"/>
                  <a:pt x="1111" y="1953"/>
                  <a:pt x="1111" y="1951"/>
                </a:cubicBezTo>
                <a:cubicBezTo>
                  <a:pt x="1114" y="1948"/>
                  <a:pt x="1115" y="1944"/>
                  <a:pt x="1116" y="1940"/>
                </a:cubicBezTo>
                <a:cubicBezTo>
                  <a:pt x="1117" y="1939"/>
                  <a:pt x="1117" y="1937"/>
                  <a:pt x="1117" y="1936"/>
                </a:cubicBezTo>
                <a:cubicBezTo>
                  <a:pt x="1118" y="1935"/>
                  <a:pt x="1119" y="1933"/>
                  <a:pt x="1120" y="1932"/>
                </a:cubicBezTo>
                <a:cubicBezTo>
                  <a:pt x="1121" y="1931"/>
                  <a:pt x="1122" y="1931"/>
                  <a:pt x="1123" y="1929"/>
                </a:cubicBezTo>
                <a:cubicBezTo>
                  <a:pt x="1124" y="1928"/>
                  <a:pt x="1125" y="1927"/>
                  <a:pt x="1126" y="1926"/>
                </a:cubicBezTo>
                <a:cubicBezTo>
                  <a:pt x="1126" y="1925"/>
                  <a:pt x="1127" y="1924"/>
                  <a:pt x="1128" y="1923"/>
                </a:cubicBezTo>
                <a:cubicBezTo>
                  <a:pt x="1129" y="1921"/>
                  <a:pt x="1129" y="1920"/>
                  <a:pt x="1130" y="1918"/>
                </a:cubicBezTo>
                <a:cubicBezTo>
                  <a:pt x="1132" y="1915"/>
                  <a:pt x="1134" y="1912"/>
                  <a:pt x="1136" y="1908"/>
                </a:cubicBezTo>
                <a:cubicBezTo>
                  <a:pt x="1137" y="1907"/>
                  <a:pt x="1137" y="1905"/>
                  <a:pt x="1137" y="1904"/>
                </a:cubicBezTo>
                <a:cubicBezTo>
                  <a:pt x="1138" y="1902"/>
                  <a:pt x="1137" y="1900"/>
                  <a:pt x="1138" y="1899"/>
                </a:cubicBezTo>
                <a:cubicBezTo>
                  <a:pt x="1138" y="1896"/>
                  <a:pt x="1138" y="1893"/>
                  <a:pt x="1139" y="1890"/>
                </a:cubicBezTo>
                <a:cubicBezTo>
                  <a:pt x="1139" y="1888"/>
                  <a:pt x="1141" y="1887"/>
                  <a:pt x="1143" y="1886"/>
                </a:cubicBezTo>
                <a:cubicBezTo>
                  <a:pt x="1144" y="1886"/>
                  <a:pt x="1149" y="1887"/>
                  <a:pt x="1149" y="1886"/>
                </a:cubicBezTo>
                <a:cubicBezTo>
                  <a:pt x="1148" y="1885"/>
                  <a:pt x="1147" y="1885"/>
                  <a:pt x="1147" y="1885"/>
                </a:cubicBezTo>
                <a:cubicBezTo>
                  <a:pt x="1146" y="1885"/>
                  <a:pt x="1146" y="1884"/>
                  <a:pt x="1145" y="1884"/>
                </a:cubicBezTo>
                <a:cubicBezTo>
                  <a:pt x="1144" y="1883"/>
                  <a:pt x="1143" y="1883"/>
                  <a:pt x="1143" y="1882"/>
                </a:cubicBezTo>
                <a:cubicBezTo>
                  <a:pt x="1142" y="1881"/>
                  <a:pt x="1142" y="1879"/>
                  <a:pt x="1142" y="1878"/>
                </a:cubicBezTo>
                <a:cubicBezTo>
                  <a:pt x="1142" y="1877"/>
                  <a:pt x="1142" y="1877"/>
                  <a:pt x="1142" y="1876"/>
                </a:cubicBezTo>
                <a:cubicBezTo>
                  <a:pt x="1142" y="1875"/>
                  <a:pt x="1142" y="1875"/>
                  <a:pt x="1142" y="1874"/>
                </a:cubicBezTo>
                <a:cubicBezTo>
                  <a:pt x="1141" y="1873"/>
                  <a:pt x="1141" y="1871"/>
                  <a:pt x="1142" y="1869"/>
                </a:cubicBezTo>
                <a:cubicBezTo>
                  <a:pt x="1142" y="1868"/>
                  <a:pt x="1143" y="1867"/>
                  <a:pt x="1143" y="1865"/>
                </a:cubicBezTo>
                <a:cubicBezTo>
                  <a:pt x="1143" y="1864"/>
                  <a:pt x="1143" y="1863"/>
                  <a:pt x="1144" y="1862"/>
                </a:cubicBezTo>
                <a:cubicBezTo>
                  <a:pt x="1144" y="1861"/>
                  <a:pt x="1145" y="1861"/>
                  <a:pt x="1145" y="1860"/>
                </a:cubicBezTo>
                <a:cubicBezTo>
                  <a:pt x="1146" y="1859"/>
                  <a:pt x="1146" y="1858"/>
                  <a:pt x="1145" y="1858"/>
                </a:cubicBezTo>
                <a:cubicBezTo>
                  <a:pt x="1144" y="1857"/>
                  <a:pt x="1143" y="1857"/>
                  <a:pt x="1142" y="1857"/>
                </a:cubicBezTo>
                <a:cubicBezTo>
                  <a:pt x="1142" y="1857"/>
                  <a:pt x="1142" y="1856"/>
                  <a:pt x="1141" y="1856"/>
                </a:cubicBezTo>
                <a:cubicBezTo>
                  <a:pt x="1141" y="1856"/>
                  <a:pt x="1141" y="1856"/>
                  <a:pt x="1140" y="1856"/>
                </a:cubicBezTo>
                <a:cubicBezTo>
                  <a:pt x="1139" y="1856"/>
                  <a:pt x="1138" y="1855"/>
                  <a:pt x="1136" y="1854"/>
                </a:cubicBezTo>
                <a:cubicBezTo>
                  <a:pt x="1135" y="1854"/>
                  <a:pt x="1133" y="1855"/>
                  <a:pt x="1133" y="1856"/>
                </a:cubicBezTo>
                <a:cubicBezTo>
                  <a:pt x="1132" y="1858"/>
                  <a:pt x="1131" y="1860"/>
                  <a:pt x="1129" y="1861"/>
                </a:cubicBezTo>
                <a:cubicBezTo>
                  <a:pt x="1128" y="1861"/>
                  <a:pt x="1127" y="1861"/>
                  <a:pt x="1127" y="1861"/>
                </a:cubicBezTo>
                <a:cubicBezTo>
                  <a:pt x="1125" y="1862"/>
                  <a:pt x="1123" y="1862"/>
                  <a:pt x="1121" y="1863"/>
                </a:cubicBezTo>
                <a:cubicBezTo>
                  <a:pt x="1119" y="1863"/>
                  <a:pt x="1117" y="1863"/>
                  <a:pt x="1116" y="1864"/>
                </a:cubicBezTo>
                <a:cubicBezTo>
                  <a:pt x="1115" y="1864"/>
                  <a:pt x="1114" y="1865"/>
                  <a:pt x="1112" y="1865"/>
                </a:cubicBezTo>
                <a:cubicBezTo>
                  <a:pt x="1111" y="1866"/>
                  <a:pt x="1109" y="1866"/>
                  <a:pt x="1107" y="1867"/>
                </a:cubicBezTo>
                <a:cubicBezTo>
                  <a:pt x="1107" y="1867"/>
                  <a:pt x="1106" y="1867"/>
                  <a:pt x="1105" y="1868"/>
                </a:cubicBezTo>
                <a:cubicBezTo>
                  <a:pt x="1105" y="1868"/>
                  <a:pt x="1104" y="1868"/>
                  <a:pt x="1103" y="1868"/>
                </a:cubicBezTo>
                <a:cubicBezTo>
                  <a:pt x="1102" y="1869"/>
                  <a:pt x="1100" y="1869"/>
                  <a:pt x="1099" y="1870"/>
                </a:cubicBezTo>
                <a:cubicBezTo>
                  <a:pt x="1097" y="1870"/>
                  <a:pt x="1095" y="1870"/>
                  <a:pt x="1094" y="1870"/>
                </a:cubicBezTo>
                <a:cubicBezTo>
                  <a:pt x="1092" y="1870"/>
                  <a:pt x="1091" y="1870"/>
                  <a:pt x="1090" y="1870"/>
                </a:cubicBezTo>
                <a:cubicBezTo>
                  <a:pt x="1087" y="1870"/>
                  <a:pt x="1085" y="1870"/>
                  <a:pt x="1082" y="1870"/>
                </a:cubicBezTo>
                <a:cubicBezTo>
                  <a:pt x="1078" y="1870"/>
                  <a:pt x="1073" y="1870"/>
                  <a:pt x="1069" y="1871"/>
                </a:cubicBezTo>
                <a:cubicBezTo>
                  <a:pt x="1067" y="1872"/>
                  <a:pt x="1065" y="1873"/>
                  <a:pt x="1064" y="1874"/>
                </a:cubicBezTo>
                <a:cubicBezTo>
                  <a:pt x="1062" y="1875"/>
                  <a:pt x="1060" y="1877"/>
                  <a:pt x="1058" y="1878"/>
                </a:cubicBezTo>
                <a:cubicBezTo>
                  <a:pt x="1055" y="1879"/>
                  <a:pt x="1052" y="1881"/>
                  <a:pt x="1049" y="1881"/>
                </a:cubicBezTo>
                <a:cubicBezTo>
                  <a:pt x="1047" y="1881"/>
                  <a:pt x="1046" y="1879"/>
                  <a:pt x="1044" y="1878"/>
                </a:cubicBezTo>
                <a:cubicBezTo>
                  <a:pt x="1043" y="1878"/>
                  <a:pt x="1041" y="1878"/>
                  <a:pt x="1040" y="1878"/>
                </a:cubicBezTo>
                <a:cubicBezTo>
                  <a:pt x="1038" y="1878"/>
                  <a:pt x="1037" y="1879"/>
                  <a:pt x="1035" y="1880"/>
                </a:cubicBezTo>
                <a:cubicBezTo>
                  <a:pt x="1033" y="1881"/>
                  <a:pt x="1030" y="1881"/>
                  <a:pt x="1028" y="1883"/>
                </a:cubicBezTo>
                <a:cubicBezTo>
                  <a:pt x="1025" y="1885"/>
                  <a:pt x="1022" y="1886"/>
                  <a:pt x="1018" y="1886"/>
                </a:cubicBezTo>
                <a:cubicBezTo>
                  <a:pt x="1015" y="1886"/>
                  <a:pt x="1012" y="1887"/>
                  <a:pt x="1009" y="1886"/>
                </a:cubicBezTo>
                <a:cubicBezTo>
                  <a:pt x="1007" y="1885"/>
                  <a:pt x="1004" y="1883"/>
                  <a:pt x="1002" y="1881"/>
                </a:cubicBezTo>
                <a:cubicBezTo>
                  <a:pt x="1000" y="1879"/>
                  <a:pt x="998" y="1877"/>
                  <a:pt x="996" y="1875"/>
                </a:cubicBezTo>
                <a:cubicBezTo>
                  <a:pt x="996" y="1874"/>
                  <a:pt x="995" y="1873"/>
                  <a:pt x="994" y="1872"/>
                </a:cubicBezTo>
                <a:cubicBezTo>
                  <a:pt x="993" y="1871"/>
                  <a:pt x="992" y="1869"/>
                  <a:pt x="992" y="1868"/>
                </a:cubicBezTo>
                <a:cubicBezTo>
                  <a:pt x="991" y="1867"/>
                  <a:pt x="990" y="1866"/>
                  <a:pt x="989" y="1866"/>
                </a:cubicBezTo>
                <a:cubicBezTo>
                  <a:pt x="988" y="1865"/>
                  <a:pt x="987" y="1864"/>
                  <a:pt x="985" y="1863"/>
                </a:cubicBezTo>
                <a:cubicBezTo>
                  <a:pt x="984" y="1863"/>
                  <a:pt x="982" y="1863"/>
                  <a:pt x="981" y="1863"/>
                </a:cubicBezTo>
                <a:cubicBezTo>
                  <a:pt x="980" y="1863"/>
                  <a:pt x="980" y="1862"/>
                  <a:pt x="979" y="1863"/>
                </a:cubicBezTo>
                <a:cubicBezTo>
                  <a:pt x="978" y="1863"/>
                  <a:pt x="978" y="1863"/>
                  <a:pt x="977" y="1863"/>
                </a:cubicBezTo>
                <a:cubicBezTo>
                  <a:pt x="976" y="1863"/>
                  <a:pt x="976" y="1863"/>
                  <a:pt x="977" y="1862"/>
                </a:cubicBezTo>
                <a:cubicBezTo>
                  <a:pt x="977" y="1862"/>
                  <a:pt x="978" y="1862"/>
                  <a:pt x="979" y="1862"/>
                </a:cubicBezTo>
                <a:cubicBezTo>
                  <a:pt x="980" y="1861"/>
                  <a:pt x="981" y="1861"/>
                  <a:pt x="982" y="1860"/>
                </a:cubicBezTo>
                <a:cubicBezTo>
                  <a:pt x="983" y="1859"/>
                  <a:pt x="984" y="1858"/>
                  <a:pt x="985" y="1857"/>
                </a:cubicBezTo>
                <a:cubicBezTo>
                  <a:pt x="987" y="1857"/>
                  <a:pt x="988" y="1856"/>
                  <a:pt x="989" y="1856"/>
                </a:cubicBezTo>
                <a:cubicBezTo>
                  <a:pt x="991" y="1855"/>
                  <a:pt x="991" y="1852"/>
                  <a:pt x="991" y="1850"/>
                </a:cubicBezTo>
                <a:cubicBezTo>
                  <a:pt x="991" y="1848"/>
                  <a:pt x="990" y="1846"/>
                  <a:pt x="989" y="1844"/>
                </a:cubicBezTo>
                <a:cubicBezTo>
                  <a:pt x="988" y="1842"/>
                  <a:pt x="987" y="1841"/>
                  <a:pt x="986" y="1841"/>
                </a:cubicBezTo>
                <a:cubicBezTo>
                  <a:pt x="985" y="1840"/>
                  <a:pt x="984" y="1839"/>
                  <a:pt x="983" y="1837"/>
                </a:cubicBezTo>
                <a:cubicBezTo>
                  <a:pt x="982" y="1836"/>
                  <a:pt x="981" y="1838"/>
                  <a:pt x="980" y="1838"/>
                </a:cubicBezTo>
                <a:cubicBezTo>
                  <a:pt x="979" y="1838"/>
                  <a:pt x="977" y="1837"/>
                  <a:pt x="977" y="1836"/>
                </a:cubicBezTo>
                <a:cubicBezTo>
                  <a:pt x="976" y="1835"/>
                  <a:pt x="975" y="1834"/>
                  <a:pt x="974" y="1833"/>
                </a:cubicBezTo>
                <a:cubicBezTo>
                  <a:pt x="974" y="1831"/>
                  <a:pt x="973" y="1831"/>
                  <a:pt x="972" y="1830"/>
                </a:cubicBezTo>
                <a:cubicBezTo>
                  <a:pt x="970" y="1829"/>
                  <a:pt x="970" y="1828"/>
                  <a:pt x="970" y="1827"/>
                </a:cubicBezTo>
                <a:cubicBezTo>
                  <a:pt x="970" y="1825"/>
                  <a:pt x="969" y="1824"/>
                  <a:pt x="968" y="1823"/>
                </a:cubicBezTo>
                <a:cubicBezTo>
                  <a:pt x="967" y="1821"/>
                  <a:pt x="965" y="1818"/>
                  <a:pt x="962" y="1817"/>
                </a:cubicBezTo>
                <a:cubicBezTo>
                  <a:pt x="960" y="1816"/>
                  <a:pt x="957" y="1816"/>
                  <a:pt x="955" y="1814"/>
                </a:cubicBezTo>
                <a:cubicBezTo>
                  <a:pt x="954" y="1812"/>
                  <a:pt x="953" y="1810"/>
                  <a:pt x="953" y="1809"/>
                </a:cubicBezTo>
                <a:cubicBezTo>
                  <a:pt x="952" y="1808"/>
                  <a:pt x="952" y="1808"/>
                  <a:pt x="951" y="1807"/>
                </a:cubicBezTo>
                <a:cubicBezTo>
                  <a:pt x="951" y="1806"/>
                  <a:pt x="951" y="1806"/>
                  <a:pt x="950" y="1805"/>
                </a:cubicBezTo>
                <a:cubicBezTo>
                  <a:pt x="949" y="1804"/>
                  <a:pt x="948" y="1803"/>
                  <a:pt x="947" y="1802"/>
                </a:cubicBezTo>
                <a:cubicBezTo>
                  <a:pt x="944" y="1801"/>
                  <a:pt x="941" y="1800"/>
                  <a:pt x="939" y="1798"/>
                </a:cubicBezTo>
                <a:cubicBezTo>
                  <a:pt x="937" y="1796"/>
                  <a:pt x="934" y="1795"/>
                  <a:pt x="931" y="1795"/>
                </a:cubicBezTo>
                <a:cubicBezTo>
                  <a:pt x="929" y="1795"/>
                  <a:pt x="926" y="1795"/>
                  <a:pt x="925" y="1792"/>
                </a:cubicBezTo>
                <a:cubicBezTo>
                  <a:pt x="925" y="1791"/>
                  <a:pt x="924" y="1790"/>
                  <a:pt x="924" y="1789"/>
                </a:cubicBezTo>
                <a:cubicBezTo>
                  <a:pt x="924" y="1789"/>
                  <a:pt x="923" y="1789"/>
                  <a:pt x="923" y="1788"/>
                </a:cubicBezTo>
                <a:cubicBezTo>
                  <a:pt x="922" y="1787"/>
                  <a:pt x="922" y="1785"/>
                  <a:pt x="921" y="1785"/>
                </a:cubicBezTo>
                <a:cubicBezTo>
                  <a:pt x="920" y="1784"/>
                  <a:pt x="919" y="1787"/>
                  <a:pt x="919" y="1788"/>
                </a:cubicBezTo>
                <a:cubicBezTo>
                  <a:pt x="920" y="1789"/>
                  <a:pt x="921" y="1790"/>
                  <a:pt x="920" y="1791"/>
                </a:cubicBezTo>
                <a:cubicBezTo>
                  <a:pt x="920" y="1792"/>
                  <a:pt x="919" y="1792"/>
                  <a:pt x="919" y="1792"/>
                </a:cubicBezTo>
                <a:cubicBezTo>
                  <a:pt x="918" y="1792"/>
                  <a:pt x="918" y="1791"/>
                  <a:pt x="918" y="1790"/>
                </a:cubicBezTo>
                <a:cubicBezTo>
                  <a:pt x="918" y="1789"/>
                  <a:pt x="917" y="1788"/>
                  <a:pt x="916" y="1787"/>
                </a:cubicBezTo>
                <a:cubicBezTo>
                  <a:pt x="915" y="1787"/>
                  <a:pt x="914" y="1785"/>
                  <a:pt x="913" y="1784"/>
                </a:cubicBezTo>
                <a:cubicBezTo>
                  <a:pt x="913" y="1783"/>
                  <a:pt x="914" y="1781"/>
                  <a:pt x="913" y="1780"/>
                </a:cubicBezTo>
                <a:cubicBezTo>
                  <a:pt x="912" y="1778"/>
                  <a:pt x="911" y="1777"/>
                  <a:pt x="911" y="1776"/>
                </a:cubicBezTo>
                <a:cubicBezTo>
                  <a:pt x="910" y="1774"/>
                  <a:pt x="908" y="1773"/>
                  <a:pt x="908" y="1771"/>
                </a:cubicBezTo>
                <a:cubicBezTo>
                  <a:pt x="908" y="1769"/>
                  <a:pt x="908" y="1768"/>
                  <a:pt x="908" y="1767"/>
                </a:cubicBezTo>
                <a:cubicBezTo>
                  <a:pt x="908" y="1762"/>
                  <a:pt x="907" y="1758"/>
                  <a:pt x="905" y="1753"/>
                </a:cubicBezTo>
                <a:cubicBezTo>
                  <a:pt x="904" y="1750"/>
                  <a:pt x="903" y="1748"/>
                  <a:pt x="902" y="1745"/>
                </a:cubicBezTo>
                <a:cubicBezTo>
                  <a:pt x="900" y="1743"/>
                  <a:pt x="900" y="1740"/>
                  <a:pt x="898" y="1737"/>
                </a:cubicBezTo>
                <a:cubicBezTo>
                  <a:pt x="898" y="1736"/>
                  <a:pt x="897" y="1735"/>
                  <a:pt x="896" y="1734"/>
                </a:cubicBezTo>
                <a:cubicBezTo>
                  <a:pt x="896" y="1733"/>
                  <a:pt x="895" y="1732"/>
                  <a:pt x="894" y="1732"/>
                </a:cubicBezTo>
                <a:cubicBezTo>
                  <a:pt x="893" y="1731"/>
                  <a:pt x="893" y="1731"/>
                  <a:pt x="892" y="1731"/>
                </a:cubicBezTo>
                <a:cubicBezTo>
                  <a:pt x="892" y="1731"/>
                  <a:pt x="892" y="1730"/>
                  <a:pt x="891" y="1730"/>
                </a:cubicBezTo>
                <a:cubicBezTo>
                  <a:pt x="890" y="1728"/>
                  <a:pt x="888" y="1728"/>
                  <a:pt x="886" y="1727"/>
                </a:cubicBezTo>
                <a:cubicBezTo>
                  <a:pt x="885" y="1726"/>
                  <a:pt x="884" y="1726"/>
                  <a:pt x="884" y="1725"/>
                </a:cubicBezTo>
                <a:cubicBezTo>
                  <a:pt x="882" y="1724"/>
                  <a:pt x="881" y="1723"/>
                  <a:pt x="880" y="1722"/>
                </a:cubicBezTo>
                <a:cubicBezTo>
                  <a:pt x="877" y="1720"/>
                  <a:pt x="875" y="1719"/>
                  <a:pt x="873" y="1716"/>
                </a:cubicBezTo>
                <a:cubicBezTo>
                  <a:pt x="873" y="1714"/>
                  <a:pt x="872" y="1713"/>
                  <a:pt x="871" y="1711"/>
                </a:cubicBezTo>
                <a:cubicBezTo>
                  <a:pt x="871" y="1710"/>
                  <a:pt x="871" y="1708"/>
                  <a:pt x="871" y="1707"/>
                </a:cubicBezTo>
                <a:cubicBezTo>
                  <a:pt x="870" y="1706"/>
                  <a:pt x="870" y="1704"/>
                  <a:pt x="870" y="1703"/>
                </a:cubicBezTo>
                <a:cubicBezTo>
                  <a:pt x="870" y="1701"/>
                  <a:pt x="870" y="1700"/>
                  <a:pt x="869" y="1698"/>
                </a:cubicBezTo>
                <a:cubicBezTo>
                  <a:pt x="869" y="1693"/>
                  <a:pt x="870" y="1687"/>
                  <a:pt x="869" y="1681"/>
                </a:cubicBezTo>
                <a:cubicBezTo>
                  <a:pt x="869" y="1680"/>
                  <a:pt x="869" y="1678"/>
                  <a:pt x="868" y="1677"/>
                </a:cubicBezTo>
                <a:cubicBezTo>
                  <a:pt x="868" y="1676"/>
                  <a:pt x="868" y="1674"/>
                  <a:pt x="868" y="1673"/>
                </a:cubicBezTo>
                <a:cubicBezTo>
                  <a:pt x="868" y="1671"/>
                  <a:pt x="867" y="1668"/>
                  <a:pt x="869" y="1671"/>
                </a:cubicBezTo>
                <a:cubicBezTo>
                  <a:pt x="870" y="1671"/>
                  <a:pt x="870" y="1672"/>
                  <a:pt x="871" y="1672"/>
                </a:cubicBezTo>
                <a:cubicBezTo>
                  <a:pt x="871" y="1672"/>
                  <a:pt x="871" y="1672"/>
                  <a:pt x="871" y="1672"/>
                </a:cubicBezTo>
                <a:cubicBezTo>
                  <a:pt x="871" y="1672"/>
                  <a:pt x="870" y="1670"/>
                  <a:pt x="870" y="1669"/>
                </a:cubicBezTo>
                <a:cubicBezTo>
                  <a:pt x="869" y="1669"/>
                  <a:pt x="869" y="1668"/>
                  <a:pt x="868" y="1667"/>
                </a:cubicBezTo>
                <a:cubicBezTo>
                  <a:pt x="868" y="1667"/>
                  <a:pt x="867" y="1667"/>
                  <a:pt x="867" y="1667"/>
                </a:cubicBezTo>
                <a:cubicBezTo>
                  <a:pt x="865" y="1666"/>
                  <a:pt x="864" y="1663"/>
                  <a:pt x="863" y="1661"/>
                </a:cubicBezTo>
                <a:cubicBezTo>
                  <a:pt x="863" y="1660"/>
                  <a:pt x="862" y="1658"/>
                  <a:pt x="862" y="1657"/>
                </a:cubicBezTo>
                <a:cubicBezTo>
                  <a:pt x="862" y="1656"/>
                  <a:pt x="863" y="1656"/>
                  <a:pt x="863" y="1655"/>
                </a:cubicBezTo>
                <a:cubicBezTo>
                  <a:pt x="863" y="1654"/>
                  <a:pt x="863" y="1653"/>
                  <a:pt x="862" y="1653"/>
                </a:cubicBezTo>
                <a:cubicBezTo>
                  <a:pt x="862" y="1651"/>
                  <a:pt x="860" y="1650"/>
                  <a:pt x="859" y="1649"/>
                </a:cubicBezTo>
                <a:cubicBezTo>
                  <a:pt x="858" y="1648"/>
                  <a:pt x="857" y="1647"/>
                  <a:pt x="856" y="1646"/>
                </a:cubicBezTo>
                <a:cubicBezTo>
                  <a:pt x="853" y="1645"/>
                  <a:pt x="851" y="1642"/>
                  <a:pt x="849" y="1641"/>
                </a:cubicBezTo>
                <a:cubicBezTo>
                  <a:pt x="848" y="1640"/>
                  <a:pt x="846" y="1639"/>
                  <a:pt x="845" y="1638"/>
                </a:cubicBezTo>
                <a:cubicBezTo>
                  <a:pt x="844" y="1637"/>
                  <a:pt x="843" y="1636"/>
                  <a:pt x="842" y="1635"/>
                </a:cubicBezTo>
                <a:cubicBezTo>
                  <a:pt x="840" y="1634"/>
                  <a:pt x="839" y="1631"/>
                  <a:pt x="838" y="1628"/>
                </a:cubicBezTo>
                <a:cubicBezTo>
                  <a:pt x="837" y="1626"/>
                  <a:pt x="837" y="1622"/>
                  <a:pt x="836" y="1620"/>
                </a:cubicBezTo>
                <a:cubicBezTo>
                  <a:pt x="836" y="1618"/>
                  <a:pt x="835" y="1617"/>
                  <a:pt x="835" y="1615"/>
                </a:cubicBezTo>
                <a:cubicBezTo>
                  <a:pt x="835" y="1614"/>
                  <a:pt x="834" y="1612"/>
                  <a:pt x="835" y="1611"/>
                </a:cubicBezTo>
                <a:cubicBezTo>
                  <a:pt x="835" y="1610"/>
                  <a:pt x="837" y="1612"/>
                  <a:pt x="838" y="1612"/>
                </a:cubicBezTo>
                <a:cubicBezTo>
                  <a:pt x="840" y="1612"/>
                  <a:pt x="839" y="1610"/>
                  <a:pt x="838" y="1610"/>
                </a:cubicBezTo>
                <a:cubicBezTo>
                  <a:pt x="837" y="1609"/>
                  <a:pt x="836" y="1608"/>
                  <a:pt x="835" y="1608"/>
                </a:cubicBezTo>
                <a:cubicBezTo>
                  <a:pt x="834" y="1607"/>
                  <a:pt x="833" y="1606"/>
                  <a:pt x="833" y="1606"/>
                </a:cubicBezTo>
                <a:cubicBezTo>
                  <a:pt x="832" y="1605"/>
                  <a:pt x="832" y="1604"/>
                  <a:pt x="832" y="1603"/>
                </a:cubicBezTo>
                <a:cubicBezTo>
                  <a:pt x="830" y="1601"/>
                  <a:pt x="829" y="1601"/>
                  <a:pt x="828" y="1599"/>
                </a:cubicBezTo>
                <a:cubicBezTo>
                  <a:pt x="827" y="1598"/>
                  <a:pt x="827" y="1596"/>
                  <a:pt x="826" y="1594"/>
                </a:cubicBezTo>
                <a:cubicBezTo>
                  <a:pt x="825" y="1593"/>
                  <a:pt x="824" y="1591"/>
                  <a:pt x="824" y="1590"/>
                </a:cubicBezTo>
                <a:cubicBezTo>
                  <a:pt x="822" y="1586"/>
                  <a:pt x="821" y="1583"/>
                  <a:pt x="819" y="1580"/>
                </a:cubicBezTo>
                <a:cubicBezTo>
                  <a:pt x="818" y="1579"/>
                  <a:pt x="818" y="1577"/>
                  <a:pt x="817" y="1576"/>
                </a:cubicBezTo>
                <a:cubicBezTo>
                  <a:pt x="816" y="1574"/>
                  <a:pt x="815" y="1573"/>
                  <a:pt x="814" y="1572"/>
                </a:cubicBezTo>
                <a:cubicBezTo>
                  <a:pt x="813" y="1568"/>
                  <a:pt x="811" y="1565"/>
                  <a:pt x="809" y="1562"/>
                </a:cubicBezTo>
                <a:cubicBezTo>
                  <a:pt x="808" y="1561"/>
                  <a:pt x="807" y="1560"/>
                  <a:pt x="807" y="1558"/>
                </a:cubicBezTo>
                <a:cubicBezTo>
                  <a:pt x="806" y="1557"/>
                  <a:pt x="805" y="1556"/>
                  <a:pt x="805" y="1555"/>
                </a:cubicBezTo>
                <a:cubicBezTo>
                  <a:pt x="804" y="1553"/>
                  <a:pt x="805" y="1551"/>
                  <a:pt x="805" y="1550"/>
                </a:cubicBezTo>
                <a:cubicBezTo>
                  <a:pt x="805" y="1548"/>
                  <a:pt x="804" y="1546"/>
                  <a:pt x="804" y="1544"/>
                </a:cubicBezTo>
                <a:cubicBezTo>
                  <a:pt x="803" y="1542"/>
                  <a:pt x="803" y="1541"/>
                  <a:pt x="802" y="1539"/>
                </a:cubicBezTo>
                <a:cubicBezTo>
                  <a:pt x="801" y="1538"/>
                  <a:pt x="800" y="1537"/>
                  <a:pt x="800" y="1535"/>
                </a:cubicBezTo>
                <a:cubicBezTo>
                  <a:pt x="799" y="1534"/>
                  <a:pt x="799" y="1532"/>
                  <a:pt x="798" y="1530"/>
                </a:cubicBezTo>
                <a:cubicBezTo>
                  <a:pt x="797" y="1529"/>
                  <a:pt x="797" y="1528"/>
                  <a:pt x="796" y="1527"/>
                </a:cubicBezTo>
                <a:cubicBezTo>
                  <a:pt x="794" y="1525"/>
                  <a:pt x="791" y="1523"/>
                  <a:pt x="789" y="1521"/>
                </a:cubicBezTo>
                <a:cubicBezTo>
                  <a:pt x="787" y="1519"/>
                  <a:pt x="785" y="1516"/>
                  <a:pt x="783" y="1514"/>
                </a:cubicBezTo>
                <a:cubicBezTo>
                  <a:pt x="782" y="1512"/>
                  <a:pt x="782" y="1511"/>
                  <a:pt x="781" y="1509"/>
                </a:cubicBezTo>
                <a:cubicBezTo>
                  <a:pt x="781" y="1508"/>
                  <a:pt x="780" y="1506"/>
                  <a:pt x="780" y="1505"/>
                </a:cubicBezTo>
                <a:cubicBezTo>
                  <a:pt x="779" y="1503"/>
                  <a:pt x="779" y="1502"/>
                  <a:pt x="778" y="1500"/>
                </a:cubicBezTo>
                <a:cubicBezTo>
                  <a:pt x="777" y="1499"/>
                  <a:pt x="776" y="1498"/>
                  <a:pt x="776" y="1497"/>
                </a:cubicBezTo>
                <a:cubicBezTo>
                  <a:pt x="775" y="1495"/>
                  <a:pt x="774" y="1495"/>
                  <a:pt x="773" y="1494"/>
                </a:cubicBezTo>
                <a:cubicBezTo>
                  <a:pt x="773" y="1492"/>
                  <a:pt x="773" y="1491"/>
                  <a:pt x="774" y="1490"/>
                </a:cubicBezTo>
                <a:cubicBezTo>
                  <a:pt x="775" y="1489"/>
                  <a:pt x="775" y="1487"/>
                  <a:pt x="775" y="1486"/>
                </a:cubicBezTo>
                <a:cubicBezTo>
                  <a:pt x="776" y="1485"/>
                  <a:pt x="777" y="1484"/>
                  <a:pt x="778" y="1486"/>
                </a:cubicBezTo>
                <a:cubicBezTo>
                  <a:pt x="778" y="1486"/>
                  <a:pt x="778" y="1487"/>
                  <a:pt x="778" y="1488"/>
                </a:cubicBezTo>
                <a:cubicBezTo>
                  <a:pt x="778" y="1489"/>
                  <a:pt x="779" y="1489"/>
                  <a:pt x="779" y="1490"/>
                </a:cubicBezTo>
                <a:cubicBezTo>
                  <a:pt x="780" y="1491"/>
                  <a:pt x="779" y="1492"/>
                  <a:pt x="779" y="1494"/>
                </a:cubicBezTo>
                <a:cubicBezTo>
                  <a:pt x="779" y="1495"/>
                  <a:pt x="781" y="1495"/>
                  <a:pt x="781" y="1496"/>
                </a:cubicBezTo>
                <a:cubicBezTo>
                  <a:pt x="782" y="1498"/>
                  <a:pt x="782" y="1499"/>
                  <a:pt x="783" y="1500"/>
                </a:cubicBezTo>
                <a:cubicBezTo>
                  <a:pt x="785" y="1501"/>
                  <a:pt x="788" y="1502"/>
                  <a:pt x="789" y="1505"/>
                </a:cubicBezTo>
                <a:cubicBezTo>
                  <a:pt x="790" y="1508"/>
                  <a:pt x="789" y="1511"/>
                  <a:pt x="790" y="1514"/>
                </a:cubicBezTo>
                <a:cubicBezTo>
                  <a:pt x="791" y="1515"/>
                  <a:pt x="792" y="1516"/>
                  <a:pt x="792" y="1517"/>
                </a:cubicBezTo>
                <a:cubicBezTo>
                  <a:pt x="794" y="1518"/>
                  <a:pt x="795" y="1519"/>
                  <a:pt x="796" y="1521"/>
                </a:cubicBezTo>
                <a:cubicBezTo>
                  <a:pt x="798" y="1522"/>
                  <a:pt x="799" y="1523"/>
                  <a:pt x="801" y="1524"/>
                </a:cubicBezTo>
                <a:cubicBezTo>
                  <a:pt x="802" y="1525"/>
                  <a:pt x="803" y="1527"/>
                  <a:pt x="804" y="1528"/>
                </a:cubicBezTo>
                <a:cubicBezTo>
                  <a:pt x="805" y="1529"/>
                  <a:pt x="806" y="1530"/>
                  <a:pt x="808" y="1530"/>
                </a:cubicBezTo>
                <a:cubicBezTo>
                  <a:pt x="808" y="1531"/>
                  <a:pt x="810" y="1533"/>
                  <a:pt x="811" y="1532"/>
                </a:cubicBezTo>
                <a:cubicBezTo>
                  <a:pt x="811" y="1531"/>
                  <a:pt x="811" y="1530"/>
                  <a:pt x="811" y="1530"/>
                </a:cubicBezTo>
                <a:cubicBezTo>
                  <a:pt x="812" y="1529"/>
                  <a:pt x="812" y="1528"/>
                  <a:pt x="812" y="1527"/>
                </a:cubicBezTo>
                <a:cubicBezTo>
                  <a:pt x="812" y="1526"/>
                  <a:pt x="813" y="1525"/>
                  <a:pt x="813" y="1523"/>
                </a:cubicBezTo>
                <a:cubicBezTo>
                  <a:pt x="815" y="1520"/>
                  <a:pt x="815" y="1517"/>
                  <a:pt x="816" y="1514"/>
                </a:cubicBezTo>
                <a:cubicBezTo>
                  <a:pt x="817" y="1513"/>
                  <a:pt x="818" y="1512"/>
                  <a:pt x="818" y="1510"/>
                </a:cubicBezTo>
                <a:cubicBezTo>
                  <a:pt x="818" y="1509"/>
                  <a:pt x="818" y="1507"/>
                  <a:pt x="819" y="1506"/>
                </a:cubicBezTo>
                <a:cubicBezTo>
                  <a:pt x="820" y="1503"/>
                  <a:pt x="821" y="1501"/>
                  <a:pt x="822" y="1498"/>
                </a:cubicBezTo>
                <a:cubicBezTo>
                  <a:pt x="823" y="1497"/>
                  <a:pt x="823" y="1496"/>
                  <a:pt x="823" y="1494"/>
                </a:cubicBezTo>
                <a:cubicBezTo>
                  <a:pt x="823" y="1494"/>
                  <a:pt x="823" y="1493"/>
                  <a:pt x="824" y="1494"/>
                </a:cubicBezTo>
                <a:cubicBezTo>
                  <a:pt x="824" y="1495"/>
                  <a:pt x="824" y="1496"/>
                  <a:pt x="824" y="1496"/>
                </a:cubicBezTo>
                <a:cubicBezTo>
                  <a:pt x="824" y="1498"/>
                  <a:pt x="824" y="1499"/>
                  <a:pt x="824" y="1500"/>
                </a:cubicBezTo>
                <a:cubicBezTo>
                  <a:pt x="823" y="1502"/>
                  <a:pt x="822" y="1503"/>
                  <a:pt x="822" y="1504"/>
                </a:cubicBezTo>
                <a:cubicBezTo>
                  <a:pt x="822" y="1505"/>
                  <a:pt x="821" y="1507"/>
                  <a:pt x="821" y="1508"/>
                </a:cubicBezTo>
                <a:cubicBezTo>
                  <a:pt x="821" y="1510"/>
                  <a:pt x="821" y="1511"/>
                  <a:pt x="820" y="1512"/>
                </a:cubicBezTo>
                <a:cubicBezTo>
                  <a:pt x="819" y="1515"/>
                  <a:pt x="819" y="1518"/>
                  <a:pt x="818" y="1520"/>
                </a:cubicBezTo>
                <a:cubicBezTo>
                  <a:pt x="817" y="1521"/>
                  <a:pt x="817" y="1522"/>
                  <a:pt x="817" y="1523"/>
                </a:cubicBezTo>
                <a:cubicBezTo>
                  <a:pt x="817" y="1523"/>
                  <a:pt x="817" y="1525"/>
                  <a:pt x="817" y="1526"/>
                </a:cubicBezTo>
                <a:cubicBezTo>
                  <a:pt x="818" y="1526"/>
                  <a:pt x="818" y="1525"/>
                  <a:pt x="819" y="1525"/>
                </a:cubicBezTo>
                <a:cubicBezTo>
                  <a:pt x="820" y="1523"/>
                  <a:pt x="823" y="1525"/>
                  <a:pt x="824" y="1524"/>
                </a:cubicBezTo>
                <a:cubicBezTo>
                  <a:pt x="826" y="1524"/>
                  <a:pt x="827" y="1524"/>
                  <a:pt x="828" y="1525"/>
                </a:cubicBezTo>
                <a:cubicBezTo>
                  <a:pt x="830" y="1526"/>
                  <a:pt x="830" y="1527"/>
                  <a:pt x="831" y="1529"/>
                </a:cubicBezTo>
                <a:cubicBezTo>
                  <a:pt x="831" y="1531"/>
                  <a:pt x="833" y="1532"/>
                  <a:pt x="834" y="1533"/>
                </a:cubicBezTo>
                <a:cubicBezTo>
                  <a:pt x="834" y="1534"/>
                  <a:pt x="835" y="1536"/>
                  <a:pt x="836" y="1537"/>
                </a:cubicBezTo>
                <a:cubicBezTo>
                  <a:pt x="836" y="1539"/>
                  <a:pt x="837" y="1540"/>
                  <a:pt x="838" y="1541"/>
                </a:cubicBezTo>
                <a:cubicBezTo>
                  <a:pt x="841" y="1543"/>
                  <a:pt x="842" y="1546"/>
                  <a:pt x="844" y="1549"/>
                </a:cubicBezTo>
                <a:cubicBezTo>
                  <a:pt x="845" y="1551"/>
                  <a:pt x="847" y="1553"/>
                  <a:pt x="848" y="1556"/>
                </a:cubicBezTo>
                <a:cubicBezTo>
                  <a:pt x="848" y="1556"/>
                  <a:pt x="848" y="1557"/>
                  <a:pt x="849" y="1558"/>
                </a:cubicBezTo>
                <a:cubicBezTo>
                  <a:pt x="850" y="1559"/>
                  <a:pt x="851" y="1559"/>
                  <a:pt x="852" y="1561"/>
                </a:cubicBezTo>
                <a:cubicBezTo>
                  <a:pt x="852" y="1562"/>
                  <a:pt x="852" y="1563"/>
                  <a:pt x="853" y="1564"/>
                </a:cubicBezTo>
                <a:cubicBezTo>
                  <a:pt x="855" y="1565"/>
                  <a:pt x="855" y="1567"/>
                  <a:pt x="857" y="1567"/>
                </a:cubicBezTo>
                <a:cubicBezTo>
                  <a:pt x="858" y="1568"/>
                  <a:pt x="858" y="1569"/>
                  <a:pt x="859" y="1571"/>
                </a:cubicBezTo>
                <a:cubicBezTo>
                  <a:pt x="859" y="1572"/>
                  <a:pt x="859" y="1573"/>
                  <a:pt x="860" y="1575"/>
                </a:cubicBezTo>
                <a:cubicBezTo>
                  <a:pt x="861" y="1576"/>
                  <a:pt x="862" y="1576"/>
                  <a:pt x="862" y="1577"/>
                </a:cubicBezTo>
                <a:cubicBezTo>
                  <a:pt x="863" y="1579"/>
                  <a:pt x="864" y="1580"/>
                  <a:pt x="865" y="1581"/>
                </a:cubicBezTo>
                <a:cubicBezTo>
                  <a:pt x="867" y="1582"/>
                  <a:pt x="867" y="1583"/>
                  <a:pt x="868" y="1584"/>
                </a:cubicBezTo>
                <a:cubicBezTo>
                  <a:pt x="868" y="1585"/>
                  <a:pt x="868" y="1585"/>
                  <a:pt x="869" y="1586"/>
                </a:cubicBezTo>
                <a:cubicBezTo>
                  <a:pt x="869" y="1587"/>
                  <a:pt x="870" y="1587"/>
                  <a:pt x="870" y="1588"/>
                </a:cubicBezTo>
                <a:cubicBezTo>
                  <a:pt x="871" y="1591"/>
                  <a:pt x="870" y="1595"/>
                  <a:pt x="872" y="1598"/>
                </a:cubicBezTo>
                <a:cubicBezTo>
                  <a:pt x="872" y="1600"/>
                  <a:pt x="874" y="1601"/>
                  <a:pt x="875" y="1603"/>
                </a:cubicBezTo>
                <a:cubicBezTo>
                  <a:pt x="875" y="1604"/>
                  <a:pt x="877" y="1605"/>
                  <a:pt x="879" y="1606"/>
                </a:cubicBezTo>
                <a:cubicBezTo>
                  <a:pt x="880" y="1606"/>
                  <a:pt x="882" y="1606"/>
                  <a:pt x="883" y="1606"/>
                </a:cubicBezTo>
                <a:cubicBezTo>
                  <a:pt x="884" y="1607"/>
                  <a:pt x="885" y="1608"/>
                  <a:pt x="887" y="1609"/>
                </a:cubicBezTo>
                <a:cubicBezTo>
                  <a:pt x="888" y="1610"/>
                  <a:pt x="889" y="1611"/>
                  <a:pt x="890" y="1612"/>
                </a:cubicBezTo>
                <a:cubicBezTo>
                  <a:pt x="891" y="1614"/>
                  <a:pt x="892" y="1615"/>
                  <a:pt x="893" y="1616"/>
                </a:cubicBezTo>
                <a:cubicBezTo>
                  <a:pt x="894" y="1618"/>
                  <a:pt x="895" y="1619"/>
                  <a:pt x="896" y="1620"/>
                </a:cubicBezTo>
                <a:cubicBezTo>
                  <a:pt x="898" y="1623"/>
                  <a:pt x="899" y="1627"/>
                  <a:pt x="901" y="1630"/>
                </a:cubicBezTo>
                <a:cubicBezTo>
                  <a:pt x="902" y="1631"/>
                  <a:pt x="902" y="1633"/>
                  <a:pt x="903" y="1635"/>
                </a:cubicBezTo>
                <a:cubicBezTo>
                  <a:pt x="903" y="1636"/>
                  <a:pt x="904" y="1638"/>
                  <a:pt x="905" y="1640"/>
                </a:cubicBezTo>
                <a:cubicBezTo>
                  <a:pt x="906" y="1641"/>
                  <a:pt x="906" y="1642"/>
                  <a:pt x="906" y="1643"/>
                </a:cubicBezTo>
                <a:cubicBezTo>
                  <a:pt x="906" y="1645"/>
                  <a:pt x="905" y="1646"/>
                  <a:pt x="905" y="1647"/>
                </a:cubicBezTo>
                <a:cubicBezTo>
                  <a:pt x="904" y="1648"/>
                  <a:pt x="904" y="1650"/>
                  <a:pt x="904" y="1651"/>
                </a:cubicBezTo>
                <a:cubicBezTo>
                  <a:pt x="905" y="1653"/>
                  <a:pt x="905" y="1654"/>
                  <a:pt x="906" y="1655"/>
                </a:cubicBezTo>
                <a:cubicBezTo>
                  <a:pt x="906" y="1656"/>
                  <a:pt x="906" y="1657"/>
                  <a:pt x="906" y="1658"/>
                </a:cubicBezTo>
                <a:cubicBezTo>
                  <a:pt x="906" y="1661"/>
                  <a:pt x="906" y="1663"/>
                  <a:pt x="906" y="1666"/>
                </a:cubicBezTo>
                <a:cubicBezTo>
                  <a:pt x="906" y="1667"/>
                  <a:pt x="907" y="1669"/>
                  <a:pt x="907" y="1671"/>
                </a:cubicBezTo>
                <a:cubicBezTo>
                  <a:pt x="909" y="1674"/>
                  <a:pt x="911" y="1676"/>
                  <a:pt x="913" y="1679"/>
                </a:cubicBezTo>
                <a:cubicBezTo>
                  <a:pt x="914" y="1680"/>
                  <a:pt x="915" y="1682"/>
                  <a:pt x="916" y="1683"/>
                </a:cubicBezTo>
                <a:cubicBezTo>
                  <a:pt x="916" y="1684"/>
                  <a:pt x="918" y="1685"/>
                  <a:pt x="919" y="1686"/>
                </a:cubicBezTo>
                <a:cubicBezTo>
                  <a:pt x="921" y="1688"/>
                  <a:pt x="924" y="1687"/>
                  <a:pt x="927" y="1688"/>
                </a:cubicBezTo>
                <a:cubicBezTo>
                  <a:pt x="928" y="1689"/>
                  <a:pt x="929" y="1690"/>
                  <a:pt x="930" y="1691"/>
                </a:cubicBezTo>
                <a:cubicBezTo>
                  <a:pt x="931" y="1693"/>
                  <a:pt x="932" y="1694"/>
                  <a:pt x="933" y="1695"/>
                </a:cubicBezTo>
                <a:cubicBezTo>
                  <a:pt x="935" y="1697"/>
                  <a:pt x="937" y="1700"/>
                  <a:pt x="938" y="1703"/>
                </a:cubicBezTo>
                <a:cubicBezTo>
                  <a:pt x="939" y="1705"/>
                  <a:pt x="941" y="1707"/>
                  <a:pt x="942" y="1709"/>
                </a:cubicBezTo>
                <a:cubicBezTo>
                  <a:pt x="943" y="1710"/>
                  <a:pt x="944" y="1712"/>
                  <a:pt x="944" y="1714"/>
                </a:cubicBezTo>
                <a:cubicBezTo>
                  <a:pt x="946" y="1717"/>
                  <a:pt x="948" y="1720"/>
                  <a:pt x="950" y="1723"/>
                </a:cubicBezTo>
                <a:cubicBezTo>
                  <a:pt x="953" y="1727"/>
                  <a:pt x="954" y="1730"/>
                  <a:pt x="956" y="1733"/>
                </a:cubicBezTo>
                <a:cubicBezTo>
                  <a:pt x="958" y="1736"/>
                  <a:pt x="961" y="1738"/>
                  <a:pt x="963" y="1740"/>
                </a:cubicBezTo>
                <a:cubicBezTo>
                  <a:pt x="965" y="1741"/>
                  <a:pt x="967" y="1743"/>
                  <a:pt x="968" y="1745"/>
                </a:cubicBezTo>
                <a:cubicBezTo>
                  <a:pt x="969" y="1746"/>
                  <a:pt x="970" y="1747"/>
                  <a:pt x="970" y="1748"/>
                </a:cubicBezTo>
                <a:cubicBezTo>
                  <a:pt x="970" y="1749"/>
                  <a:pt x="969" y="1751"/>
                  <a:pt x="970" y="1753"/>
                </a:cubicBezTo>
                <a:cubicBezTo>
                  <a:pt x="971" y="1754"/>
                  <a:pt x="972" y="1753"/>
                  <a:pt x="973" y="1754"/>
                </a:cubicBezTo>
                <a:cubicBezTo>
                  <a:pt x="974" y="1755"/>
                  <a:pt x="974" y="1756"/>
                  <a:pt x="974" y="1756"/>
                </a:cubicBezTo>
                <a:cubicBezTo>
                  <a:pt x="975" y="1757"/>
                  <a:pt x="975" y="1757"/>
                  <a:pt x="976" y="1757"/>
                </a:cubicBezTo>
                <a:cubicBezTo>
                  <a:pt x="977" y="1758"/>
                  <a:pt x="977" y="1760"/>
                  <a:pt x="978" y="1761"/>
                </a:cubicBezTo>
                <a:cubicBezTo>
                  <a:pt x="978" y="1763"/>
                  <a:pt x="978" y="1764"/>
                  <a:pt x="978" y="1766"/>
                </a:cubicBezTo>
                <a:cubicBezTo>
                  <a:pt x="978" y="1767"/>
                  <a:pt x="978" y="1768"/>
                  <a:pt x="978" y="1769"/>
                </a:cubicBezTo>
                <a:cubicBezTo>
                  <a:pt x="978" y="1770"/>
                  <a:pt x="978" y="1770"/>
                  <a:pt x="978" y="1771"/>
                </a:cubicBezTo>
                <a:cubicBezTo>
                  <a:pt x="979" y="1772"/>
                  <a:pt x="979" y="1772"/>
                  <a:pt x="979" y="1773"/>
                </a:cubicBezTo>
                <a:cubicBezTo>
                  <a:pt x="979" y="1774"/>
                  <a:pt x="979" y="1775"/>
                  <a:pt x="979" y="1775"/>
                </a:cubicBezTo>
                <a:cubicBezTo>
                  <a:pt x="979" y="1777"/>
                  <a:pt x="978" y="1778"/>
                  <a:pt x="978" y="1779"/>
                </a:cubicBezTo>
                <a:cubicBezTo>
                  <a:pt x="977" y="1781"/>
                  <a:pt x="978" y="1782"/>
                  <a:pt x="978" y="1783"/>
                </a:cubicBezTo>
                <a:cubicBezTo>
                  <a:pt x="979" y="1785"/>
                  <a:pt x="979" y="1787"/>
                  <a:pt x="978" y="1788"/>
                </a:cubicBezTo>
                <a:cubicBezTo>
                  <a:pt x="978" y="1789"/>
                  <a:pt x="976" y="1789"/>
                  <a:pt x="976" y="1790"/>
                </a:cubicBezTo>
                <a:cubicBezTo>
                  <a:pt x="975" y="1791"/>
                  <a:pt x="978" y="1790"/>
                  <a:pt x="979" y="1791"/>
                </a:cubicBezTo>
                <a:cubicBezTo>
                  <a:pt x="979" y="1791"/>
                  <a:pt x="979" y="1792"/>
                  <a:pt x="979" y="1793"/>
                </a:cubicBezTo>
                <a:cubicBezTo>
                  <a:pt x="979" y="1795"/>
                  <a:pt x="980" y="1796"/>
                  <a:pt x="980" y="1797"/>
                </a:cubicBezTo>
                <a:cubicBezTo>
                  <a:pt x="981" y="1799"/>
                  <a:pt x="980" y="1800"/>
                  <a:pt x="981" y="1802"/>
                </a:cubicBezTo>
                <a:cubicBezTo>
                  <a:pt x="981" y="1803"/>
                  <a:pt x="982" y="1804"/>
                  <a:pt x="982" y="1806"/>
                </a:cubicBezTo>
                <a:cubicBezTo>
                  <a:pt x="982" y="1807"/>
                  <a:pt x="983" y="1809"/>
                  <a:pt x="983" y="1810"/>
                </a:cubicBezTo>
                <a:cubicBezTo>
                  <a:pt x="983" y="1811"/>
                  <a:pt x="984" y="1813"/>
                  <a:pt x="984" y="1814"/>
                </a:cubicBezTo>
                <a:cubicBezTo>
                  <a:pt x="984" y="1816"/>
                  <a:pt x="985" y="1817"/>
                  <a:pt x="986" y="1818"/>
                </a:cubicBezTo>
                <a:cubicBezTo>
                  <a:pt x="987" y="1819"/>
                  <a:pt x="988" y="1821"/>
                  <a:pt x="988" y="1822"/>
                </a:cubicBezTo>
                <a:cubicBezTo>
                  <a:pt x="988" y="1824"/>
                  <a:pt x="988" y="1826"/>
                  <a:pt x="988" y="1827"/>
                </a:cubicBezTo>
                <a:cubicBezTo>
                  <a:pt x="987" y="1828"/>
                  <a:pt x="987" y="1829"/>
                  <a:pt x="987" y="1829"/>
                </a:cubicBezTo>
                <a:cubicBezTo>
                  <a:pt x="987" y="1831"/>
                  <a:pt x="988" y="1831"/>
                  <a:pt x="989" y="1832"/>
                </a:cubicBezTo>
                <a:cubicBezTo>
                  <a:pt x="989" y="1833"/>
                  <a:pt x="989" y="1834"/>
                  <a:pt x="989" y="1835"/>
                </a:cubicBezTo>
                <a:cubicBezTo>
                  <a:pt x="990" y="1837"/>
                  <a:pt x="990" y="1838"/>
                  <a:pt x="991" y="1839"/>
                </a:cubicBezTo>
                <a:cubicBezTo>
                  <a:pt x="992" y="1841"/>
                  <a:pt x="991" y="1841"/>
                  <a:pt x="993" y="1842"/>
                </a:cubicBezTo>
                <a:cubicBezTo>
                  <a:pt x="995" y="1842"/>
                  <a:pt x="996" y="1842"/>
                  <a:pt x="998" y="1842"/>
                </a:cubicBezTo>
                <a:cubicBezTo>
                  <a:pt x="1001" y="1842"/>
                  <a:pt x="1003" y="1842"/>
                  <a:pt x="1006" y="1842"/>
                </a:cubicBezTo>
                <a:cubicBezTo>
                  <a:pt x="1008" y="1842"/>
                  <a:pt x="1009" y="1842"/>
                  <a:pt x="1011" y="1841"/>
                </a:cubicBezTo>
                <a:cubicBezTo>
                  <a:pt x="1012" y="1841"/>
                  <a:pt x="1013" y="1840"/>
                  <a:pt x="1015" y="1840"/>
                </a:cubicBezTo>
                <a:cubicBezTo>
                  <a:pt x="1016" y="1839"/>
                  <a:pt x="1017" y="1840"/>
                  <a:pt x="1019" y="1840"/>
                </a:cubicBezTo>
                <a:cubicBezTo>
                  <a:pt x="1020" y="1840"/>
                  <a:pt x="1022" y="1840"/>
                  <a:pt x="1023" y="1840"/>
                </a:cubicBezTo>
                <a:cubicBezTo>
                  <a:pt x="1024" y="1839"/>
                  <a:pt x="1024" y="1837"/>
                  <a:pt x="1025" y="1836"/>
                </a:cubicBezTo>
                <a:cubicBezTo>
                  <a:pt x="1026" y="1835"/>
                  <a:pt x="1027" y="1834"/>
                  <a:pt x="1028" y="1834"/>
                </a:cubicBezTo>
                <a:cubicBezTo>
                  <a:pt x="1029" y="1833"/>
                  <a:pt x="1030" y="1833"/>
                  <a:pt x="1032" y="1832"/>
                </a:cubicBezTo>
                <a:cubicBezTo>
                  <a:pt x="1033" y="1831"/>
                  <a:pt x="1034" y="1830"/>
                  <a:pt x="1035" y="1829"/>
                </a:cubicBezTo>
                <a:cubicBezTo>
                  <a:pt x="1036" y="1829"/>
                  <a:pt x="1037" y="1828"/>
                  <a:pt x="1038" y="1828"/>
                </a:cubicBezTo>
                <a:cubicBezTo>
                  <a:pt x="1040" y="1827"/>
                  <a:pt x="1041" y="1827"/>
                  <a:pt x="1042" y="1827"/>
                </a:cubicBezTo>
                <a:cubicBezTo>
                  <a:pt x="1045" y="1827"/>
                  <a:pt x="1048" y="1825"/>
                  <a:pt x="1051" y="1825"/>
                </a:cubicBezTo>
                <a:cubicBezTo>
                  <a:pt x="1053" y="1825"/>
                  <a:pt x="1054" y="1825"/>
                  <a:pt x="1056" y="1825"/>
                </a:cubicBezTo>
                <a:cubicBezTo>
                  <a:pt x="1057" y="1825"/>
                  <a:pt x="1057" y="1824"/>
                  <a:pt x="1058" y="1824"/>
                </a:cubicBezTo>
                <a:cubicBezTo>
                  <a:pt x="1059" y="1824"/>
                  <a:pt x="1060" y="1824"/>
                  <a:pt x="1061" y="1824"/>
                </a:cubicBezTo>
                <a:cubicBezTo>
                  <a:pt x="1063" y="1823"/>
                  <a:pt x="1065" y="1823"/>
                  <a:pt x="1066" y="1823"/>
                </a:cubicBezTo>
                <a:cubicBezTo>
                  <a:pt x="1068" y="1822"/>
                  <a:pt x="1069" y="1822"/>
                  <a:pt x="1071" y="1821"/>
                </a:cubicBezTo>
                <a:cubicBezTo>
                  <a:pt x="1072" y="1820"/>
                  <a:pt x="1074" y="1819"/>
                  <a:pt x="1075" y="1818"/>
                </a:cubicBezTo>
                <a:cubicBezTo>
                  <a:pt x="1076" y="1817"/>
                  <a:pt x="1077" y="1816"/>
                  <a:pt x="1079" y="1816"/>
                </a:cubicBezTo>
                <a:cubicBezTo>
                  <a:pt x="1081" y="1815"/>
                  <a:pt x="1082" y="1815"/>
                  <a:pt x="1083" y="1815"/>
                </a:cubicBezTo>
                <a:cubicBezTo>
                  <a:pt x="1086" y="1815"/>
                  <a:pt x="1090" y="1815"/>
                  <a:pt x="1092" y="1815"/>
                </a:cubicBezTo>
                <a:cubicBezTo>
                  <a:pt x="1094" y="1815"/>
                  <a:pt x="1095" y="1814"/>
                  <a:pt x="1096" y="1812"/>
                </a:cubicBezTo>
                <a:cubicBezTo>
                  <a:pt x="1097" y="1811"/>
                  <a:pt x="1098" y="1809"/>
                  <a:pt x="1100" y="1808"/>
                </a:cubicBezTo>
                <a:cubicBezTo>
                  <a:pt x="1102" y="1806"/>
                  <a:pt x="1103" y="1805"/>
                  <a:pt x="1105" y="1804"/>
                </a:cubicBezTo>
                <a:cubicBezTo>
                  <a:pt x="1107" y="1803"/>
                  <a:pt x="1109" y="1802"/>
                  <a:pt x="1111" y="1801"/>
                </a:cubicBezTo>
                <a:cubicBezTo>
                  <a:pt x="1112" y="1800"/>
                  <a:pt x="1115" y="1799"/>
                  <a:pt x="1117" y="1799"/>
                </a:cubicBezTo>
                <a:cubicBezTo>
                  <a:pt x="1119" y="1798"/>
                  <a:pt x="1121" y="1798"/>
                  <a:pt x="1123" y="1797"/>
                </a:cubicBezTo>
                <a:cubicBezTo>
                  <a:pt x="1124" y="1797"/>
                  <a:pt x="1125" y="1796"/>
                  <a:pt x="1126" y="1796"/>
                </a:cubicBezTo>
                <a:cubicBezTo>
                  <a:pt x="1128" y="1796"/>
                  <a:pt x="1130" y="1795"/>
                  <a:pt x="1132" y="1795"/>
                </a:cubicBezTo>
                <a:cubicBezTo>
                  <a:pt x="1134" y="1794"/>
                  <a:pt x="1136" y="1793"/>
                  <a:pt x="1139" y="1792"/>
                </a:cubicBezTo>
                <a:cubicBezTo>
                  <a:pt x="1142" y="1792"/>
                  <a:pt x="1146" y="1791"/>
                  <a:pt x="1149" y="1789"/>
                </a:cubicBezTo>
                <a:cubicBezTo>
                  <a:pt x="1151" y="1788"/>
                  <a:pt x="1152" y="1788"/>
                  <a:pt x="1153" y="1787"/>
                </a:cubicBezTo>
                <a:cubicBezTo>
                  <a:pt x="1155" y="1786"/>
                  <a:pt x="1156" y="1786"/>
                  <a:pt x="1158" y="1786"/>
                </a:cubicBezTo>
                <a:cubicBezTo>
                  <a:pt x="1159" y="1785"/>
                  <a:pt x="1160" y="1784"/>
                  <a:pt x="1162" y="1784"/>
                </a:cubicBezTo>
                <a:cubicBezTo>
                  <a:pt x="1163" y="1783"/>
                  <a:pt x="1164" y="1783"/>
                  <a:pt x="1165" y="1781"/>
                </a:cubicBezTo>
                <a:cubicBezTo>
                  <a:pt x="1166" y="1778"/>
                  <a:pt x="1163" y="1776"/>
                  <a:pt x="1165" y="1773"/>
                </a:cubicBezTo>
                <a:cubicBezTo>
                  <a:pt x="1165" y="1772"/>
                  <a:pt x="1167" y="1771"/>
                  <a:pt x="1168" y="1770"/>
                </a:cubicBezTo>
                <a:cubicBezTo>
                  <a:pt x="1169" y="1769"/>
                  <a:pt x="1169" y="1767"/>
                  <a:pt x="1170" y="1766"/>
                </a:cubicBezTo>
                <a:cubicBezTo>
                  <a:pt x="1171" y="1765"/>
                  <a:pt x="1173" y="1765"/>
                  <a:pt x="1174" y="1765"/>
                </a:cubicBezTo>
                <a:cubicBezTo>
                  <a:pt x="1175" y="1764"/>
                  <a:pt x="1176" y="1764"/>
                  <a:pt x="1178" y="1763"/>
                </a:cubicBezTo>
                <a:cubicBezTo>
                  <a:pt x="1179" y="1763"/>
                  <a:pt x="1181" y="1762"/>
                  <a:pt x="1182" y="1762"/>
                </a:cubicBezTo>
                <a:cubicBezTo>
                  <a:pt x="1185" y="1760"/>
                  <a:pt x="1189" y="1760"/>
                  <a:pt x="1192" y="1758"/>
                </a:cubicBezTo>
                <a:cubicBezTo>
                  <a:pt x="1193" y="1758"/>
                  <a:pt x="1194" y="1757"/>
                  <a:pt x="1196" y="1756"/>
                </a:cubicBezTo>
                <a:cubicBezTo>
                  <a:pt x="1197" y="1756"/>
                  <a:pt x="1199" y="1756"/>
                  <a:pt x="1200" y="1755"/>
                </a:cubicBezTo>
                <a:cubicBezTo>
                  <a:pt x="1201" y="1755"/>
                  <a:pt x="1203" y="1754"/>
                  <a:pt x="1204" y="1754"/>
                </a:cubicBezTo>
                <a:cubicBezTo>
                  <a:pt x="1206" y="1754"/>
                  <a:pt x="1207" y="1753"/>
                  <a:pt x="1208" y="1754"/>
                </a:cubicBezTo>
                <a:cubicBezTo>
                  <a:pt x="1211" y="1754"/>
                  <a:pt x="1214" y="1755"/>
                  <a:pt x="1217" y="1755"/>
                </a:cubicBezTo>
                <a:cubicBezTo>
                  <a:pt x="1218" y="1755"/>
                  <a:pt x="1220" y="1755"/>
                  <a:pt x="1221" y="1754"/>
                </a:cubicBezTo>
                <a:cubicBezTo>
                  <a:pt x="1222" y="1753"/>
                  <a:pt x="1223" y="1752"/>
                  <a:pt x="1223" y="1751"/>
                </a:cubicBezTo>
                <a:cubicBezTo>
                  <a:pt x="1224" y="1749"/>
                  <a:pt x="1224" y="1748"/>
                  <a:pt x="1224" y="1746"/>
                </a:cubicBezTo>
                <a:cubicBezTo>
                  <a:pt x="1224" y="1745"/>
                  <a:pt x="1225" y="1743"/>
                  <a:pt x="1225" y="1742"/>
                </a:cubicBezTo>
                <a:cubicBezTo>
                  <a:pt x="1226" y="1741"/>
                  <a:pt x="1226" y="1739"/>
                  <a:pt x="1228" y="1738"/>
                </a:cubicBezTo>
                <a:cubicBezTo>
                  <a:pt x="1228" y="1738"/>
                  <a:pt x="1229" y="1738"/>
                  <a:pt x="1229" y="1737"/>
                </a:cubicBezTo>
                <a:cubicBezTo>
                  <a:pt x="1230" y="1737"/>
                  <a:pt x="1230" y="1736"/>
                  <a:pt x="1231" y="1736"/>
                </a:cubicBezTo>
                <a:cubicBezTo>
                  <a:pt x="1234" y="1734"/>
                  <a:pt x="1237" y="1737"/>
                  <a:pt x="1240" y="1736"/>
                </a:cubicBezTo>
                <a:cubicBezTo>
                  <a:pt x="1241" y="1736"/>
                  <a:pt x="1242" y="1735"/>
                  <a:pt x="1244" y="1735"/>
                </a:cubicBezTo>
                <a:cubicBezTo>
                  <a:pt x="1245" y="1734"/>
                  <a:pt x="1246" y="1734"/>
                  <a:pt x="1248" y="1733"/>
                </a:cubicBezTo>
                <a:cubicBezTo>
                  <a:pt x="1249" y="1733"/>
                  <a:pt x="1249" y="1732"/>
                  <a:pt x="1250" y="1730"/>
                </a:cubicBezTo>
                <a:cubicBezTo>
                  <a:pt x="1250" y="1729"/>
                  <a:pt x="1250" y="1729"/>
                  <a:pt x="1250" y="1728"/>
                </a:cubicBezTo>
                <a:cubicBezTo>
                  <a:pt x="1251" y="1727"/>
                  <a:pt x="1252" y="1726"/>
                  <a:pt x="1252" y="1725"/>
                </a:cubicBezTo>
                <a:cubicBezTo>
                  <a:pt x="1252" y="1724"/>
                  <a:pt x="1252" y="1724"/>
                  <a:pt x="1253" y="1723"/>
                </a:cubicBezTo>
                <a:cubicBezTo>
                  <a:pt x="1253" y="1721"/>
                  <a:pt x="1254" y="1720"/>
                  <a:pt x="1256" y="1719"/>
                </a:cubicBezTo>
                <a:cubicBezTo>
                  <a:pt x="1256" y="1719"/>
                  <a:pt x="1257" y="1718"/>
                  <a:pt x="1258" y="1718"/>
                </a:cubicBezTo>
                <a:cubicBezTo>
                  <a:pt x="1259" y="1718"/>
                  <a:pt x="1259" y="1718"/>
                  <a:pt x="1260" y="1718"/>
                </a:cubicBezTo>
                <a:cubicBezTo>
                  <a:pt x="1262" y="1718"/>
                  <a:pt x="1263" y="1716"/>
                  <a:pt x="1264" y="1716"/>
                </a:cubicBezTo>
                <a:cubicBezTo>
                  <a:pt x="1267" y="1715"/>
                  <a:pt x="1270" y="1716"/>
                  <a:pt x="1273" y="1714"/>
                </a:cubicBezTo>
                <a:cubicBezTo>
                  <a:pt x="1274" y="1714"/>
                  <a:pt x="1275" y="1713"/>
                  <a:pt x="1275" y="1711"/>
                </a:cubicBezTo>
                <a:cubicBezTo>
                  <a:pt x="1275" y="1709"/>
                  <a:pt x="1273" y="1709"/>
                  <a:pt x="1273" y="1707"/>
                </a:cubicBezTo>
                <a:cubicBezTo>
                  <a:pt x="1273" y="1706"/>
                  <a:pt x="1274" y="1705"/>
                  <a:pt x="1274" y="1704"/>
                </a:cubicBezTo>
                <a:cubicBezTo>
                  <a:pt x="1274" y="1704"/>
                  <a:pt x="1273" y="1703"/>
                  <a:pt x="1273" y="1703"/>
                </a:cubicBezTo>
                <a:cubicBezTo>
                  <a:pt x="1273" y="1701"/>
                  <a:pt x="1273" y="1699"/>
                  <a:pt x="1273" y="1697"/>
                </a:cubicBezTo>
                <a:cubicBezTo>
                  <a:pt x="1273" y="1695"/>
                  <a:pt x="1274" y="1694"/>
                  <a:pt x="1275" y="1693"/>
                </a:cubicBezTo>
                <a:cubicBezTo>
                  <a:pt x="1276" y="1691"/>
                  <a:pt x="1276" y="1690"/>
                  <a:pt x="1276" y="1688"/>
                </a:cubicBezTo>
                <a:cubicBezTo>
                  <a:pt x="1277" y="1687"/>
                  <a:pt x="1278" y="1686"/>
                  <a:pt x="1279" y="1685"/>
                </a:cubicBezTo>
                <a:cubicBezTo>
                  <a:pt x="1279" y="1684"/>
                  <a:pt x="1280" y="1682"/>
                  <a:pt x="1281" y="1681"/>
                </a:cubicBezTo>
                <a:cubicBezTo>
                  <a:pt x="1282" y="1681"/>
                  <a:pt x="1284" y="1681"/>
                  <a:pt x="1283" y="1682"/>
                </a:cubicBezTo>
                <a:cubicBezTo>
                  <a:pt x="1283" y="1683"/>
                  <a:pt x="1282" y="1683"/>
                  <a:pt x="1282" y="1684"/>
                </a:cubicBezTo>
                <a:cubicBezTo>
                  <a:pt x="1283" y="1685"/>
                  <a:pt x="1283" y="1685"/>
                  <a:pt x="1284" y="1685"/>
                </a:cubicBezTo>
                <a:cubicBezTo>
                  <a:pt x="1285" y="1685"/>
                  <a:pt x="1285" y="1684"/>
                  <a:pt x="1286" y="1685"/>
                </a:cubicBezTo>
                <a:cubicBezTo>
                  <a:pt x="1287" y="1685"/>
                  <a:pt x="1287" y="1685"/>
                  <a:pt x="1288" y="1685"/>
                </a:cubicBezTo>
                <a:cubicBezTo>
                  <a:pt x="1290" y="1684"/>
                  <a:pt x="1290" y="1680"/>
                  <a:pt x="1292" y="1679"/>
                </a:cubicBezTo>
                <a:cubicBezTo>
                  <a:pt x="1293" y="1678"/>
                  <a:pt x="1294" y="1677"/>
                  <a:pt x="1294" y="1676"/>
                </a:cubicBezTo>
                <a:cubicBezTo>
                  <a:pt x="1294" y="1675"/>
                  <a:pt x="1294" y="1674"/>
                  <a:pt x="1295" y="1674"/>
                </a:cubicBezTo>
                <a:cubicBezTo>
                  <a:pt x="1295" y="1672"/>
                  <a:pt x="1297" y="1669"/>
                  <a:pt x="1298" y="1668"/>
                </a:cubicBezTo>
                <a:cubicBezTo>
                  <a:pt x="1300" y="1668"/>
                  <a:pt x="1301" y="1667"/>
                  <a:pt x="1302" y="1666"/>
                </a:cubicBezTo>
                <a:cubicBezTo>
                  <a:pt x="1303" y="1665"/>
                  <a:pt x="1304" y="1664"/>
                  <a:pt x="1305" y="1663"/>
                </a:cubicBezTo>
                <a:cubicBezTo>
                  <a:pt x="1306" y="1661"/>
                  <a:pt x="1307" y="1660"/>
                  <a:pt x="1308" y="1658"/>
                </a:cubicBezTo>
                <a:cubicBezTo>
                  <a:pt x="1308" y="1657"/>
                  <a:pt x="1309" y="1656"/>
                  <a:pt x="1310" y="1655"/>
                </a:cubicBezTo>
                <a:cubicBezTo>
                  <a:pt x="1311" y="1654"/>
                  <a:pt x="1311" y="1653"/>
                  <a:pt x="1312" y="1651"/>
                </a:cubicBezTo>
                <a:cubicBezTo>
                  <a:pt x="1312" y="1651"/>
                  <a:pt x="1312" y="1650"/>
                  <a:pt x="1313" y="1650"/>
                </a:cubicBezTo>
                <a:cubicBezTo>
                  <a:pt x="1313" y="1649"/>
                  <a:pt x="1313" y="1648"/>
                  <a:pt x="1313" y="1648"/>
                </a:cubicBezTo>
                <a:cubicBezTo>
                  <a:pt x="1314" y="1646"/>
                  <a:pt x="1315" y="1645"/>
                  <a:pt x="1315" y="1644"/>
                </a:cubicBezTo>
                <a:cubicBezTo>
                  <a:pt x="1315" y="1643"/>
                  <a:pt x="1314" y="1643"/>
                  <a:pt x="1314" y="1642"/>
                </a:cubicBezTo>
                <a:cubicBezTo>
                  <a:pt x="1314" y="1641"/>
                  <a:pt x="1315" y="1641"/>
                  <a:pt x="1314" y="1640"/>
                </a:cubicBezTo>
                <a:cubicBezTo>
                  <a:pt x="1314" y="1640"/>
                  <a:pt x="1313" y="1640"/>
                  <a:pt x="1313" y="1640"/>
                </a:cubicBezTo>
                <a:cubicBezTo>
                  <a:pt x="1312" y="1640"/>
                  <a:pt x="1312" y="1640"/>
                  <a:pt x="1311" y="1640"/>
                </a:cubicBezTo>
                <a:cubicBezTo>
                  <a:pt x="1310" y="1640"/>
                  <a:pt x="1310" y="1640"/>
                  <a:pt x="1309" y="1640"/>
                </a:cubicBezTo>
                <a:cubicBezTo>
                  <a:pt x="1308" y="1639"/>
                  <a:pt x="1307" y="1639"/>
                  <a:pt x="1307" y="1638"/>
                </a:cubicBezTo>
                <a:cubicBezTo>
                  <a:pt x="1306" y="1637"/>
                  <a:pt x="1304" y="1636"/>
                  <a:pt x="1303" y="1635"/>
                </a:cubicBezTo>
                <a:cubicBezTo>
                  <a:pt x="1302" y="1634"/>
                  <a:pt x="1302" y="1632"/>
                  <a:pt x="1301" y="1631"/>
                </a:cubicBezTo>
                <a:cubicBezTo>
                  <a:pt x="1300" y="1630"/>
                  <a:pt x="1299" y="1629"/>
                  <a:pt x="1298" y="1628"/>
                </a:cubicBezTo>
                <a:cubicBezTo>
                  <a:pt x="1297" y="1627"/>
                  <a:pt x="1296" y="1626"/>
                  <a:pt x="1295" y="1625"/>
                </a:cubicBezTo>
                <a:cubicBezTo>
                  <a:pt x="1295" y="1623"/>
                  <a:pt x="1294" y="1622"/>
                  <a:pt x="1293" y="1621"/>
                </a:cubicBezTo>
                <a:cubicBezTo>
                  <a:pt x="1292" y="1620"/>
                  <a:pt x="1291" y="1619"/>
                  <a:pt x="1290" y="1618"/>
                </a:cubicBezTo>
                <a:cubicBezTo>
                  <a:pt x="1288" y="1617"/>
                  <a:pt x="1287" y="1618"/>
                  <a:pt x="1285" y="1618"/>
                </a:cubicBezTo>
                <a:cubicBezTo>
                  <a:pt x="1283" y="1618"/>
                  <a:pt x="1281" y="1616"/>
                  <a:pt x="1278" y="1615"/>
                </a:cubicBezTo>
                <a:cubicBezTo>
                  <a:pt x="1277" y="1615"/>
                  <a:pt x="1275" y="1615"/>
                  <a:pt x="1274" y="1615"/>
                </a:cubicBezTo>
                <a:cubicBezTo>
                  <a:pt x="1273" y="1614"/>
                  <a:pt x="1272" y="1613"/>
                  <a:pt x="1271" y="1613"/>
                </a:cubicBezTo>
                <a:cubicBezTo>
                  <a:pt x="1268" y="1613"/>
                  <a:pt x="1265" y="1612"/>
                  <a:pt x="1262" y="1611"/>
                </a:cubicBezTo>
                <a:cubicBezTo>
                  <a:pt x="1260" y="1610"/>
                  <a:pt x="1258" y="1608"/>
                  <a:pt x="1256" y="1605"/>
                </a:cubicBezTo>
                <a:cubicBezTo>
                  <a:pt x="1255" y="1604"/>
                  <a:pt x="1253" y="1603"/>
                  <a:pt x="1252" y="1601"/>
                </a:cubicBezTo>
                <a:cubicBezTo>
                  <a:pt x="1251" y="1600"/>
                  <a:pt x="1250" y="1598"/>
                  <a:pt x="1249" y="1597"/>
                </a:cubicBezTo>
                <a:cubicBezTo>
                  <a:pt x="1249" y="1595"/>
                  <a:pt x="1248" y="1594"/>
                  <a:pt x="1248" y="1593"/>
                </a:cubicBezTo>
                <a:cubicBezTo>
                  <a:pt x="1248" y="1593"/>
                  <a:pt x="1247" y="1592"/>
                  <a:pt x="1247" y="1591"/>
                </a:cubicBezTo>
                <a:cubicBezTo>
                  <a:pt x="1247" y="1590"/>
                  <a:pt x="1247" y="1590"/>
                  <a:pt x="1247" y="1589"/>
                </a:cubicBezTo>
                <a:cubicBezTo>
                  <a:pt x="1247" y="1587"/>
                  <a:pt x="1247" y="1584"/>
                  <a:pt x="1247" y="1581"/>
                </a:cubicBezTo>
                <a:cubicBezTo>
                  <a:pt x="1246" y="1580"/>
                  <a:pt x="1246" y="1579"/>
                  <a:pt x="1245" y="1578"/>
                </a:cubicBezTo>
                <a:cubicBezTo>
                  <a:pt x="1244" y="1577"/>
                  <a:pt x="1244" y="1576"/>
                  <a:pt x="1245" y="1575"/>
                </a:cubicBezTo>
                <a:cubicBezTo>
                  <a:pt x="1246" y="1574"/>
                  <a:pt x="1246" y="1573"/>
                  <a:pt x="1246" y="1571"/>
                </a:cubicBezTo>
                <a:cubicBezTo>
                  <a:pt x="1247" y="1571"/>
                  <a:pt x="1247" y="1571"/>
                  <a:pt x="1247" y="1570"/>
                </a:cubicBezTo>
                <a:cubicBezTo>
                  <a:pt x="1247" y="1569"/>
                  <a:pt x="1247" y="1569"/>
                  <a:pt x="1248" y="1568"/>
                </a:cubicBezTo>
                <a:cubicBezTo>
                  <a:pt x="1248" y="1567"/>
                  <a:pt x="1249" y="1567"/>
                  <a:pt x="1249" y="1566"/>
                </a:cubicBezTo>
                <a:cubicBezTo>
                  <a:pt x="1249" y="1565"/>
                  <a:pt x="1246" y="1566"/>
                  <a:pt x="1247" y="1564"/>
                </a:cubicBezTo>
                <a:cubicBezTo>
                  <a:pt x="1248" y="1564"/>
                  <a:pt x="1248" y="1564"/>
                  <a:pt x="1248" y="1564"/>
                </a:cubicBezTo>
                <a:cubicBezTo>
                  <a:pt x="1249" y="1564"/>
                  <a:pt x="1249" y="1563"/>
                  <a:pt x="1249" y="1563"/>
                </a:cubicBezTo>
                <a:cubicBezTo>
                  <a:pt x="1249" y="1562"/>
                  <a:pt x="1250" y="1562"/>
                  <a:pt x="1250" y="1561"/>
                </a:cubicBezTo>
                <a:cubicBezTo>
                  <a:pt x="1249" y="1560"/>
                  <a:pt x="1249" y="1561"/>
                  <a:pt x="1248" y="1561"/>
                </a:cubicBezTo>
                <a:cubicBezTo>
                  <a:pt x="1248" y="1562"/>
                  <a:pt x="1247" y="1561"/>
                  <a:pt x="1247" y="1561"/>
                </a:cubicBezTo>
                <a:cubicBezTo>
                  <a:pt x="1245" y="1560"/>
                  <a:pt x="1245" y="1561"/>
                  <a:pt x="1244" y="1562"/>
                </a:cubicBezTo>
                <a:cubicBezTo>
                  <a:pt x="1243" y="1563"/>
                  <a:pt x="1242" y="1564"/>
                  <a:pt x="1241" y="1565"/>
                </a:cubicBezTo>
                <a:cubicBezTo>
                  <a:pt x="1240" y="1566"/>
                  <a:pt x="1240" y="1568"/>
                  <a:pt x="1239" y="1569"/>
                </a:cubicBezTo>
                <a:cubicBezTo>
                  <a:pt x="1237" y="1570"/>
                  <a:pt x="1237" y="1571"/>
                  <a:pt x="1236" y="1573"/>
                </a:cubicBezTo>
                <a:cubicBezTo>
                  <a:pt x="1235" y="1575"/>
                  <a:pt x="1233" y="1576"/>
                  <a:pt x="1231" y="1578"/>
                </a:cubicBezTo>
                <a:cubicBezTo>
                  <a:pt x="1229" y="1579"/>
                  <a:pt x="1228" y="1580"/>
                  <a:pt x="1226" y="1581"/>
                </a:cubicBezTo>
                <a:cubicBezTo>
                  <a:pt x="1225" y="1582"/>
                  <a:pt x="1224" y="1584"/>
                  <a:pt x="1223" y="1585"/>
                </a:cubicBezTo>
                <a:cubicBezTo>
                  <a:pt x="1221" y="1587"/>
                  <a:pt x="1220" y="1588"/>
                  <a:pt x="1218" y="1590"/>
                </a:cubicBezTo>
                <a:cubicBezTo>
                  <a:pt x="1215" y="1592"/>
                  <a:pt x="1212" y="1594"/>
                  <a:pt x="1211" y="1597"/>
                </a:cubicBezTo>
                <a:cubicBezTo>
                  <a:pt x="1210" y="1598"/>
                  <a:pt x="1210" y="1600"/>
                  <a:pt x="1209" y="1601"/>
                </a:cubicBezTo>
                <a:cubicBezTo>
                  <a:pt x="1208" y="1603"/>
                  <a:pt x="1207" y="1606"/>
                  <a:pt x="1204" y="1606"/>
                </a:cubicBezTo>
                <a:cubicBezTo>
                  <a:pt x="1204" y="1605"/>
                  <a:pt x="1204" y="1605"/>
                  <a:pt x="1203" y="1605"/>
                </a:cubicBezTo>
                <a:cubicBezTo>
                  <a:pt x="1203" y="1604"/>
                  <a:pt x="1202" y="1604"/>
                  <a:pt x="1201" y="1605"/>
                </a:cubicBezTo>
                <a:cubicBezTo>
                  <a:pt x="1200" y="1605"/>
                  <a:pt x="1200" y="1605"/>
                  <a:pt x="1200" y="1606"/>
                </a:cubicBezTo>
                <a:cubicBezTo>
                  <a:pt x="1200" y="1606"/>
                  <a:pt x="1201" y="1606"/>
                  <a:pt x="1201" y="1606"/>
                </a:cubicBezTo>
                <a:cubicBezTo>
                  <a:pt x="1202" y="1607"/>
                  <a:pt x="1197" y="1609"/>
                  <a:pt x="1197" y="1608"/>
                </a:cubicBezTo>
                <a:cubicBezTo>
                  <a:pt x="1197" y="1607"/>
                  <a:pt x="1198" y="1607"/>
                  <a:pt x="1199" y="1606"/>
                </a:cubicBezTo>
                <a:cubicBezTo>
                  <a:pt x="1199" y="1605"/>
                  <a:pt x="1198" y="1605"/>
                  <a:pt x="1197" y="1605"/>
                </a:cubicBezTo>
                <a:cubicBezTo>
                  <a:pt x="1195" y="1604"/>
                  <a:pt x="1195" y="1605"/>
                  <a:pt x="1193" y="1606"/>
                </a:cubicBezTo>
                <a:cubicBezTo>
                  <a:pt x="1193" y="1606"/>
                  <a:pt x="1192" y="1606"/>
                  <a:pt x="1192" y="1607"/>
                </a:cubicBezTo>
                <a:cubicBezTo>
                  <a:pt x="1192" y="1608"/>
                  <a:pt x="1193" y="1608"/>
                  <a:pt x="1194" y="1607"/>
                </a:cubicBezTo>
                <a:cubicBezTo>
                  <a:pt x="1194" y="1607"/>
                  <a:pt x="1195" y="1607"/>
                  <a:pt x="1195" y="1608"/>
                </a:cubicBezTo>
                <a:cubicBezTo>
                  <a:pt x="1196" y="1608"/>
                  <a:pt x="1197" y="1608"/>
                  <a:pt x="1196" y="1609"/>
                </a:cubicBezTo>
                <a:cubicBezTo>
                  <a:pt x="1196" y="1609"/>
                  <a:pt x="1195" y="1609"/>
                  <a:pt x="1195" y="1609"/>
                </a:cubicBezTo>
                <a:cubicBezTo>
                  <a:pt x="1194" y="1609"/>
                  <a:pt x="1194" y="1610"/>
                  <a:pt x="1193" y="1610"/>
                </a:cubicBezTo>
                <a:cubicBezTo>
                  <a:pt x="1193" y="1609"/>
                  <a:pt x="1193" y="1608"/>
                  <a:pt x="1192" y="1608"/>
                </a:cubicBezTo>
                <a:cubicBezTo>
                  <a:pt x="1191" y="1608"/>
                  <a:pt x="1191" y="1609"/>
                  <a:pt x="1190" y="1609"/>
                </a:cubicBezTo>
                <a:cubicBezTo>
                  <a:pt x="1189" y="1608"/>
                  <a:pt x="1189" y="1608"/>
                  <a:pt x="1189" y="1608"/>
                </a:cubicBezTo>
                <a:cubicBezTo>
                  <a:pt x="1188" y="1607"/>
                  <a:pt x="1186" y="1607"/>
                  <a:pt x="1184" y="1607"/>
                </a:cubicBezTo>
                <a:cubicBezTo>
                  <a:pt x="1183" y="1607"/>
                  <a:pt x="1181" y="1607"/>
                  <a:pt x="1179" y="1607"/>
                </a:cubicBezTo>
                <a:cubicBezTo>
                  <a:pt x="1176" y="1608"/>
                  <a:pt x="1174" y="1608"/>
                  <a:pt x="1171" y="1609"/>
                </a:cubicBezTo>
                <a:cubicBezTo>
                  <a:pt x="1169" y="1610"/>
                  <a:pt x="1167" y="1610"/>
                  <a:pt x="1165" y="1611"/>
                </a:cubicBezTo>
                <a:cubicBezTo>
                  <a:pt x="1163" y="1612"/>
                  <a:pt x="1160" y="1612"/>
                  <a:pt x="1158" y="1611"/>
                </a:cubicBezTo>
                <a:cubicBezTo>
                  <a:pt x="1157" y="1611"/>
                  <a:pt x="1157" y="1610"/>
                  <a:pt x="1156" y="1609"/>
                </a:cubicBezTo>
                <a:cubicBezTo>
                  <a:pt x="1156" y="1609"/>
                  <a:pt x="1155" y="1609"/>
                  <a:pt x="1155" y="1608"/>
                </a:cubicBezTo>
                <a:cubicBezTo>
                  <a:pt x="1155" y="1607"/>
                  <a:pt x="1155" y="1606"/>
                  <a:pt x="1155" y="1605"/>
                </a:cubicBezTo>
                <a:cubicBezTo>
                  <a:pt x="1155" y="1603"/>
                  <a:pt x="1154" y="1605"/>
                  <a:pt x="1154" y="1606"/>
                </a:cubicBezTo>
                <a:cubicBezTo>
                  <a:pt x="1153" y="1607"/>
                  <a:pt x="1153" y="1605"/>
                  <a:pt x="1153" y="1604"/>
                </a:cubicBezTo>
                <a:cubicBezTo>
                  <a:pt x="1152" y="1604"/>
                  <a:pt x="1153" y="1601"/>
                  <a:pt x="1152" y="1602"/>
                </a:cubicBezTo>
                <a:cubicBezTo>
                  <a:pt x="1151" y="1603"/>
                  <a:pt x="1152" y="1604"/>
                  <a:pt x="1151" y="1605"/>
                </a:cubicBezTo>
                <a:cubicBezTo>
                  <a:pt x="1150" y="1605"/>
                  <a:pt x="1149" y="1605"/>
                  <a:pt x="1149" y="1604"/>
                </a:cubicBezTo>
                <a:cubicBezTo>
                  <a:pt x="1148" y="1604"/>
                  <a:pt x="1146" y="1605"/>
                  <a:pt x="1146" y="1604"/>
                </a:cubicBezTo>
                <a:cubicBezTo>
                  <a:pt x="1146" y="1603"/>
                  <a:pt x="1146" y="1602"/>
                  <a:pt x="1147" y="1602"/>
                </a:cubicBezTo>
                <a:cubicBezTo>
                  <a:pt x="1147" y="1601"/>
                  <a:pt x="1148" y="1600"/>
                  <a:pt x="1149" y="1599"/>
                </a:cubicBezTo>
                <a:cubicBezTo>
                  <a:pt x="1151" y="1598"/>
                  <a:pt x="1148" y="1597"/>
                  <a:pt x="1149" y="1595"/>
                </a:cubicBezTo>
                <a:cubicBezTo>
                  <a:pt x="1150" y="1595"/>
                  <a:pt x="1150" y="1594"/>
                  <a:pt x="1150" y="1594"/>
                </a:cubicBezTo>
                <a:cubicBezTo>
                  <a:pt x="1151" y="1593"/>
                  <a:pt x="1150" y="1592"/>
                  <a:pt x="1151" y="1591"/>
                </a:cubicBezTo>
                <a:cubicBezTo>
                  <a:pt x="1151" y="1591"/>
                  <a:pt x="1151" y="1590"/>
                  <a:pt x="1151" y="1590"/>
                </a:cubicBezTo>
                <a:cubicBezTo>
                  <a:pt x="1152" y="1588"/>
                  <a:pt x="1152" y="1587"/>
                  <a:pt x="1152" y="1586"/>
                </a:cubicBezTo>
                <a:cubicBezTo>
                  <a:pt x="1153" y="1585"/>
                  <a:pt x="1153" y="1585"/>
                  <a:pt x="1153" y="1584"/>
                </a:cubicBezTo>
                <a:cubicBezTo>
                  <a:pt x="1152" y="1583"/>
                  <a:pt x="1152" y="1583"/>
                  <a:pt x="1152" y="1582"/>
                </a:cubicBezTo>
                <a:cubicBezTo>
                  <a:pt x="1151" y="1582"/>
                  <a:pt x="1151" y="1581"/>
                  <a:pt x="1151" y="1581"/>
                </a:cubicBezTo>
                <a:cubicBezTo>
                  <a:pt x="1150" y="1580"/>
                  <a:pt x="1149" y="1578"/>
                  <a:pt x="1150" y="1577"/>
                </a:cubicBezTo>
                <a:cubicBezTo>
                  <a:pt x="1150" y="1576"/>
                  <a:pt x="1151" y="1576"/>
                  <a:pt x="1151" y="1575"/>
                </a:cubicBezTo>
                <a:cubicBezTo>
                  <a:pt x="1151" y="1575"/>
                  <a:pt x="1151" y="1574"/>
                  <a:pt x="1151" y="1573"/>
                </a:cubicBezTo>
                <a:cubicBezTo>
                  <a:pt x="1151" y="1572"/>
                  <a:pt x="1152" y="1570"/>
                  <a:pt x="1150" y="1569"/>
                </a:cubicBezTo>
                <a:cubicBezTo>
                  <a:pt x="1150" y="1569"/>
                  <a:pt x="1149" y="1570"/>
                  <a:pt x="1148" y="1569"/>
                </a:cubicBezTo>
                <a:cubicBezTo>
                  <a:pt x="1148" y="1569"/>
                  <a:pt x="1147" y="1567"/>
                  <a:pt x="1147" y="1566"/>
                </a:cubicBezTo>
                <a:cubicBezTo>
                  <a:pt x="1146" y="1566"/>
                  <a:pt x="1146" y="1566"/>
                  <a:pt x="1145" y="1565"/>
                </a:cubicBezTo>
                <a:cubicBezTo>
                  <a:pt x="1144" y="1565"/>
                  <a:pt x="1143" y="1566"/>
                  <a:pt x="1142" y="1567"/>
                </a:cubicBezTo>
                <a:cubicBezTo>
                  <a:pt x="1140" y="1568"/>
                  <a:pt x="1140" y="1569"/>
                  <a:pt x="1140" y="1571"/>
                </a:cubicBezTo>
                <a:cubicBezTo>
                  <a:pt x="1140" y="1572"/>
                  <a:pt x="1140" y="1573"/>
                  <a:pt x="1138" y="1574"/>
                </a:cubicBezTo>
                <a:cubicBezTo>
                  <a:pt x="1138" y="1575"/>
                  <a:pt x="1138" y="1576"/>
                  <a:pt x="1137" y="1577"/>
                </a:cubicBezTo>
                <a:cubicBezTo>
                  <a:pt x="1137" y="1578"/>
                  <a:pt x="1137" y="1580"/>
                  <a:pt x="1137" y="1581"/>
                </a:cubicBezTo>
                <a:cubicBezTo>
                  <a:pt x="1136" y="1582"/>
                  <a:pt x="1136" y="1582"/>
                  <a:pt x="1136" y="1584"/>
                </a:cubicBezTo>
                <a:cubicBezTo>
                  <a:pt x="1136" y="1585"/>
                  <a:pt x="1135" y="1586"/>
                  <a:pt x="1135" y="1587"/>
                </a:cubicBezTo>
                <a:cubicBezTo>
                  <a:pt x="1137" y="1587"/>
                  <a:pt x="1136" y="1590"/>
                  <a:pt x="1136" y="1591"/>
                </a:cubicBezTo>
                <a:cubicBezTo>
                  <a:pt x="1136" y="1591"/>
                  <a:pt x="1136" y="1592"/>
                  <a:pt x="1136" y="1592"/>
                </a:cubicBezTo>
                <a:cubicBezTo>
                  <a:pt x="1135" y="1593"/>
                  <a:pt x="1135" y="1591"/>
                  <a:pt x="1135" y="1591"/>
                </a:cubicBezTo>
                <a:cubicBezTo>
                  <a:pt x="1134" y="1590"/>
                  <a:pt x="1133" y="1588"/>
                  <a:pt x="1133" y="1587"/>
                </a:cubicBezTo>
                <a:cubicBezTo>
                  <a:pt x="1132" y="1586"/>
                  <a:pt x="1132" y="1585"/>
                  <a:pt x="1131" y="1584"/>
                </a:cubicBezTo>
                <a:cubicBezTo>
                  <a:pt x="1130" y="1581"/>
                  <a:pt x="1128" y="1579"/>
                  <a:pt x="1126" y="1577"/>
                </a:cubicBezTo>
                <a:cubicBezTo>
                  <a:pt x="1124" y="1575"/>
                  <a:pt x="1124" y="1573"/>
                  <a:pt x="1122" y="1571"/>
                </a:cubicBezTo>
                <a:cubicBezTo>
                  <a:pt x="1121" y="1570"/>
                  <a:pt x="1120" y="1569"/>
                  <a:pt x="1120" y="1568"/>
                </a:cubicBezTo>
                <a:cubicBezTo>
                  <a:pt x="1120" y="1567"/>
                  <a:pt x="1120" y="1566"/>
                  <a:pt x="1120" y="1566"/>
                </a:cubicBezTo>
                <a:cubicBezTo>
                  <a:pt x="1121" y="1565"/>
                  <a:pt x="1121" y="1566"/>
                  <a:pt x="1122" y="1566"/>
                </a:cubicBezTo>
                <a:cubicBezTo>
                  <a:pt x="1122" y="1566"/>
                  <a:pt x="1123" y="1566"/>
                  <a:pt x="1123" y="1566"/>
                </a:cubicBezTo>
                <a:cubicBezTo>
                  <a:pt x="1123" y="1567"/>
                  <a:pt x="1123" y="1567"/>
                  <a:pt x="1123" y="1567"/>
                </a:cubicBezTo>
                <a:cubicBezTo>
                  <a:pt x="1124" y="1568"/>
                  <a:pt x="1124" y="1568"/>
                  <a:pt x="1124" y="1567"/>
                </a:cubicBezTo>
                <a:cubicBezTo>
                  <a:pt x="1124" y="1567"/>
                  <a:pt x="1124" y="1566"/>
                  <a:pt x="1124" y="1565"/>
                </a:cubicBezTo>
                <a:cubicBezTo>
                  <a:pt x="1124" y="1564"/>
                  <a:pt x="1125" y="1564"/>
                  <a:pt x="1125" y="1563"/>
                </a:cubicBezTo>
                <a:cubicBezTo>
                  <a:pt x="1125" y="1563"/>
                  <a:pt x="1125" y="1563"/>
                  <a:pt x="1125" y="1562"/>
                </a:cubicBezTo>
                <a:cubicBezTo>
                  <a:pt x="1125" y="1562"/>
                  <a:pt x="1125" y="1562"/>
                  <a:pt x="1126" y="1562"/>
                </a:cubicBezTo>
                <a:cubicBezTo>
                  <a:pt x="1126" y="1561"/>
                  <a:pt x="1125" y="1561"/>
                  <a:pt x="1125" y="1560"/>
                </a:cubicBezTo>
                <a:cubicBezTo>
                  <a:pt x="1124" y="1560"/>
                  <a:pt x="1124" y="1559"/>
                  <a:pt x="1124" y="1559"/>
                </a:cubicBezTo>
                <a:cubicBezTo>
                  <a:pt x="1124" y="1558"/>
                  <a:pt x="1123" y="1558"/>
                  <a:pt x="1122" y="1557"/>
                </a:cubicBezTo>
                <a:cubicBezTo>
                  <a:pt x="1121" y="1557"/>
                  <a:pt x="1120" y="1556"/>
                  <a:pt x="1121" y="1554"/>
                </a:cubicBezTo>
                <a:cubicBezTo>
                  <a:pt x="1121" y="1552"/>
                  <a:pt x="1122" y="1555"/>
                  <a:pt x="1123" y="1555"/>
                </a:cubicBezTo>
                <a:cubicBezTo>
                  <a:pt x="1124" y="1554"/>
                  <a:pt x="1123" y="1554"/>
                  <a:pt x="1123" y="1554"/>
                </a:cubicBezTo>
                <a:cubicBezTo>
                  <a:pt x="1122" y="1553"/>
                  <a:pt x="1122" y="1553"/>
                  <a:pt x="1122" y="1552"/>
                </a:cubicBezTo>
                <a:cubicBezTo>
                  <a:pt x="1122" y="1552"/>
                  <a:pt x="1121" y="1552"/>
                  <a:pt x="1121" y="1551"/>
                </a:cubicBezTo>
                <a:cubicBezTo>
                  <a:pt x="1120" y="1551"/>
                  <a:pt x="1120" y="1550"/>
                  <a:pt x="1119" y="1550"/>
                </a:cubicBezTo>
                <a:cubicBezTo>
                  <a:pt x="1118" y="1550"/>
                  <a:pt x="1117" y="1550"/>
                  <a:pt x="1116" y="1550"/>
                </a:cubicBezTo>
                <a:cubicBezTo>
                  <a:pt x="1115" y="1549"/>
                  <a:pt x="1115" y="1547"/>
                  <a:pt x="1114" y="1546"/>
                </a:cubicBezTo>
                <a:cubicBezTo>
                  <a:pt x="1114" y="1546"/>
                  <a:pt x="1113" y="1545"/>
                  <a:pt x="1113" y="1544"/>
                </a:cubicBezTo>
                <a:cubicBezTo>
                  <a:pt x="1113" y="1544"/>
                  <a:pt x="1112" y="1543"/>
                  <a:pt x="1112" y="1543"/>
                </a:cubicBezTo>
                <a:cubicBezTo>
                  <a:pt x="1111" y="1543"/>
                  <a:pt x="1110" y="1544"/>
                  <a:pt x="1110" y="1544"/>
                </a:cubicBezTo>
                <a:cubicBezTo>
                  <a:pt x="1109" y="1543"/>
                  <a:pt x="1109" y="1543"/>
                  <a:pt x="1108" y="1542"/>
                </a:cubicBezTo>
                <a:cubicBezTo>
                  <a:pt x="1108" y="1541"/>
                  <a:pt x="1107" y="1540"/>
                  <a:pt x="1106" y="1539"/>
                </a:cubicBezTo>
                <a:cubicBezTo>
                  <a:pt x="1105" y="1539"/>
                  <a:pt x="1104" y="1538"/>
                  <a:pt x="1105" y="1537"/>
                </a:cubicBezTo>
                <a:cubicBezTo>
                  <a:pt x="1106" y="1537"/>
                  <a:pt x="1108" y="1538"/>
                  <a:pt x="1107" y="1536"/>
                </a:cubicBezTo>
                <a:cubicBezTo>
                  <a:pt x="1106" y="1536"/>
                  <a:pt x="1105" y="1536"/>
                  <a:pt x="1104" y="1536"/>
                </a:cubicBezTo>
                <a:cubicBezTo>
                  <a:pt x="1103" y="1536"/>
                  <a:pt x="1102" y="1536"/>
                  <a:pt x="1102" y="1536"/>
                </a:cubicBezTo>
                <a:cubicBezTo>
                  <a:pt x="1101" y="1535"/>
                  <a:pt x="1102" y="1535"/>
                  <a:pt x="1101" y="1534"/>
                </a:cubicBezTo>
                <a:cubicBezTo>
                  <a:pt x="1101" y="1534"/>
                  <a:pt x="1100" y="1534"/>
                  <a:pt x="1099" y="1534"/>
                </a:cubicBezTo>
                <a:cubicBezTo>
                  <a:pt x="1098" y="1534"/>
                  <a:pt x="1098" y="1534"/>
                  <a:pt x="1098" y="1533"/>
                </a:cubicBezTo>
                <a:cubicBezTo>
                  <a:pt x="1096" y="1532"/>
                  <a:pt x="1096" y="1531"/>
                  <a:pt x="1096" y="1529"/>
                </a:cubicBezTo>
                <a:cubicBezTo>
                  <a:pt x="1095" y="1527"/>
                  <a:pt x="1095" y="1526"/>
                  <a:pt x="1095" y="1524"/>
                </a:cubicBezTo>
                <a:cubicBezTo>
                  <a:pt x="1094" y="1523"/>
                  <a:pt x="1093" y="1522"/>
                  <a:pt x="1093" y="1521"/>
                </a:cubicBezTo>
                <a:cubicBezTo>
                  <a:pt x="1092" y="1519"/>
                  <a:pt x="1091" y="1518"/>
                  <a:pt x="1091" y="1517"/>
                </a:cubicBezTo>
                <a:cubicBezTo>
                  <a:pt x="1090" y="1515"/>
                  <a:pt x="1089" y="1514"/>
                  <a:pt x="1089" y="1513"/>
                </a:cubicBezTo>
                <a:cubicBezTo>
                  <a:pt x="1089" y="1512"/>
                  <a:pt x="1089" y="1511"/>
                  <a:pt x="1088" y="1511"/>
                </a:cubicBezTo>
                <a:cubicBezTo>
                  <a:pt x="1088" y="1510"/>
                  <a:pt x="1087" y="1510"/>
                  <a:pt x="1087" y="1509"/>
                </a:cubicBezTo>
                <a:cubicBezTo>
                  <a:pt x="1087" y="1508"/>
                  <a:pt x="1086" y="1507"/>
                  <a:pt x="1086" y="1506"/>
                </a:cubicBezTo>
                <a:cubicBezTo>
                  <a:pt x="1085" y="1505"/>
                  <a:pt x="1085" y="1503"/>
                  <a:pt x="1084" y="1502"/>
                </a:cubicBezTo>
                <a:cubicBezTo>
                  <a:pt x="1084" y="1502"/>
                  <a:pt x="1084" y="1501"/>
                  <a:pt x="1083" y="1501"/>
                </a:cubicBezTo>
                <a:cubicBezTo>
                  <a:pt x="1083" y="1500"/>
                  <a:pt x="1083" y="1499"/>
                  <a:pt x="1083" y="1498"/>
                </a:cubicBezTo>
                <a:cubicBezTo>
                  <a:pt x="1082" y="1497"/>
                  <a:pt x="1081" y="1497"/>
                  <a:pt x="1080" y="1496"/>
                </a:cubicBezTo>
                <a:cubicBezTo>
                  <a:pt x="1079" y="1496"/>
                  <a:pt x="1079" y="1496"/>
                  <a:pt x="1078" y="1496"/>
                </a:cubicBezTo>
                <a:cubicBezTo>
                  <a:pt x="1078" y="1496"/>
                  <a:pt x="1076" y="1496"/>
                  <a:pt x="1077" y="1495"/>
                </a:cubicBezTo>
                <a:cubicBezTo>
                  <a:pt x="1077" y="1495"/>
                  <a:pt x="1078" y="1495"/>
                  <a:pt x="1079" y="1494"/>
                </a:cubicBezTo>
                <a:cubicBezTo>
                  <a:pt x="1079" y="1494"/>
                  <a:pt x="1079" y="1493"/>
                  <a:pt x="1079" y="1493"/>
                </a:cubicBezTo>
                <a:cubicBezTo>
                  <a:pt x="1080" y="1492"/>
                  <a:pt x="1081" y="1491"/>
                  <a:pt x="1082" y="1492"/>
                </a:cubicBezTo>
                <a:cubicBezTo>
                  <a:pt x="1083" y="1492"/>
                  <a:pt x="1083" y="1493"/>
                  <a:pt x="1084" y="1493"/>
                </a:cubicBezTo>
                <a:cubicBezTo>
                  <a:pt x="1085" y="1492"/>
                  <a:pt x="1085" y="1491"/>
                  <a:pt x="1086" y="1491"/>
                </a:cubicBezTo>
                <a:cubicBezTo>
                  <a:pt x="1087" y="1491"/>
                  <a:pt x="1089" y="1491"/>
                  <a:pt x="1089" y="1489"/>
                </a:cubicBezTo>
                <a:cubicBezTo>
                  <a:pt x="1089" y="1489"/>
                  <a:pt x="1088" y="1488"/>
                  <a:pt x="1088" y="1488"/>
                </a:cubicBezTo>
                <a:cubicBezTo>
                  <a:pt x="1088" y="1487"/>
                  <a:pt x="1088" y="1486"/>
                  <a:pt x="1087" y="1486"/>
                </a:cubicBezTo>
                <a:cubicBezTo>
                  <a:pt x="1087" y="1485"/>
                  <a:pt x="1087" y="1485"/>
                  <a:pt x="1087" y="1485"/>
                </a:cubicBezTo>
                <a:cubicBezTo>
                  <a:pt x="1086" y="1485"/>
                  <a:pt x="1086" y="1485"/>
                  <a:pt x="1086" y="1485"/>
                </a:cubicBezTo>
                <a:cubicBezTo>
                  <a:pt x="1086" y="1484"/>
                  <a:pt x="1085" y="1484"/>
                  <a:pt x="1085" y="1484"/>
                </a:cubicBezTo>
                <a:cubicBezTo>
                  <a:pt x="1084" y="1484"/>
                  <a:pt x="1084" y="1484"/>
                  <a:pt x="1083" y="1485"/>
                </a:cubicBezTo>
                <a:cubicBezTo>
                  <a:pt x="1083" y="1485"/>
                  <a:pt x="1082" y="1485"/>
                  <a:pt x="1081" y="1485"/>
                </a:cubicBezTo>
                <a:cubicBezTo>
                  <a:pt x="1081" y="1485"/>
                  <a:pt x="1081" y="1484"/>
                  <a:pt x="1080" y="1483"/>
                </a:cubicBezTo>
                <a:cubicBezTo>
                  <a:pt x="1080" y="1483"/>
                  <a:pt x="1080" y="1482"/>
                  <a:pt x="1081" y="1482"/>
                </a:cubicBezTo>
                <a:cubicBezTo>
                  <a:pt x="1081" y="1482"/>
                  <a:pt x="1081" y="1482"/>
                  <a:pt x="1081" y="1483"/>
                </a:cubicBezTo>
                <a:cubicBezTo>
                  <a:pt x="1082" y="1483"/>
                  <a:pt x="1082" y="1483"/>
                  <a:pt x="1082" y="1483"/>
                </a:cubicBezTo>
                <a:cubicBezTo>
                  <a:pt x="1084" y="1483"/>
                  <a:pt x="1085" y="1483"/>
                  <a:pt x="1086" y="1484"/>
                </a:cubicBezTo>
                <a:cubicBezTo>
                  <a:pt x="1087" y="1484"/>
                  <a:pt x="1087" y="1484"/>
                  <a:pt x="1088" y="1484"/>
                </a:cubicBezTo>
                <a:cubicBezTo>
                  <a:pt x="1089" y="1484"/>
                  <a:pt x="1089" y="1484"/>
                  <a:pt x="1090" y="1484"/>
                </a:cubicBezTo>
                <a:cubicBezTo>
                  <a:pt x="1092" y="1485"/>
                  <a:pt x="1092" y="1484"/>
                  <a:pt x="1093" y="1484"/>
                </a:cubicBezTo>
                <a:cubicBezTo>
                  <a:pt x="1095" y="1483"/>
                  <a:pt x="1096" y="1484"/>
                  <a:pt x="1097" y="1483"/>
                </a:cubicBezTo>
                <a:cubicBezTo>
                  <a:pt x="1099" y="1483"/>
                  <a:pt x="1100" y="1483"/>
                  <a:pt x="1100" y="1482"/>
                </a:cubicBezTo>
                <a:cubicBezTo>
                  <a:pt x="1100" y="1480"/>
                  <a:pt x="1100" y="1479"/>
                  <a:pt x="1099" y="1478"/>
                </a:cubicBezTo>
                <a:cubicBezTo>
                  <a:pt x="1099" y="1477"/>
                  <a:pt x="1098" y="1477"/>
                  <a:pt x="1099" y="1476"/>
                </a:cubicBezTo>
                <a:cubicBezTo>
                  <a:pt x="1100" y="1476"/>
                  <a:pt x="1100" y="1476"/>
                  <a:pt x="1101" y="1475"/>
                </a:cubicBezTo>
                <a:cubicBezTo>
                  <a:pt x="1102" y="1475"/>
                  <a:pt x="1101" y="1473"/>
                  <a:pt x="1103" y="1473"/>
                </a:cubicBezTo>
                <a:cubicBezTo>
                  <a:pt x="1103" y="1473"/>
                  <a:pt x="1105" y="1473"/>
                  <a:pt x="1105" y="1473"/>
                </a:cubicBezTo>
                <a:cubicBezTo>
                  <a:pt x="1106" y="1474"/>
                  <a:pt x="1105" y="1474"/>
                  <a:pt x="1105" y="1474"/>
                </a:cubicBezTo>
                <a:cubicBezTo>
                  <a:pt x="1104" y="1475"/>
                  <a:pt x="1101" y="1475"/>
                  <a:pt x="1102" y="1476"/>
                </a:cubicBezTo>
                <a:cubicBezTo>
                  <a:pt x="1102" y="1477"/>
                  <a:pt x="1104" y="1477"/>
                  <a:pt x="1104" y="1477"/>
                </a:cubicBezTo>
                <a:cubicBezTo>
                  <a:pt x="1105" y="1477"/>
                  <a:pt x="1105" y="1478"/>
                  <a:pt x="1106" y="1478"/>
                </a:cubicBezTo>
                <a:cubicBezTo>
                  <a:pt x="1107" y="1478"/>
                  <a:pt x="1108" y="1479"/>
                  <a:pt x="1110" y="1480"/>
                </a:cubicBezTo>
                <a:cubicBezTo>
                  <a:pt x="1110" y="1481"/>
                  <a:pt x="1111" y="1482"/>
                  <a:pt x="1112" y="1483"/>
                </a:cubicBezTo>
                <a:cubicBezTo>
                  <a:pt x="1113" y="1483"/>
                  <a:pt x="1113" y="1483"/>
                  <a:pt x="1114" y="1482"/>
                </a:cubicBezTo>
                <a:cubicBezTo>
                  <a:pt x="1114" y="1482"/>
                  <a:pt x="1115" y="1482"/>
                  <a:pt x="1116" y="1481"/>
                </a:cubicBezTo>
                <a:cubicBezTo>
                  <a:pt x="1116" y="1481"/>
                  <a:pt x="1117" y="1481"/>
                  <a:pt x="1117" y="1481"/>
                </a:cubicBezTo>
                <a:cubicBezTo>
                  <a:pt x="1118" y="1480"/>
                  <a:pt x="1119" y="1481"/>
                  <a:pt x="1119" y="1480"/>
                </a:cubicBezTo>
                <a:cubicBezTo>
                  <a:pt x="1120" y="1480"/>
                  <a:pt x="1121" y="1480"/>
                  <a:pt x="1121" y="1480"/>
                </a:cubicBezTo>
                <a:cubicBezTo>
                  <a:pt x="1122" y="1480"/>
                  <a:pt x="1123" y="1480"/>
                  <a:pt x="1123" y="1481"/>
                </a:cubicBezTo>
                <a:cubicBezTo>
                  <a:pt x="1123" y="1482"/>
                  <a:pt x="1123" y="1482"/>
                  <a:pt x="1124" y="1482"/>
                </a:cubicBezTo>
                <a:cubicBezTo>
                  <a:pt x="1124" y="1483"/>
                  <a:pt x="1125" y="1483"/>
                  <a:pt x="1125" y="1484"/>
                </a:cubicBezTo>
                <a:cubicBezTo>
                  <a:pt x="1125" y="1485"/>
                  <a:pt x="1124" y="1487"/>
                  <a:pt x="1126" y="1488"/>
                </a:cubicBezTo>
                <a:cubicBezTo>
                  <a:pt x="1126" y="1488"/>
                  <a:pt x="1127" y="1488"/>
                  <a:pt x="1128" y="1488"/>
                </a:cubicBezTo>
                <a:cubicBezTo>
                  <a:pt x="1128" y="1489"/>
                  <a:pt x="1128" y="1489"/>
                  <a:pt x="1129" y="1490"/>
                </a:cubicBezTo>
                <a:cubicBezTo>
                  <a:pt x="1129" y="1491"/>
                  <a:pt x="1130" y="1492"/>
                  <a:pt x="1131" y="1493"/>
                </a:cubicBezTo>
                <a:cubicBezTo>
                  <a:pt x="1132" y="1494"/>
                  <a:pt x="1133" y="1495"/>
                  <a:pt x="1134" y="1496"/>
                </a:cubicBezTo>
                <a:cubicBezTo>
                  <a:pt x="1134" y="1497"/>
                  <a:pt x="1134" y="1498"/>
                  <a:pt x="1134" y="1498"/>
                </a:cubicBezTo>
                <a:cubicBezTo>
                  <a:pt x="1134" y="1499"/>
                  <a:pt x="1133" y="1500"/>
                  <a:pt x="1133" y="1501"/>
                </a:cubicBezTo>
                <a:cubicBezTo>
                  <a:pt x="1133" y="1501"/>
                  <a:pt x="1134" y="1501"/>
                  <a:pt x="1135" y="1501"/>
                </a:cubicBezTo>
                <a:cubicBezTo>
                  <a:pt x="1135" y="1501"/>
                  <a:pt x="1135" y="1502"/>
                  <a:pt x="1136" y="1502"/>
                </a:cubicBezTo>
                <a:cubicBezTo>
                  <a:pt x="1137" y="1503"/>
                  <a:pt x="1138" y="1503"/>
                  <a:pt x="1138" y="1504"/>
                </a:cubicBezTo>
                <a:cubicBezTo>
                  <a:pt x="1139" y="1505"/>
                  <a:pt x="1138" y="1507"/>
                  <a:pt x="1139" y="1508"/>
                </a:cubicBezTo>
                <a:cubicBezTo>
                  <a:pt x="1139" y="1509"/>
                  <a:pt x="1139" y="1509"/>
                  <a:pt x="1140" y="1509"/>
                </a:cubicBezTo>
                <a:cubicBezTo>
                  <a:pt x="1140" y="1510"/>
                  <a:pt x="1140" y="1511"/>
                  <a:pt x="1140" y="1511"/>
                </a:cubicBezTo>
                <a:cubicBezTo>
                  <a:pt x="1141" y="1512"/>
                  <a:pt x="1141" y="1513"/>
                  <a:pt x="1141" y="1513"/>
                </a:cubicBezTo>
                <a:cubicBezTo>
                  <a:pt x="1141" y="1514"/>
                  <a:pt x="1142" y="1515"/>
                  <a:pt x="1142" y="1515"/>
                </a:cubicBezTo>
                <a:cubicBezTo>
                  <a:pt x="1143" y="1516"/>
                  <a:pt x="1143" y="1518"/>
                  <a:pt x="1143" y="1519"/>
                </a:cubicBezTo>
                <a:cubicBezTo>
                  <a:pt x="1144" y="1520"/>
                  <a:pt x="1145" y="1521"/>
                  <a:pt x="1146" y="1522"/>
                </a:cubicBezTo>
                <a:cubicBezTo>
                  <a:pt x="1147" y="1525"/>
                  <a:pt x="1148" y="1528"/>
                  <a:pt x="1151" y="1529"/>
                </a:cubicBezTo>
                <a:cubicBezTo>
                  <a:pt x="1154" y="1529"/>
                  <a:pt x="1157" y="1529"/>
                  <a:pt x="1160" y="1530"/>
                </a:cubicBezTo>
                <a:cubicBezTo>
                  <a:pt x="1160" y="1530"/>
                  <a:pt x="1161" y="1530"/>
                  <a:pt x="1162" y="1531"/>
                </a:cubicBezTo>
                <a:cubicBezTo>
                  <a:pt x="1162" y="1531"/>
                  <a:pt x="1163" y="1531"/>
                  <a:pt x="1164" y="1531"/>
                </a:cubicBezTo>
                <a:cubicBezTo>
                  <a:pt x="1164" y="1531"/>
                  <a:pt x="1164" y="1532"/>
                  <a:pt x="1165" y="1532"/>
                </a:cubicBezTo>
                <a:cubicBezTo>
                  <a:pt x="1166" y="1533"/>
                  <a:pt x="1166" y="1533"/>
                  <a:pt x="1167" y="1533"/>
                </a:cubicBezTo>
                <a:cubicBezTo>
                  <a:pt x="1168" y="1533"/>
                  <a:pt x="1169" y="1534"/>
                  <a:pt x="1170" y="1535"/>
                </a:cubicBezTo>
                <a:cubicBezTo>
                  <a:pt x="1171" y="1536"/>
                  <a:pt x="1172" y="1537"/>
                  <a:pt x="1173" y="1538"/>
                </a:cubicBezTo>
                <a:cubicBezTo>
                  <a:pt x="1174" y="1539"/>
                  <a:pt x="1175" y="1540"/>
                  <a:pt x="1176" y="1542"/>
                </a:cubicBezTo>
                <a:cubicBezTo>
                  <a:pt x="1177" y="1543"/>
                  <a:pt x="1178" y="1543"/>
                  <a:pt x="1179" y="1544"/>
                </a:cubicBezTo>
                <a:cubicBezTo>
                  <a:pt x="1180" y="1544"/>
                  <a:pt x="1181" y="1545"/>
                  <a:pt x="1181" y="1545"/>
                </a:cubicBezTo>
                <a:cubicBezTo>
                  <a:pt x="1182" y="1546"/>
                  <a:pt x="1183" y="1546"/>
                  <a:pt x="1184" y="1546"/>
                </a:cubicBezTo>
                <a:cubicBezTo>
                  <a:pt x="1186" y="1547"/>
                  <a:pt x="1187" y="1547"/>
                  <a:pt x="1189" y="1548"/>
                </a:cubicBezTo>
                <a:cubicBezTo>
                  <a:pt x="1189" y="1550"/>
                  <a:pt x="1190" y="1551"/>
                  <a:pt x="1191" y="1552"/>
                </a:cubicBezTo>
                <a:cubicBezTo>
                  <a:pt x="1192" y="1553"/>
                  <a:pt x="1193" y="1554"/>
                  <a:pt x="1195" y="1554"/>
                </a:cubicBezTo>
                <a:cubicBezTo>
                  <a:pt x="1196" y="1554"/>
                  <a:pt x="1198" y="1554"/>
                  <a:pt x="1199" y="1555"/>
                </a:cubicBezTo>
                <a:cubicBezTo>
                  <a:pt x="1202" y="1555"/>
                  <a:pt x="1205" y="1556"/>
                  <a:pt x="1208" y="1556"/>
                </a:cubicBezTo>
                <a:cubicBezTo>
                  <a:pt x="1209" y="1556"/>
                  <a:pt x="1210" y="1556"/>
                  <a:pt x="1211" y="1557"/>
                </a:cubicBezTo>
                <a:cubicBezTo>
                  <a:pt x="1212" y="1558"/>
                  <a:pt x="1214" y="1558"/>
                  <a:pt x="1215" y="1557"/>
                </a:cubicBezTo>
                <a:cubicBezTo>
                  <a:pt x="1216" y="1557"/>
                  <a:pt x="1217" y="1556"/>
                  <a:pt x="1219" y="1556"/>
                </a:cubicBezTo>
                <a:cubicBezTo>
                  <a:pt x="1220" y="1556"/>
                  <a:pt x="1221" y="1555"/>
                  <a:pt x="1222" y="1555"/>
                </a:cubicBezTo>
                <a:cubicBezTo>
                  <a:pt x="1223" y="1554"/>
                  <a:pt x="1224" y="1554"/>
                  <a:pt x="1225" y="1554"/>
                </a:cubicBezTo>
                <a:cubicBezTo>
                  <a:pt x="1226" y="1554"/>
                  <a:pt x="1226" y="1553"/>
                  <a:pt x="1227" y="1553"/>
                </a:cubicBezTo>
                <a:cubicBezTo>
                  <a:pt x="1228" y="1552"/>
                  <a:pt x="1228" y="1552"/>
                  <a:pt x="1228" y="1552"/>
                </a:cubicBezTo>
                <a:cubicBezTo>
                  <a:pt x="1229" y="1552"/>
                  <a:pt x="1229" y="1553"/>
                  <a:pt x="1229" y="1553"/>
                </a:cubicBezTo>
                <a:cubicBezTo>
                  <a:pt x="1228" y="1553"/>
                  <a:pt x="1228" y="1553"/>
                  <a:pt x="1227" y="1554"/>
                </a:cubicBezTo>
                <a:cubicBezTo>
                  <a:pt x="1227" y="1554"/>
                  <a:pt x="1227" y="1554"/>
                  <a:pt x="1226" y="1555"/>
                </a:cubicBezTo>
                <a:cubicBezTo>
                  <a:pt x="1225" y="1556"/>
                  <a:pt x="1225" y="1556"/>
                  <a:pt x="1225" y="1558"/>
                </a:cubicBezTo>
                <a:cubicBezTo>
                  <a:pt x="1227" y="1558"/>
                  <a:pt x="1226" y="1556"/>
                  <a:pt x="1228" y="1556"/>
                </a:cubicBezTo>
                <a:cubicBezTo>
                  <a:pt x="1229" y="1556"/>
                  <a:pt x="1229" y="1556"/>
                  <a:pt x="1230" y="1555"/>
                </a:cubicBezTo>
                <a:cubicBezTo>
                  <a:pt x="1231" y="1555"/>
                  <a:pt x="1231" y="1554"/>
                  <a:pt x="1232" y="1554"/>
                </a:cubicBezTo>
                <a:cubicBezTo>
                  <a:pt x="1233" y="1554"/>
                  <a:pt x="1233" y="1554"/>
                  <a:pt x="1234" y="1554"/>
                </a:cubicBezTo>
                <a:cubicBezTo>
                  <a:pt x="1234" y="1554"/>
                  <a:pt x="1235" y="1553"/>
                  <a:pt x="1235" y="1553"/>
                </a:cubicBezTo>
                <a:cubicBezTo>
                  <a:pt x="1236" y="1553"/>
                  <a:pt x="1236" y="1552"/>
                  <a:pt x="1237" y="1552"/>
                </a:cubicBezTo>
                <a:cubicBezTo>
                  <a:pt x="1238" y="1552"/>
                  <a:pt x="1237" y="1553"/>
                  <a:pt x="1238" y="1554"/>
                </a:cubicBezTo>
                <a:cubicBezTo>
                  <a:pt x="1238" y="1554"/>
                  <a:pt x="1239" y="1554"/>
                  <a:pt x="1240" y="1554"/>
                </a:cubicBezTo>
                <a:cubicBezTo>
                  <a:pt x="1240" y="1553"/>
                  <a:pt x="1240" y="1552"/>
                  <a:pt x="1241" y="1552"/>
                </a:cubicBezTo>
                <a:cubicBezTo>
                  <a:pt x="1241" y="1550"/>
                  <a:pt x="1242" y="1549"/>
                  <a:pt x="1244" y="1549"/>
                </a:cubicBezTo>
                <a:cubicBezTo>
                  <a:pt x="1244" y="1549"/>
                  <a:pt x="1246" y="1549"/>
                  <a:pt x="1245" y="1548"/>
                </a:cubicBezTo>
                <a:cubicBezTo>
                  <a:pt x="1244" y="1548"/>
                  <a:pt x="1243" y="1548"/>
                  <a:pt x="1243" y="1548"/>
                </a:cubicBezTo>
                <a:cubicBezTo>
                  <a:pt x="1242" y="1548"/>
                  <a:pt x="1241" y="1547"/>
                  <a:pt x="1241" y="1547"/>
                </a:cubicBezTo>
                <a:cubicBezTo>
                  <a:pt x="1240" y="1547"/>
                  <a:pt x="1240" y="1548"/>
                  <a:pt x="1239" y="1548"/>
                </a:cubicBezTo>
                <a:cubicBezTo>
                  <a:pt x="1237" y="1549"/>
                  <a:pt x="1236" y="1548"/>
                  <a:pt x="1235" y="1548"/>
                </a:cubicBezTo>
                <a:cubicBezTo>
                  <a:pt x="1233" y="1548"/>
                  <a:pt x="1234" y="1550"/>
                  <a:pt x="1234" y="1551"/>
                </a:cubicBezTo>
                <a:cubicBezTo>
                  <a:pt x="1233" y="1552"/>
                  <a:pt x="1232" y="1552"/>
                  <a:pt x="1231" y="1553"/>
                </a:cubicBezTo>
                <a:cubicBezTo>
                  <a:pt x="1230" y="1553"/>
                  <a:pt x="1229" y="1552"/>
                  <a:pt x="1229" y="1551"/>
                </a:cubicBezTo>
                <a:cubicBezTo>
                  <a:pt x="1229" y="1550"/>
                  <a:pt x="1231" y="1550"/>
                  <a:pt x="1231" y="1549"/>
                </a:cubicBezTo>
                <a:cubicBezTo>
                  <a:pt x="1231" y="1549"/>
                  <a:pt x="1231" y="1548"/>
                  <a:pt x="1231" y="1548"/>
                </a:cubicBezTo>
                <a:cubicBezTo>
                  <a:pt x="1232" y="1547"/>
                  <a:pt x="1233" y="1548"/>
                  <a:pt x="1233" y="1547"/>
                </a:cubicBezTo>
                <a:cubicBezTo>
                  <a:pt x="1234" y="1547"/>
                  <a:pt x="1235" y="1546"/>
                  <a:pt x="1235" y="1546"/>
                </a:cubicBezTo>
                <a:cubicBezTo>
                  <a:pt x="1236" y="1545"/>
                  <a:pt x="1238" y="1545"/>
                  <a:pt x="1239" y="1545"/>
                </a:cubicBezTo>
                <a:cubicBezTo>
                  <a:pt x="1241" y="1545"/>
                  <a:pt x="1242" y="1544"/>
                  <a:pt x="1243" y="1544"/>
                </a:cubicBezTo>
                <a:cubicBezTo>
                  <a:pt x="1245" y="1544"/>
                  <a:pt x="1246" y="1544"/>
                  <a:pt x="1248" y="1544"/>
                </a:cubicBezTo>
                <a:cubicBezTo>
                  <a:pt x="1249" y="1544"/>
                  <a:pt x="1250" y="1544"/>
                  <a:pt x="1252" y="1544"/>
                </a:cubicBezTo>
                <a:cubicBezTo>
                  <a:pt x="1253" y="1545"/>
                  <a:pt x="1254" y="1545"/>
                  <a:pt x="1256" y="1545"/>
                </a:cubicBezTo>
                <a:cubicBezTo>
                  <a:pt x="1259" y="1547"/>
                  <a:pt x="1258" y="1550"/>
                  <a:pt x="1259" y="1552"/>
                </a:cubicBezTo>
                <a:cubicBezTo>
                  <a:pt x="1259" y="1553"/>
                  <a:pt x="1259" y="1554"/>
                  <a:pt x="1260" y="1555"/>
                </a:cubicBezTo>
                <a:cubicBezTo>
                  <a:pt x="1260" y="1556"/>
                  <a:pt x="1260" y="1557"/>
                  <a:pt x="1260" y="1558"/>
                </a:cubicBezTo>
                <a:cubicBezTo>
                  <a:pt x="1260" y="1559"/>
                  <a:pt x="1260" y="1560"/>
                  <a:pt x="1260" y="1561"/>
                </a:cubicBezTo>
                <a:cubicBezTo>
                  <a:pt x="1260" y="1563"/>
                  <a:pt x="1262" y="1564"/>
                  <a:pt x="1262" y="1566"/>
                </a:cubicBezTo>
                <a:cubicBezTo>
                  <a:pt x="1262" y="1568"/>
                  <a:pt x="1263" y="1572"/>
                  <a:pt x="1265" y="1574"/>
                </a:cubicBezTo>
                <a:cubicBezTo>
                  <a:pt x="1266" y="1574"/>
                  <a:pt x="1268" y="1574"/>
                  <a:pt x="1269" y="1574"/>
                </a:cubicBezTo>
                <a:cubicBezTo>
                  <a:pt x="1271" y="1574"/>
                  <a:pt x="1272" y="1575"/>
                  <a:pt x="1274" y="1575"/>
                </a:cubicBezTo>
                <a:cubicBezTo>
                  <a:pt x="1275" y="1575"/>
                  <a:pt x="1277" y="1575"/>
                  <a:pt x="1278" y="1575"/>
                </a:cubicBezTo>
                <a:cubicBezTo>
                  <a:pt x="1280" y="1575"/>
                  <a:pt x="1281" y="1576"/>
                  <a:pt x="1283" y="1576"/>
                </a:cubicBezTo>
                <a:cubicBezTo>
                  <a:pt x="1284" y="1576"/>
                  <a:pt x="1285" y="1577"/>
                  <a:pt x="1287" y="1577"/>
                </a:cubicBezTo>
                <a:cubicBezTo>
                  <a:pt x="1288" y="1577"/>
                  <a:pt x="1290" y="1577"/>
                  <a:pt x="1292" y="1577"/>
                </a:cubicBezTo>
                <a:cubicBezTo>
                  <a:pt x="1293" y="1577"/>
                  <a:pt x="1294" y="1578"/>
                  <a:pt x="1295" y="1579"/>
                </a:cubicBezTo>
                <a:cubicBezTo>
                  <a:pt x="1297" y="1579"/>
                  <a:pt x="1298" y="1580"/>
                  <a:pt x="1299" y="1581"/>
                </a:cubicBezTo>
                <a:cubicBezTo>
                  <a:pt x="1300" y="1581"/>
                  <a:pt x="1302" y="1581"/>
                  <a:pt x="1303" y="1581"/>
                </a:cubicBezTo>
                <a:cubicBezTo>
                  <a:pt x="1304" y="1580"/>
                  <a:pt x="1305" y="1580"/>
                  <a:pt x="1307" y="1580"/>
                </a:cubicBezTo>
                <a:cubicBezTo>
                  <a:pt x="1310" y="1580"/>
                  <a:pt x="1313" y="1580"/>
                  <a:pt x="1316" y="1580"/>
                </a:cubicBezTo>
                <a:cubicBezTo>
                  <a:pt x="1319" y="1580"/>
                  <a:pt x="1322" y="1580"/>
                  <a:pt x="1325" y="1580"/>
                </a:cubicBezTo>
                <a:cubicBezTo>
                  <a:pt x="1326" y="1580"/>
                  <a:pt x="1327" y="1580"/>
                  <a:pt x="1328" y="1581"/>
                </a:cubicBezTo>
                <a:cubicBezTo>
                  <a:pt x="1329" y="1581"/>
                  <a:pt x="1329" y="1582"/>
                  <a:pt x="1329" y="1583"/>
                </a:cubicBezTo>
                <a:cubicBezTo>
                  <a:pt x="1330" y="1584"/>
                  <a:pt x="1331" y="1585"/>
                  <a:pt x="1333" y="1586"/>
                </a:cubicBezTo>
                <a:cubicBezTo>
                  <a:pt x="1335" y="1586"/>
                  <a:pt x="1337" y="1585"/>
                  <a:pt x="1338" y="1586"/>
                </a:cubicBezTo>
                <a:cubicBezTo>
                  <a:pt x="1340" y="1586"/>
                  <a:pt x="1341" y="1587"/>
                  <a:pt x="1343" y="1587"/>
                </a:cubicBezTo>
                <a:cubicBezTo>
                  <a:pt x="1344" y="1587"/>
                  <a:pt x="1346" y="1587"/>
                  <a:pt x="1347" y="1586"/>
                </a:cubicBezTo>
                <a:cubicBezTo>
                  <a:pt x="1348" y="1586"/>
                  <a:pt x="1349" y="1585"/>
                  <a:pt x="1351" y="1585"/>
                </a:cubicBezTo>
                <a:cubicBezTo>
                  <a:pt x="1352" y="1585"/>
                  <a:pt x="1352" y="1586"/>
                  <a:pt x="1353" y="1587"/>
                </a:cubicBezTo>
                <a:cubicBezTo>
                  <a:pt x="1353" y="1588"/>
                  <a:pt x="1353" y="1589"/>
                  <a:pt x="1354" y="1589"/>
                </a:cubicBezTo>
                <a:cubicBezTo>
                  <a:pt x="1354" y="1589"/>
                  <a:pt x="1355" y="1588"/>
                  <a:pt x="1355" y="1588"/>
                </a:cubicBezTo>
                <a:cubicBezTo>
                  <a:pt x="1356" y="1588"/>
                  <a:pt x="1357" y="1588"/>
                  <a:pt x="1357" y="1588"/>
                </a:cubicBezTo>
                <a:cubicBezTo>
                  <a:pt x="1359" y="1587"/>
                  <a:pt x="1360" y="1587"/>
                  <a:pt x="1361" y="1586"/>
                </a:cubicBezTo>
                <a:cubicBezTo>
                  <a:pt x="1361" y="1586"/>
                  <a:pt x="1362" y="1585"/>
                  <a:pt x="1363" y="1586"/>
                </a:cubicBezTo>
                <a:cubicBezTo>
                  <a:pt x="1363" y="1586"/>
                  <a:pt x="1363" y="1587"/>
                  <a:pt x="1363" y="1587"/>
                </a:cubicBezTo>
                <a:cubicBezTo>
                  <a:pt x="1364" y="1588"/>
                  <a:pt x="1365" y="1586"/>
                  <a:pt x="1366" y="1586"/>
                </a:cubicBezTo>
                <a:cubicBezTo>
                  <a:pt x="1367" y="1586"/>
                  <a:pt x="1368" y="1586"/>
                  <a:pt x="1368" y="1585"/>
                </a:cubicBezTo>
                <a:cubicBezTo>
                  <a:pt x="1369" y="1585"/>
                  <a:pt x="1369" y="1584"/>
                  <a:pt x="1370" y="1584"/>
                </a:cubicBezTo>
                <a:cubicBezTo>
                  <a:pt x="1373" y="1583"/>
                  <a:pt x="1376" y="1584"/>
                  <a:pt x="1378" y="1585"/>
                </a:cubicBezTo>
                <a:cubicBezTo>
                  <a:pt x="1380" y="1585"/>
                  <a:pt x="1381" y="1585"/>
                  <a:pt x="1383" y="1585"/>
                </a:cubicBezTo>
                <a:cubicBezTo>
                  <a:pt x="1383" y="1585"/>
                  <a:pt x="1384" y="1585"/>
                  <a:pt x="1385" y="1585"/>
                </a:cubicBezTo>
                <a:cubicBezTo>
                  <a:pt x="1385" y="1585"/>
                  <a:pt x="1386" y="1586"/>
                  <a:pt x="1387" y="1585"/>
                </a:cubicBezTo>
                <a:cubicBezTo>
                  <a:pt x="1387" y="1585"/>
                  <a:pt x="1388" y="1584"/>
                  <a:pt x="1388" y="1584"/>
                </a:cubicBezTo>
                <a:cubicBezTo>
                  <a:pt x="1388" y="1583"/>
                  <a:pt x="1389" y="1583"/>
                  <a:pt x="1390" y="1583"/>
                </a:cubicBezTo>
                <a:cubicBezTo>
                  <a:pt x="1391" y="1583"/>
                  <a:pt x="1391" y="1583"/>
                  <a:pt x="1392" y="1583"/>
                </a:cubicBezTo>
                <a:cubicBezTo>
                  <a:pt x="1393" y="1582"/>
                  <a:pt x="1393" y="1582"/>
                  <a:pt x="1394" y="1582"/>
                </a:cubicBezTo>
                <a:cubicBezTo>
                  <a:pt x="1396" y="1582"/>
                  <a:pt x="1398" y="1582"/>
                  <a:pt x="1400" y="1583"/>
                </a:cubicBezTo>
                <a:cubicBezTo>
                  <a:pt x="1401" y="1584"/>
                  <a:pt x="1402" y="1584"/>
                  <a:pt x="1404" y="1584"/>
                </a:cubicBezTo>
                <a:cubicBezTo>
                  <a:pt x="1405" y="1584"/>
                  <a:pt x="1406" y="1584"/>
                  <a:pt x="1408" y="1585"/>
                </a:cubicBezTo>
                <a:cubicBezTo>
                  <a:pt x="1408" y="1585"/>
                  <a:pt x="1409" y="1586"/>
                  <a:pt x="1409" y="1586"/>
                </a:cubicBezTo>
                <a:cubicBezTo>
                  <a:pt x="1410" y="1586"/>
                  <a:pt x="1410" y="1586"/>
                  <a:pt x="1411" y="1585"/>
                </a:cubicBezTo>
                <a:cubicBezTo>
                  <a:pt x="1412" y="1584"/>
                  <a:pt x="1414" y="1584"/>
                  <a:pt x="1415" y="1584"/>
                </a:cubicBezTo>
                <a:cubicBezTo>
                  <a:pt x="1417" y="1584"/>
                  <a:pt x="1418" y="1582"/>
                  <a:pt x="1419" y="1582"/>
                </a:cubicBezTo>
                <a:cubicBezTo>
                  <a:pt x="1422" y="1582"/>
                  <a:pt x="1425" y="1582"/>
                  <a:pt x="1428" y="1582"/>
                </a:cubicBezTo>
                <a:cubicBezTo>
                  <a:pt x="1430" y="1582"/>
                  <a:pt x="1431" y="1581"/>
                  <a:pt x="1432" y="1581"/>
                </a:cubicBezTo>
                <a:cubicBezTo>
                  <a:pt x="1434" y="1581"/>
                  <a:pt x="1435" y="1581"/>
                  <a:pt x="1436" y="1581"/>
                </a:cubicBezTo>
                <a:cubicBezTo>
                  <a:pt x="1438" y="1582"/>
                  <a:pt x="1439" y="1582"/>
                  <a:pt x="1441" y="1582"/>
                </a:cubicBezTo>
                <a:cubicBezTo>
                  <a:pt x="1442" y="1582"/>
                  <a:pt x="1443" y="1582"/>
                  <a:pt x="1445" y="1582"/>
                </a:cubicBezTo>
                <a:cubicBezTo>
                  <a:pt x="1446" y="1582"/>
                  <a:pt x="1446" y="1581"/>
                  <a:pt x="1446" y="1580"/>
                </a:cubicBezTo>
                <a:cubicBezTo>
                  <a:pt x="1445" y="1579"/>
                  <a:pt x="1443" y="1579"/>
                  <a:pt x="1443" y="1577"/>
                </a:cubicBezTo>
                <a:cubicBezTo>
                  <a:pt x="1444" y="1577"/>
                  <a:pt x="1444" y="1578"/>
                  <a:pt x="1445" y="1578"/>
                </a:cubicBezTo>
                <a:cubicBezTo>
                  <a:pt x="1445" y="1579"/>
                  <a:pt x="1446" y="1579"/>
                  <a:pt x="1447" y="1579"/>
                </a:cubicBezTo>
                <a:cubicBezTo>
                  <a:pt x="1448" y="1580"/>
                  <a:pt x="1446" y="1582"/>
                  <a:pt x="1447" y="1583"/>
                </a:cubicBezTo>
                <a:cubicBezTo>
                  <a:pt x="1448" y="1584"/>
                  <a:pt x="1449" y="1584"/>
                  <a:pt x="1450" y="1585"/>
                </a:cubicBezTo>
                <a:cubicBezTo>
                  <a:pt x="1450" y="1587"/>
                  <a:pt x="1450" y="1588"/>
                  <a:pt x="1449" y="1589"/>
                </a:cubicBezTo>
                <a:cubicBezTo>
                  <a:pt x="1449" y="1590"/>
                  <a:pt x="1449" y="1591"/>
                  <a:pt x="1449" y="1591"/>
                </a:cubicBezTo>
                <a:cubicBezTo>
                  <a:pt x="1449" y="1592"/>
                  <a:pt x="1451" y="1592"/>
                  <a:pt x="1451" y="1592"/>
                </a:cubicBezTo>
                <a:cubicBezTo>
                  <a:pt x="1453" y="1592"/>
                  <a:pt x="1454" y="1593"/>
                  <a:pt x="1456" y="1593"/>
                </a:cubicBezTo>
                <a:cubicBezTo>
                  <a:pt x="1457" y="1593"/>
                  <a:pt x="1458" y="1593"/>
                  <a:pt x="1459" y="1595"/>
                </a:cubicBezTo>
                <a:cubicBezTo>
                  <a:pt x="1459" y="1596"/>
                  <a:pt x="1459" y="1597"/>
                  <a:pt x="1460" y="1599"/>
                </a:cubicBezTo>
                <a:cubicBezTo>
                  <a:pt x="1460" y="1600"/>
                  <a:pt x="1461" y="1601"/>
                  <a:pt x="1461" y="1602"/>
                </a:cubicBezTo>
                <a:cubicBezTo>
                  <a:pt x="1461" y="1603"/>
                  <a:pt x="1461" y="1604"/>
                  <a:pt x="1462" y="1606"/>
                </a:cubicBezTo>
                <a:cubicBezTo>
                  <a:pt x="1462" y="1607"/>
                  <a:pt x="1462" y="1607"/>
                  <a:pt x="1462" y="1608"/>
                </a:cubicBezTo>
                <a:cubicBezTo>
                  <a:pt x="1463" y="1609"/>
                  <a:pt x="1463" y="1609"/>
                  <a:pt x="1464" y="1609"/>
                </a:cubicBezTo>
                <a:cubicBezTo>
                  <a:pt x="1466" y="1609"/>
                  <a:pt x="1465" y="1611"/>
                  <a:pt x="1465" y="1612"/>
                </a:cubicBezTo>
                <a:cubicBezTo>
                  <a:pt x="1465" y="1613"/>
                  <a:pt x="1466" y="1614"/>
                  <a:pt x="1467" y="1614"/>
                </a:cubicBezTo>
                <a:cubicBezTo>
                  <a:pt x="1468" y="1613"/>
                  <a:pt x="1468" y="1613"/>
                  <a:pt x="1468" y="1612"/>
                </a:cubicBezTo>
                <a:cubicBezTo>
                  <a:pt x="1468" y="1611"/>
                  <a:pt x="1468" y="1611"/>
                  <a:pt x="1469" y="1611"/>
                </a:cubicBezTo>
                <a:cubicBezTo>
                  <a:pt x="1469" y="1610"/>
                  <a:pt x="1469" y="1609"/>
                  <a:pt x="1470" y="1609"/>
                </a:cubicBezTo>
                <a:cubicBezTo>
                  <a:pt x="1470" y="1608"/>
                  <a:pt x="1471" y="1609"/>
                  <a:pt x="1471" y="1609"/>
                </a:cubicBezTo>
                <a:cubicBezTo>
                  <a:pt x="1472" y="1609"/>
                  <a:pt x="1473" y="1609"/>
                  <a:pt x="1473" y="1609"/>
                </a:cubicBezTo>
                <a:cubicBezTo>
                  <a:pt x="1474" y="1609"/>
                  <a:pt x="1474" y="1610"/>
                  <a:pt x="1474" y="1611"/>
                </a:cubicBezTo>
                <a:cubicBezTo>
                  <a:pt x="1473" y="1612"/>
                  <a:pt x="1473" y="1610"/>
                  <a:pt x="1473" y="1610"/>
                </a:cubicBezTo>
                <a:cubicBezTo>
                  <a:pt x="1472" y="1610"/>
                  <a:pt x="1471" y="1610"/>
                  <a:pt x="1471" y="1610"/>
                </a:cubicBezTo>
                <a:cubicBezTo>
                  <a:pt x="1470" y="1610"/>
                  <a:pt x="1470" y="1611"/>
                  <a:pt x="1470" y="1611"/>
                </a:cubicBezTo>
                <a:cubicBezTo>
                  <a:pt x="1470" y="1612"/>
                  <a:pt x="1470" y="1613"/>
                  <a:pt x="1469" y="1613"/>
                </a:cubicBezTo>
                <a:cubicBezTo>
                  <a:pt x="1469" y="1614"/>
                  <a:pt x="1470" y="1615"/>
                  <a:pt x="1471" y="1615"/>
                </a:cubicBezTo>
                <a:cubicBezTo>
                  <a:pt x="1472" y="1615"/>
                  <a:pt x="1472" y="1613"/>
                  <a:pt x="1472" y="1613"/>
                </a:cubicBezTo>
                <a:cubicBezTo>
                  <a:pt x="1472" y="1613"/>
                  <a:pt x="1473" y="1613"/>
                  <a:pt x="1473" y="1613"/>
                </a:cubicBezTo>
                <a:cubicBezTo>
                  <a:pt x="1473" y="1613"/>
                  <a:pt x="1473" y="1613"/>
                  <a:pt x="1473" y="1614"/>
                </a:cubicBezTo>
                <a:cubicBezTo>
                  <a:pt x="1473" y="1614"/>
                  <a:pt x="1474" y="1614"/>
                  <a:pt x="1474" y="1614"/>
                </a:cubicBezTo>
                <a:cubicBezTo>
                  <a:pt x="1474" y="1614"/>
                  <a:pt x="1474" y="1614"/>
                  <a:pt x="1475" y="1615"/>
                </a:cubicBezTo>
                <a:cubicBezTo>
                  <a:pt x="1475" y="1615"/>
                  <a:pt x="1475" y="1615"/>
                  <a:pt x="1475" y="1615"/>
                </a:cubicBezTo>
                <a:cubicBezTo>
                  <a:pt x="1476" y="1615"/>
                  <a:pt x="1476" y="1614"/>
                  <a:pt x="1475" y="1613"/>
                </a:cubicBezTo>
                <a:cubicBezTo>
                  <a:pt x="1475" y="1613"/>
                  <a:pt x="1475" y="1611"/>
                  <a:pt x="1476" y="1612"/>
                </a:cubicBezTo>
                <a:cubicBezTo>
                  <a:pt x="1477" y="1613"/>
                  <a:pt x="1476" y="1615"/>
                  <a:pt x="1476" y="1616"/>
                </a:cubicBezTo>
                <a:cubicBezTo>
                  <a:pt x="1477" y="1617"/>
                  <a:pt x="1477" y="1615"/>
                  <a:pt x="1478" y="1615"/>
                </a:cubicBezTo>
                <a:cubicBezTo>
                  <a:pt x="1479" y="1614"/>
                  <a:pt x="1479" y="1615"/>
                  <a:pt x="1479" y="1616"/>
                </a:cubicBezTo>
                <a:cubicBezTo>
                  <a:pt x="1479" y="1617"/>
                  <a:pt x="1478" y="1617"/>
                  <a:pt x="1478" y="1618"/>
                </a:cubicBezTo>
                <a:cubicBezTo>
                  <a:pt x="1479" y="1620"/>
                  <a:pt x="1482" y="1618"/>
                  <a:pt x="1483" y="1618"/>
                </a:cubicBezTo>
                <a:cubicBezTo>
                  <a:pt x="1483" y="1617"/>
                  <a:pt x="1484" y="1617"/>
                  <a:pt x="1484" y="1617"/>
                </a:cubicBezTo>
                <a:cubicBezTo>
                  <a:pt x="1485" y="1617"/>
                  <a:pt x="1485" y="1616"/>
                  <a:pt x="1485" y="1616"/>
                </a:cubicBezTo>
                <a:cubicBezTo>
                  <a:pt x="1486" y="1618"/>
                  <a:pt x="1484" y="1618"/>
                  <a:pt x="1484" y="1619"/>
                </a:cubicBezTo>
                <a:cubicBezTo>
                  <a:pt x="1485" y="1620"/>
                  <a:pt x="1485" y="1621"/>
                  <a:pt x="1485" y="1621"/>
                </a:cubicBezTo>
                <a:cubicBezTo>
                  <a:pt x="1485" y="1623"/>
                  <a:pt x="1485" y="1623"/>
                  <a:pt x="1486" y="1624"/>
                </a:cubicBezTo>
                <a:cubicBezTo>
                  <a:pt x="1487" y="1625"/>
                  <a:pt x="1487" y="1625"/>
                  <a:pt x="1488" y="1626"/>
                </a:cubicBezTo>
                <a:cubicBezTo>
                  <a:pt x="1488" y="1627"/>
                  <a:pt x="1488" y="1627"/>
                  <a:pt x="1488" y="1628"/>
                </a:cubicBezTo>
                <a:cubicBezTo>
                  <a:pt x="1489" y="1628"/>
                  <a:pt x="1490" y="1628"/>
                  <a:pt x="1491" y="1629"/>
                </a:cubicBezTo>
                <a:cubicBezTo>
                  <a:pt x="1491" y="1630"/>
                  <a:pt x="1492" y="1631"/>
                  <a:pt x="1492" y="1631"/>
                </a:cubicBezTo>
                <a:cubicBezTo>
                  <a:pt x="1493" y="1631"/>
                  <a:pt x="1494" y="1632"/>
                  <a:pt x="1494" y="1632"/>
                </a:cubicBezTo>
                <a:cubicBezTo>
                  <a:pt x="1495" y="1632"/>
                  <a:pt x="1496" y="1633"/>
                  <a:pt x="1496" y="1633"/>
                </a:cubicBezTo>
                <a:cubicBezTo>
                  <a:pt x="1498" y="1635"/>
                  <a:pt x="1501" y="1635"/>
                  <a:pt x="1504" y="1636"/>
                </a:cubicBezTo>
                <a:cubicBezTo>
                  <a:pt x="1505" y="1637"/>
                  <a:pt x="1506" y="1637"/>
                  <a:pt x="1508" y="1637"/>
                </a:cubicBezTo>
                <a:cubicBezTo>
                  <a:pt x="1509" y="1637"/>
                  <a:pt x="1510" y="1636"/>
                  <a:pt x="1512" y="1635"/>
                </a:cubicBezTo>
                <a:cubicBezTo>
                  <a:pt x="1512" y="1634"/>
                  <a:pt x="1513" y="1634"/>
                  <a:pt x="1514" y="1634"/>
                </a:cubicBezTo>
                <a:cubicBezTo>
                  <a:pt x="1514" y="1634"/>
                  <a:pt x="1515" y="1634"/>
                  <a:pt x="1516" y="1634"/>
                </a:cubicBezTo>
                <a:cubicBezTo>
                  <a:pt x="1516" y="1633"/>
                  <a:pt x="1517" y="1633"/>
                  <a:pt x="1517" y="1632"/>
                </a:cubicBezTo>
                <a:cubicBezTo>
                  <a:pt x="1518" y="1632"/>
                  <a:pt x="1518" y="1633"/>
                  <a:pt x="1519" y="1633"/>
                </a:cubicBezTo>
                <a:cubicBezTo>
                  <a:pt x="1520" y="1633"/>
                  <a:pt x="1521" y="1633"/>
                  <a:pt x="1521" y="1633"/>
                </a:cubicBezTo>
                <a:cubicBezTo>
                  <a:pt x="1522" y="1634"/>
                  <a:pt x="1522" y="1635"/>
                  <a:pt x="1522" y="1635"/>
                </a:cubicBezTo>
                <a:cubicBezTo>
                  <a:pt x="1521" y="1637"/>
                  <a:pt x="1519" y="1637"/>
                  <a:pt x="1518" y="1639"/>
                </a:cubicBezTo>
                <a:cubicBezTo>
                  <a:pt x="1518" y="1639"/>
                  <a:pt x="1518" y="1640"/>
                  <a:pt x="1518" y="1640"/>
                </a:cubicBezTo>
                <a:cubicBezTo>
                  <a:pt x="1517" y="1641"/>
                  <a:pt x="1516" y="1641"/>
                  <a:pt x="1516" y="1641"/>
                </a:cubicBezTo>
                <a:cubicBezTo>
                  <a:pt x="1515" y="1642"/>
                  <a:pt x="1514" y="1642"/>
                  <a:pt x="1513" y="1642"/>
                </a:cubicBezTo>
                <a:cubicBezTo>
                  <a:pt x="1513" y="1643"/>
                  <a:pt x="1512" y="1643"/>
                  <a:pt x="1511" y="1643"/>
                </a:cubicBezTo>
                <a:cubicBezTo>
                  <a:pt x="1509" y="1643"/>
                  <a:pt x="1506" y="1644"/>
                  <a:pt x="1503" y="1645"/>
                </a:cubicBezTo>
                <a:cubicBezTo>
                  <a:pt x="1502" y="1645"/>
                  <a:pt x="1500" y="1646"/>
                  <a:pt x="1499" y="1646"/>
                </a:cubicBezTo>
                <a:cubicBezTo>
                  <a:pt x="1498" y="1645"/>
                  <a:pt x="1500" y="1644"/>
                  <a:pt x="1499" y="1643"/>
                </a:cubicBezTo>
                <a:cubicBezTo>
                  <a:pt x="1498" y="1643"/>
                  <a:pt x="1497" y="1643"/>
                  <a:pt x="1496" y="1643"/>
                </a:cubicBezTo>
                <a:cubicBezTo>
                  <a:pt x="1494" y="1643"/>
                  <a:pt x="1493" y="1645"/>
                  <a:pt x="1494" y="1646"/>
                </a:cubicBezTo>
                <a:cubicBezTo>
                  <a:pt x="1495" y="1647"/>
                  <a:pt x="1495" y="1647"/>
                  <a:pt x="1496" y="1648"/>
                </a:cubicBezTo>
                <a:cubicBezTo>
                  <a:pt x="1496" y="1648"/>
                  <a:pt x="1496" y="1649"/>
                  <a:pt x="1497" y="1650"/>
                </a:cubicBezTo>
                <a:cubicBezTo>
                  <a:pt x="1497" y="1651"/>
                  <a:pt x="1499" y="1652"/>
                  <a:pt x="1500" y="1653"/>
                </a:cubicBezTo>
                <a:cubicBezTo>
                  <a:pt x="1502" y="1654"/>
                  <a:pt x="1504" y="1657"/>
                  <a:pt x="1506" y="1659"/>
                </a:cubicBezTo>
                <a:cubicBezTo>
                  <a:pt x="1509" y="1662"/>
                  <a:pt x="1513" y="1664"/>
                  <a:pt x="1515" y="1668"/>
                </a:cubicBezTo>
                <a:cubicBezTo>
                  <a:pt x="1516" y="1669"/>
                  <a:pt x="1516" y="1670"/>
                  <a:pt x="1518" y="1671"/>
                </a:cubicBezTo>
                <a:cubicBezTo>
                  <a:pt x="1519" y="1672"/>
                  <a:pt x="1520" y="1673"/>
                  <a:pt x="1521" y="1674"/>
                </a:cubicBezTo>
                <a:cubicBezTo>
                  <a:pt x="1522" y="1675"/>
                  <a:pt x="1523" y="1676"/>
                  <a:pt x="1525" y="1677"/>
                </a:cubicBezTo>
                <a:cubicBezTo>
                  <a:pt x="1526" y="1677"/>
                  <a:pt x="1527" y="1677"/>
                  <a:pt x="1529" y="1677"/>
                </a:cubicBezTo>
                <a:cubicBezTo>
                  <a:pt x="1529" y="1677"/>
                  <a:pt x="1530" y="1678"/>
                  <a:pt x="1531" y="1678"/>
                </a:cubicBezTo>
                <a:cubicBezTo>
                  <a:pt x="1531" y="1678"/>
                  <a:pt x="1532" y="1678"/>
                  <a:pt x="1533" y="1678"/>
                </a:cubicBezTo>
                <a:cubicBezTo>
                  <a:pt x="1535" y="1678"/>
                  <a:pt x="1536" y="1677"/>
                  <a:pt x="1537" y="1677"/>
                </a:cubicBezTo>
                <a:cubicBezTo>
                  <a:pt x="1539" y="1676"/>
                  <a:pt x="1540" y="1676"/>
                  <a:pt x="1541" y="1675"/>
                </a:cubicBezTo>
                <a:cubicBezTo>
                  <a:pt x="1543" y="1675"/>
                  <a:pt x="1544" y="1675"/>
                  <a:pt x="1545" y="1674"/>
                </a:cubicBezTo>
                <a:cubicBezTo>
                  <a:pt x="1547" y="1673"/>
                  <a:pt x="1548" y="1672"/>
                  <a:pt x="1549" y="1672"/>
                </a:cubicBezTo>
                <a:cubicBezTo>
                  <a:pt x="1551" y="1672"/>
                  <a:pt x="1552" y="1671"/>
                  <a:pt x="1553" y="1671"/>
                </a:cubicBezTo>
                <a:cubicBezTo>
                  <a:pt x="1554" y="1670"/>
                  <a:pt x="1556" y="1668"/>
                  <a:pt x="1557" y="1667"/>
                </a:cubicBezTo>
                <a:cubicBezTo>
                  <a:pt x="1557" y="1667"/>
                  <a:pt x="1558" y="1667"/>
                  <a:pt x="1558" y="1666"/>
                </a:cubicBezTo>
                <a:cubicBezTo>
                  <a:pt x="1558" y="1665"/>
                  <a:pt x="1558" y="1665"/>
                  <a:pt x="1559" y="1664"/>
                </a:cubicBezTo>
                <a:cubicBezTo>
                  <a:pt x="1559" y="1663"/>
                  <a:pt x="1559" y="1663"/>
                  <a:pt x="1560" y="1662"/>
                </a:cubicBezTo>
                <a:cubicBezTo>
                  <a:pt x="1560" y="1661"/>
                  <a:pt x="1560" y="1661"/>
                  <a:pt x="1560" y="1660"/>
                </a:cubicBezTo>
                <a:cubicBezTo>
                  <a:pt x="1560" y="1658"/>
                  <a:pt x="1559" y="1658"/>
                  <a:pt x="1558" y="1657"/>
                </a:cubicBezTo>
                <a:cubicBezTo>
                  <a:pt x="1557" y="1657"/>
                  <a:pt x="1554" y="1657"/>
                  <a:pt x="1555" y="1655"/>
                </a:cubicBezTo>
                <a:cubicBezTo>
                  <a:pt x="1555" y="1654"/>
                  <a:pt x="1556" y="1655"/>
                  <a:pt x="1557" y="1654"/>
                </a:cubicBezTo>
                <a:cubicBezTo>
                  <a:pt x="1557" y="1653"/>
                  <a:pt x="1556" y="1653"/>
                  <a:pt x="1556" y="1652"/>
                </a:cubicBezTo>
                <a:cubicBezTo>
                  <a:pt x="1557" y="1651"/>
                  <a:pt x="1559" y="1651"/>
                  <a:pt x="1560" y="1651"/>
                </a:cubicBezTo>
                <a:cubicBezTo>
                  <a:pt x="1560" y="1650"/>
                  <a:pt x="1560" y="1649"/>
                  <a:pt x="1561" y="1649"/>
                </a:cubicBezTo>
                <a:cubicBezTo>
                  <a:pt x="1561" y="1648"/>
                  <a:pt x="1561" y="1648"/>
                  <a:pt x="1560" y="1647"/>
                </a:cubicBezTo>
                <a:cubicBezTo>
                  <a:pt x="1559" y="1647"/>
                  <a:pt x="1559" y="1646"/>
                  <a:pt x="1560" y="1646"/>
                </a:cubicBezTo>
                <a:cubicBezTo>
                  <a:pt x="1561" y="1645"/>
                  <a:pt x="1562" y="1646"/>
                  <a:pt x="1563" y="1646"/>
                </a:cubicBezTo>
                <a:cubicBezTo>
                  <a:pt x="1565" y="1647"/>
                  <a:pt x="1567" y="1646"/>
                  <a:pt x="1569" y="1646"/>
                </a:cubicBezTo>
                <a:cubicBezTo>
                  <a:pt x="1570" y="1646"/>
                  <a:pt x="1570" y="1646"/>
                  <a:pt x="1570" y="1647"/>
                </a:cubicBezTo>
                <a:cubicBezTo>
                  <a:pt x="1570" y="1648"/>
                  <a:pt x="1569" y="1648"/>
                  <a:pt x="1568" y="1648"/>
                </a:cubicBezTo>
                <a:cubicBezTo>
                  <a:pt x="1568" y="1648"/>
                  <a:pt x="1567" y="1648"/>
                  <a:pt x="1566" y="1648"/>
                </a:cubicBezTo>
                <a:cubicBezTo>
                  <a:pt x="1565" y="1648"/>
                  <a:pt x="1565" y="1649"/>
                  <a:pt x="1565" y="1650"/>
                </a:cubicBezTo>
                <a:cubicBezTo>
                  <a:pt x="1565" y="1650"/>
                  <a:pt x="1564" y="1651"/>
                  <a:pt x="1564" y="1651"/>
                </a:cubicBezTo>
                <a:cubicBezTo>
                  <a:pt x="1563" y="1652"/>
                  <a:pt x="1563" y="1653"/>
                  <a:pt x="1563" y="1654"/>
                </a:cubicBezTo>
                <a:cubicBezTo>
                  <a:pt x="1563" y="1655"/>
                  <a:pt x="1563" y="1657"/>
                  <a:pt x="1564" y="1658"/>
                </a:cubicBezTo>
                <a:cubicBezTo>
                  <a:pt x="1564" y="1659"/>
                  <a:pt x="1565" y="1659"/>
                  <a:pt x="1566" y="1659"/>
                </a:cubicBezTo>
                <a:cubicBezTo>
                  <a:pt x="1566" y="1659"/>
                  <a:pt x="1567" y="1659"/>
                  <a:pt x="1567" y="1659"/>
                </a:cubicBezTo>
                <a:cubicBezTo>
                  <a:pt x="1568" y="1659"/>
                  <a:pt x="1569" y="1659"/>
                  <a:pt x="1569" y="1658"/>
                </a:cubicBezTo>
                <a:cubicBezTo>
                  <a:pt x="1570" y="1658"/>
                  <a:pt x="1571" y="1658"/>
                  <a:pt x="1571" y="1658"/>
                </a:cubicBezTo>
                <a:cubicBezTo>
                  <a:pt x="1572" y="1659"/>
                  <a:pt x="1573" y="1659"/>
                  <a:pt x="1572" y="1660"/>
                </a:cubicBezTo>
                <a:cubicBezTo>
                  <a:pt x="1571" y="1660"/>
                  <a:pt x="1570" y="1660"/>
                  <a:pt x="1570" y="1660"/>
                </a:cubicBezTo>
                <a:cubicBezTo>
                  <a:pt x="1569" y="1661"/>
                  <a:pt x="1568" y="1661"/>
                  <a:pt x="1567" y="1662"/>
                </a:cubicBezTo>
                <a:cubicBezTo>
                  <a:pt x="1566" y="1663"/>
                  <a:pt x="1566" y="1665"/>
                  <a:pt x="1566" y="1666"/>
                </a:cubicBezTo>
                <a:cubicBezTo>
                  <a:pt x="1565" y="1668"/>
                  <a:pt x="1565" y="1669"/>
                  <a:pt x="1566" y="1670"/>
                </a:cubicBezTo>
                <a:cubicBezTo>
                  <a:pt x="1567" y="1671"/>
                  <a:pt x="1569" y="1671"/>
                  <a:pt x="1570" y="1672"/>
                </a:cubicBezTo>
                <a:cubicBezTo>
                  <a:pt x="1571" y="1673"/>
                  <a:pt x="1571" y="1674"/>
                  <a:pt x="1572" y="1675"/>
                </a:cubicBezTo>
                <a:cubicBezTo>
                  <a:pt x="1572" y="1677"/>
                  <a:pt x="1571" y="1678"/>
                  <a:pt x="1571" y="1679"/>
                </a:cubicBezTo>
                <a:cubicBezTo>
                  <a:pt x="1571" y="1682"/>
                  <a:pt x="1570" y="1684"/>
                  <a:pt x="1570" y="1687"/>
                </a:cubicBezTo>
                <a:cubicBezTo>
                  <a:pt x="1569" y="1688"/>
                  <a:pt x="1568" y="1689"/>
                  <a:pt x="1568" y="1691"/>
                </a:cubicBezTo>
                <a:cubicBezTo>
                  <a:pt x="1567" y="1694"/>
                  <a:pt x="1567" y="1697"/>
                  <a:pt x="1568" y="1700"/>
                </a:cubicBezTo>
                <a:cubicBezTo>
                  <a:pt x="1568" y="1701"/>
                  <a:pt x="1569" y="1702"/>
                  <a:pt x="1569" y="1703"/>
                </a:cubicBezTo>
                <a:cubicBezTo>
                  <a:pt x="1569" y="1704"/>
                  <a:pt x="1569" y="1705"/>
                  <a:pt x="1569" y="1705"/>
                </a:cubicBezTo>
                <a:cubicBezTo>
                  <a:pt x="1569" y="1706"/>
                  <a:pt x="1569" y="1707"/>
                  <a:pt x="1570" y="1707"/>
                </a:cubicBezTo>
                <a:cubicBezTo>
                  <a:pt x="1570" y="1708"/>
                  <a:pt x="1570" y="1710"/>
                  <a:pt x="1570" y="1711"/>
                </a:cubicBezTo>
                <a:cubicBezTo>
                  <a:pt x="1570" y="1712"/>
                  <a:pt x="1571" y="1712"/>
                  <a:pt x="1571" y="1712"/>
                </a:cubicBezTo>
                <a:cubicBezTo>
                  <a:pt x="1571" y="1713"/>
                  <a:pt x="1572" y="1714"/>
                  <a:pt x="1572" y="1713"/>
                </a:cubicBezTo>
                <a:cubicBezTo>
                  <a:pt x="1573" y="1713"/>
                  <a:pt x="1573" y="1712"/>
                  <a:pt x="1573" y="1712"/>
                </a:cubicBezTo>
                <a:cubicBezTo>
                  <a:pt x="1574" y="1712"/>
                  <a:pt x="1574" y="1713"/>
                  <a:pt x="1574" y="1714"/>
                </a:cubicBezTo>
                <a:cubicBezTo>
                  <a:pt x="1574" y="1714"/>
                  <a:pt x="1573" y="1714"/>
                  <a:pt x="1572" y="1715"/>
                </a:cubicBezTo>
                <a:cubicBezTo>
                  <a:pt x="1572" y="1715"/>
                  <a:pt x="1572" y="1716"/>
                  <a:pt x="1572" y="1717"/>
                </a:cubicBezTo>
                <a:cubicBezTo>
                  <a:pt x="1572" y="1718"/>
                  <a:pt x="1572" y="1717"/>
                  <a:pt x="1571" y="1718"/>
                </a:cubicBezTo>
                <a:cubicBezTo>
                  <a:pt x="1571" y="1718"/>
                  <a:pt x="1571" y="1719"/>
                  <a:pt x="1571" y="1720"/>
                </a:cubicBezTo>
                <a:cubicBezTo>
                  <a:pt x="1571" y="1721"/>
                  <a:pt x="1573" y="1722"/>
                  <a:pt x="1573" y="1723"/>
                </a:cubicBezTo>
                <a:cubicBezTo>
                  <a:pt x="1572" y="1724"/>
                  <a:pt x="1572" y="1724"/>
                  <a:pt x="1572" y="1725"/>
                </a:cubicBezTo>
                <a:cubicBezTo>
                  <a:pt x="1572" y="1725"/>
                  <a:pt x="1573" y="1726"/>
                  <a:pt x="1573" y="1726"/>
                </a:cubicBezTo>
                <a:cubicBezTo>
                  <a:pt x="1573" y="1727"/>
                  <a:pt x="1575" y="1729"/>
                  <a:pt x="1574" y="1729"/>
                </a:cubicBezTo>
                <a:cubicBezTo>
                  <a:pt x="1573" y="1729"/>
                  <a:pt x="1573" y="1728"/>
                  <a:pt x="1572" y="1728"/>
                </a:cubicBezTo>
                <a:cubicBezTo>
                  <a:pt x="1571" y="1728"/>
                  <a:pt x="1572" y="1729"/>
                  <a:pt x="1572" y="1729"/>
                </a:cubicBezTo>
                <a:cubicBezTo>
                  <a:pt x="1573" y="1730"/>
                  <a:pt x="1573" y="1730"/>
                  <a:pt x="1573" y="1731"/>
                </a:cubicBezTo>
                <a:cubicBezTo>
                  <a:pt x="1574" y="1733"/>
                  <a:pt x="1573" y="1735"/>
                  <a:pt x="1574" y="1737"/>
                </a:cubicBezTo>
                <a:cubicBezTo>
                  <a:pt x="1574" y="1738"/>
                  <a:pt x="1575" y="1739"/>
                  <a:pt x="1575" y="1741"/>
                </a:cubicBezTo>
                <a:cubicBezTo>
                  <a:pt x="1576" y="1742"/>
                  <a:pt x="1576" y="1744"/>
                  <a:pt x="1576" y="1745"/>
                </a:cubicBezTo>
                <a:cubicBezTo>
                  <a:pt x="1576" y="1747"/>
                  <a:pt x="1577" y="1748"/>
                  <a:pt x="1577" y="1749"/>
                </a:cubicBezTo>
                <a:cubicBezTo>
                  <a:pt x="1577" y="1751"/>
                  <a:pt x="1578" y="1752"/>
                  <a:pt x="1579" y="1754"/>
                </a:cubicBezTo>
                <a:cubicBezTo>
                  <a:pt x="1579" y="1755"/>
                  <a:pt x="1579" y="1757"/>
                  <a:pt x="1579" y="1758"/>
                </a:cubicBezTo>
                <a:cubicBezTo>
                  <a:pt x="1580" y="1761"/>
                  <a:pt x="1580" y="1763"/>
                  <a:pt x="1581" y="1766"/>
                </a:cubicBezTo>
                <a:cubicBezTo>
                  <a:pt x="1581" y="1768"/>
                  <a:pt x="1581" y="1770"/>
                  <a:pt x="1582" y="1772"/>
                </a:cubicBezTo>
                <a:cubicBezTo>
                  <a:pt x="1584" y="1776"/>
                  <a:pt x="1587" y="1779"/>
                  <a:pt x="1589" y="1783"/>
                </a:cubicBezTo>
                <a:cubicBezTo>
                  <a:pt x="1590" y="1784"/>
                  <a:pt x="1592" y="1785"/>
                  <a:pt x="1592" y="1786"/>
                </a:cubicBezTo>
                <a:cubicBezTo>
                  <a:pt x="1592" y="1788"/>
                  <a:pt x="1589" y="1786"/>
                  <a:pt x="1589" y="1786"/>
                </a:cubicBezTo>
                <a:cubicBezTo>
                  <a:pt x="1589" y="1787"/>
                  <a:pt x="1590" y="1788"/>
                  <a:pt x="1590" y="1788"/>
                </a:cubicBezTo>
                <a:cubicBezTo>
                  <a:pt x="1591" y="1788"/>
                  <a:pt x="1591" y="1789"/>
                  <a:pt x="1591" y="1789"/>
                </a:cubicBezTo>
                <a:cubicBezTo>
                  <a:pt x="1592" y="1790"/>
                  <a:pt x="1592" y="1792"/>
                  <a:pt x="1593" y="1793"/>
                </a:cubicBezTo>
                <a:cubicBezTo>
                  <a:pt x="1593" y="1794"/>
                  <a:pt x="1594" y="1795"/>
                  <a:pt x="1595" y="1796"/>
                </a:cubicBezTo>
                <a:cubicBezTo>
                  <a:pt x="1595" y="1797"/>
                  <a:pt x="1596" y="1797"/>
                  <a:pt x="1596" y="1798"/>
                </a:cubicBezTo>
                <a:cubicBezTo>
                  <a:pt x="1596" y="1798"/>
                  <a:pt x="1595" y="1799"/>
                  <a:pt x="1595" y="1798"/>
                </a:cubicBezTo>
                <a:cubicBezTo>
                  <a:pt x="1595" y="1799"/>
                  <a:pt x="1595" y="1799"/>
                  <a:pt x="1595" y="1799"/>
                </a:cubicBezTo>
                <a:cubicBezTo>
                  <a:pt x="1595" y="1799"/>
                  <a:pt x="1597" y="1800"/>
                  <a:pt x="1597" y="1800"/>
                </a:cubicBezTo>
                <a:cubicBezTo>
                  <a:pt x="1598" y="1801"/>
                  <a:pt x="1599" y="1802"/>
                  <a:pt x="1599" y="1802"/>
                </a:cubicBezTo>
                <a:cubicBezTo>
                  <a:pt x="1600" y="1803"/>
                  <a:pt x="1600" y="1803"/>
                  <a:pt x="1601" y="1804"/>
                </a:cubicBezTo>
                <a:cubicBezTo>
                  <a:pt x="1602" y="1805"/>
                  <a:pt x="1602" y="1807"/>
                  <a:pt x="1602" y="1809"/>
                </a:cubicBezTo>
                <a:cubicBezTo>
                  <a:pt x="1603" y="1810"/>
                  <a:pt x="1602" y="1811"/>
                  <a:pt x="1603" y="1812"/>
                </a:cubicBezTo>
                <a:cubicBezTo>
                  <a:pt x="1603" y="1813"/>
                  <a:pt x="1603" y="1814"/>
                  <a:pt x="1604" y="1814"/>
                </a:cubicBezTo>
                <a:cubicBezTo>
                  <a:pt x="1604" y="1816"/>
                  <a:pt x="1605" y="1817"/>
                  <a:pt x="1605" y="1819"/>
                </a:cubicBezTo>
                <a:cubicBezTo>
                  <a:pt x="1606" y="1821"/>
                  <a:pt x="1607" y="1824"/>
                  <a:pt x="1608" y="1827"/>
                </a:cubicBezTo>
                <a:cubicBezTo>
                  <a:pt x="1609" y="1829"/>
                  <a:pt x="1609" y="1830"/>
                  <a:pt x="1610" y="1831"/>
                </a:cubicBezTo>
                <a:cubicBezTo>
                  <a:pt x="1610" y="1833"/>
                  <a:pt x="1611" y="1834"/>
                  <a:pt x="1611" y="1836"/>
                </a:cubicBezTo>
                <a:cubicBezTo>
                  <a:pt x="1611" y="1837"/>
                  <a:pt x="1610" y="1838"/>
                  <a:pt x="1610" y="1840"/>
                </a:cubicBezTo>
                <a:cubicBezTo>
                  <a:pt x="1611" y="1841"/>
                  <a:pt x="1612" y="1842"/>
                  <a:pt x="1612" y="1843"/>
                </a:cubicBezTo>
                <a:cubicBezTo>
                  <a:pt x="1614" y="1846"/>
                  <a:pt x="1615" y="1848"/>
                  <a:pt x="1616" y="1851"/>
                </a:cubicBezTo>
                <a:cubicBezTo>
                  <a:pt x="1617" y="1852"/>
                  <a:pt x="1618" y="1853"/>
                  <a:pt x="1619" y="1855"/>
                </a:cubicBezTo>
                <a:cubicBezTo>
                  <a:pt x="1620" y="1856"/>
                  <a:pt x="1620" y="1857"/>
                  <a:pt x="1621" y="1859"/>
                </a:cubicBezTo>
                <a:cubicBezTo>
                  <a:pt x="1622" y="1860"/>
                  <a:pt x="1623" y="1860"/>
                  <a:pt x="1624" y="1861"/>
                </a:cubicBezTo>
                <a:cubicBezTo>
                  <a:pt x="1625" y="1863"/>
                  <a:pt x="1626" y="1865"/>
                  <a:pt x="1627" y="1866"/>
                </a:cubicBezTo>
                <a:cubicBezTo>
                  <a:pt x="1627" y="1868"/>
                  <a:pt x="1628" y="1869"/>
                  <a:pt x="1629" y="1871"/>
                </a:cubicBezTo>
                <a:cubicBezTo>
                  <a:pt x="1629" y="1872"/>
                  <a:pt x="1630" y="1873"/>
                  <a:pt x="1630" y="1875"/>
                </a:cubicBezTo>
                <a:cubicBezTo>
                  <a:pt x="1630" y="1876"/>
                  <a:pt x="1631" y="1878"/>
                  <a:pt x="1631" y="1879"/>
                </a:cubicBezTo>
                <a:cubicBezTo>
                  <a:pt x="1632" y="1880"/>
                  <a:pt x="1633" y="1882"/>
                  <a:pt x="1633" y="1883"/>
                </a:cubicBezTo>
                <a:cubicBezTo>
                  <a:pt x="1634" y="1886"/>
                  <a:pt x="1635" y="1888"/>
                  <a:pt x="1636" y="1891"/>
                </a:cubicBezTo>
                <a:cubicBezTo>
                  <a:pt x="1637" y="1892"/>
                  <a:pt x="1638" y="1894"/>
                  <a:pt x="1639" y="1895"/>
                </a:cubicBezTo>
                <a:cubicBezTo>
                  <a:pt x="1640" y="1896"/>
                  <a:pt x="1640" y="1896"/>
                  <a:pt x="1640" y="1897"/>
                </a:cubicBezTo>
                <a:cubicBezTo>
                  <a:pt x="1640" y="1897"/>
                  <a:pt x="1640" y="1898"/>
                  <a:pt x="1641" y="1898"/>
                </a:cubicBezTo>
                <a:cubicBezTo>
                  <a:pt x="1641" y="1899"/>
                  <a:pt x="1641" y="1899"/>
                  <a:pt x="1641" y="1900"/>
                </a:cubicBezTo>
                <a:cubicBezTo>
                  <a:pt x="1641" y="1900"/>
                  <a:pt x="1642" y="1901"/>
                  <a:pt x="1642" y="1901"/>
                </a:cubicBezTo>
                <a:cubicBezTo>
                  <a:pt x="1642" y="1902"/>
                  <a:pt x="1642" y="1905"/>
                  <a:pt x="1641" y="1904"/>
                </a:cubicBezTo>
                <a:cubicBezTo>
                  <a:pt x="1641" y="1904"/>
                  <a:pt x="1641" y="1903"/>
                  <a:pt x="1641" y="1903"/>
                </a:cubicBezTo>
                <a:cubicBezTo>
                  <a:pt x="1641" y="1902"/>
                  <a:pt x="1640" y="1902"/>
                  <a:pt x="1640" y="1901"/>
                </a:cubicBezTo>
                <a:cubicBezTo>
                  <a:pt x="1639" y="1900"/>
                  <a:pt x="1640" y="1899"/>
                  <a:pt x="1639" y="1898"/>
                </a:cubicBezTo>
                <a:cubicBezTo>
                  <a:pt x="1639" y="1898"/>
                  <a:pt x="1639" y="1897"/>
                  <a:pt x="1638" y="1897"/>
                </a:cubicBezTo>
                <a:cubicBezTo>
                  <a:pt x="1637" y="1896"/>
                  <a:pt x="1638" y="1898"/>
                  <a:pt x="1638" y="1899"/>
                </a:cubicBezTo>
                <a:cubicBezTo>
                  <a:pt x="1638" y="1899"/>
                  <a:pt x="1638" y="1900"/>
                  <a:pt x="1638" y="1901"/>
                </a:cubicBezTo>
                <a:cubicBezTo>
                  <a:pt x="1639" y="1902"/>
                  <a:pt x="1639" y="1902"/>
                  <a:pt x="1640" y="1902"/>
                </a:cubicBezTo>
                <a:cubicBezTo>
                  <a:pt x="1640" y="1903"/>
                  <a:pt x="1640" y="1904"/>
                  <a:pt x="1640" y="1905"/>
                </a:cubicBezTo>
                <a:cubicBezTo>
                  <a:pt x="1640" y="1905"/>
                  <a:pt x="1640" y="1906"/>
                  <a:pt x="1640" y="1906"/>
                </a:cubicBezTo>
                <a:cubicBezTo>
                  <a:pt x="1641" y="1907"/>
                  <a:pt x="1640" y="1907"/>
                  <a:pt x="1641" y="1908"/>
                </a:cubicBezTo>
                <a:cubicBezTo>
                  <a:pt x="1641" y="1909"/>
                  <a:pt x="1641" y="1909"/>
                  <a:pt x="1641" y="1909"/>
                </a:cubicBezTo>
                <a:cubicBezTo>
                  <a:pt x="1642" y="1910"/>
                  <a:pt x="1642" y="1911"/>
                  <a:pt x="1643" y="1912"/>
                </a:cubicBezTo>
                <a:cubicBezTo>
                  <a:pt x="1644" y="1913"/>
                  <a:pt x="1645" y="1913"/>
                  <a:pt x="1645" y="1914"/>
                </a:cubicBezTo>
                <a:cubicBezTo>
                  <a:pt x="1645" y="1915"/>
                  <a:pt x="1645" y="1915"/>
                  <a:pt x="1645" y="1916"/>
                </a:cubicBezTo>
                <a:cubicBezTo>
                  <a:pt x="1645" y="1917"/>
                  <a:pt x="1645" y="1917"/>
                  <a:pt x="1645" y="1918"/>
                </a:cubicBezTo>
                <a:cubicBezTo>
                  <a:pt x="1646" y="1918"/>
                  <a:pt x="1646" y="1918"/>
                  <a:pt x="1647" y="1919"/>
                </a:cubicBezTo>
                <a:cubicBezTo>
                  <a:pt x="1647" y="1919"/>
                  <a:pt x="1648" y="1920"/>
                  <a:pt x="1648" y="1921"/>
                </a:cubicBezTo>
                <a:cubicBezTo>
                  <a:pt x="1649" y="1922"/>
                  <a:pt x="1649" y="1923"/>
                  <a:pt x="1650" y="1923"/>
                </a:cubicBezTo>
                <a:cubicBezTo>
                  <a:pt x="1651" y="1924"/>
                  <a:pt x="1652" y="1925"/>
                  <a:pt x="1653" y="1926"/>
                </a:cubicBezTo>
                <a:cubicBezTo>
                  <a:pt x="1654" y="1928"/>
                  <a:pt x="1654" y="1929"/>
                  <a:pt x="1655" y="1929"/>
                </a:cubicBezTo>
                <a:cubicBezTo>
                  <a:pt x="1657" y="1930"/>
                  <a:pt x="1658" y="1930"/>
                  <a:pt x="1659" y="1931"/>
                </a:cubicBezTo>
                <a:cubicBezTo>
                  <a:pt x="1660" y="1931"/>
                  <a:pt x="1661" y="1932"/>
                  <a:pt x="1662" y="1932"/>
                </a:cubicBezTo>
                <a:cubicBezTo>
                  <a:pt x="1664" y="1933"/>
                  <a:pt x="1665" y="1932"/>
                  <a:pt x="1666" y="1931"/>
                </a:cubicBezTo>
                <a:cubicBezTo>
                  <a:pt x="1666" y="1930"/>
                  <a:pt x="1667" y="1930"/>
                  <a:pt x="1669" y="1929"/>
                </a:cubicBezTo>
                <a:cubicBezTo>
                  <a:pt x="1669" y="1929"/>
                  <a:pt x="1670" y="1928"/>
                  <a:pt x="1671" y="1928"/>
                </a:cubicBezTo>
                <a:cubicBezTo>
                  <a:pt x="1671" y="1928"/>
                  <a:pt x="1672" y="1927"/>
                  <a:pt x="1672" y="1927"/>
                </a:cubicBezTo>
                <a:cubicBezTo>
                  <a:pt x="1673" y="1926"/>
                  <a:pt x="1674" y="1925"/>
                  <a:pt x="1675" y="1924"/>
                </a:cubicBezTo>
                <a:cubicBezTo>
                  <a:pt x="1676" y="1923"/>
                  <a:pt x="1676" y="1922"/>
                  <a:pt x="1676" y="1920"/>
                </a:cubicBezTo>
                <a:cubicBezTo>
                  <a:pt x="1676" y="1917"/>
                  <a:pt x="1678" y="1914"/>
                  <a:pt x="1680" y="1913"/>
                </a:cubicBezTo>
                <a:cubicBezTo>
                  <a:pt x="1681" y="1912"/>
                  <a:pt x="1682" y="1912"/>
                  <a:pt x="1683" y="1911"/>
                </a:cubicBezTo>
                <a:cubicBezTo>
                  <a:pt x="1685" y="1911"/>
                  <a:pt x="1686" y="1911"/>
                  <a:pt x="1687" y="1911"/>
                </a:cubicBezTo>
                <a:cubicBezTo>
                  <a:pt x="1688" y="1910"/>
                  <a:pt x="1689" y="1909"/>
                  <a:pt x="1691" y="1909"/>
                </a:cubicBezTo>
                <a:cubicBezTo>
                  <a:pt x="1692" y="1909"/>
                  <a:pt x="1694" y="1910"/>
                  <a:pt x="1694" y="1909"/>
                </a:cubicBezTo>
                <a:cubicBezTo>
                  <a:pt x="1694" y="1909"/>
                  <a:pt x="1693" y="1908"/>
                  <a:pt x="1692" y="1908"/>
                </a:cubicBezTo>
                <a:cubicBezTo>
                  <a:pt x="1692" y="1908"/>
                  <a:pt x="1692" y="1907"/>
                  <a:pt x="1692" y="1907"/>
                </a:cubicBezTo>
                <a:cubicBezTo>
                  <a:pt x="1691" y="1906"/>
                  <a:pt x="1691" y="1906"/>
                  <a:pt x="1691" y="1905"/>
                </a:cubicBezTo>
                <a:cubicBezTo>
                  <a:pt x="1691" y="1904"/>
                  <a:pt x="1691" y="1903"/>
                  <a:pt x="1691" y="1903"/>
                </a:cubicBezTo>
                <a:cubicBezTo>
                  <a:pt x="1692" y="1902"/>
                  <a:pt x="1692" y="1902"/>
                  <a:pt x="1693" y="1902"/>
                </a:cubicBezTo>
                <a:cubicBezTo>
                  <a:pt x="1693" y="1901"/>
                  <a:pt x="1693" y="1900"/>
                  <a:pt x="1693" y="1900"/>
                </a:cubicBezTo>
                <a:cubicBezTo>
                  <a:pt x="1694" y="1899"/>
                  <a:pt x="1695" y="1898"/>
                  <a:pt x="1696" y="1897"/>
                </a:cubicBezTo>
                <a:cubicBezTo>
                  <a:pt x="1696" y="1896"/>
                  <a:pt x="1696" y="1895"/>
                  <a:pt x="1696" y="1895"/>
                </a:cubicBezTo>
                <a:cubicBezTo>
                  <a:pt x="1696" y="1894"/>
                  <a:pt x="1697" y="1893"/>
                  <a:pt x="1697" y="1893"/>
                </a:cubicBezTo>
                <a:cubicBezTo>
                  <a:pt x="1697" y="1892"/>
                  <a:pt x="1697" y="1891"/>
                  <a:pt x="1698" y="1891"/>
                </a:cubicBezTo>
                <a:cubicBezTo>
                  <a:pt x="1698" y="1890"/>
                  <a:pt x="1699" y="1890"/>
                  <a:pt x="1699" y="1890"/>
                </a:cubicBezTo>
                <a:cubicBezTo>
                  <a:pt x="1700" y="1890"/>
                  <a:pt x="1700" y="1889"/>
                  <a:pt x="1701" y="1889"/>
                </a:cubicBezTo>
                <a:cubicBezTo>
                  <a:pt x="1702" y="1888"/>
                  <a:pt x="1704" y="1888"/>
                  <a:pt x="1705" y="1888"/>
                </a:cubicBezTo>
                <a:cubicBezTo>
                  <a:pt x="1706" y="1889"/>
                  <a:pt x="1707" y="1891"/>
                  <a:pt x="1708" y="1890"/>
                </a:cubicBezTo>
                <a:cubicBezTo>
                  <a:pt x="1709" y="1889"/>
                  <a:pt x="1709" y="1887"/>
                  <a:pt x="1709" y="1886"/>
                </a:cubicBezTo>
                <a:cubicBezTo>
                  <a:pt x="1710" y="1883"/>
                  <a:pt x="1710" y="1879"/>
                  <a:pt x="1709" y="1877"/>
                </a:cubicBezTo>
                <a:cubicBezTo>
                  <a:pt x="1709" y="1876"/>
                  <a:pt x="1708" y="1875"/>
                  <a:pt x="1708" y="1874"/>
                </a:cubicBezTo>
                <a:cubicBezTo>
                  <a:pt x="1708" y="1873"/>
                  <a:pt x="1708" y="1872"/>
                  <a:pt x="1707" y="1871"/>
                </a:cubicBezTo>
                <a:cubicBezTo>
                  <a:pt x="1707" y="1870"/>
                  <a:pt x="1706" y="1869"/>
                  <a:pt x="1706" y="1868"/>
                </a:cubicBezTo>
                <a:cubicBezTo>
                  <a:pt x="1707" y="1868"/>
                  <a:pt x="1707" y="1868"/>
                  <a:pt x="1708" y="1867"/>
                </a:cubicBezTo>
                <a:cubicBezTo>
                  <a:pt x="1708" y="1867"/>
                  <a:pt x="1708" y="1866"/>
                  <a:pt x="1708" y="1865"/>
                </a:cubicBezTo>
                <a:cubicBezTo>
                  <a:pt x="1707" y="1864"/>
                  <a:pt x="1707" y="1862"/>
                  <a:pt x="1707" y="1861"/>
                </a:cubicBezTo>
                <a:cubicBezTo>
                  <a:pt x="1707" y="1859"/>
                  <a:pt x="1708" y="1858"/>
                  <a:pt x="1709" y="1857"/>
                </a:cubicBezTo>
                <a:cubicBezTo>
                  <a:pt x="1709" y="1856"/>
                  <a:pt x="1709" y="1854"/>
                  <a:pt x="1710" y="1853"/>
                </a:cubicBezTo>
                <a:cubicBezTo>
                  <a:pt x="1711" y="1852"/>
                  <a:pt x="1712" y="1851"/>
                  <a:pt x="1712" y="1850"/>
                </a:cubicBezTo>
                <a:cubicBezTo>
                  <a:pt x="1713" y="1849"/>
                  <a:pt x="1713" y="1847"/>
                  <a:pt x="1714" y="1846"/>
                </a:cubicBezTo>
                <a:cubicBezTo>
                  <a:pt x="1714" y="1845"/>
                  <a:pt x="1715" y="1844"/>
                  <a:pt x="1716" y="1843"/>
                </a:cubicBezTo>
                <a:cubicBezTo>
                  <a:pt x="1717" y="1841"/>
                  <a:pt x="1717" y="1839"/>
                  <a:pt x="1717" y="1838"/>
                </a:cubicBezTo>
                <a:cubicBezTo>
                  <a:pt x="1717" y="1836"/>
                  <a:pt x="1717" y="1834"/>
                  <a:pt x="1717" y="1832"/>
                </a:cubicBezTo>
                <a:cubicBezTo>
                  <a:pt x="1717" y="1830"/>
                  <a:pt x="1717" y="1829"/>
                  <a:pt x="1717" y="1827"/>
                </a:cubicBezTo>
                <a:cubicBezTo>
                  <a:pt x="1717" y="1826"/>
                  <a:pt x="1717" y="1826"/>
                  <a:pt x="1716" y="1825"/>
                </a:cubicBezTo>
                <a:cubicBezTo>
                  <a:pt x="1716" y="1825"/>
                  <a:pt x="1715" y="1825"/>
                  <a:pt x="1715" y="1824"/>
                </a:cubicBezTo>
                <a:cubicBezTo>
                  <a:pt x="1714" y="1824"/>
                  <a:pt x="1713" y="1822"/>
                  <a:pt x="1714" y="1821"/>
                </a:cubicBezTo>
                <a:cubicBezTo>
                  <a:pt x="1715" y="1820"/>
                  <a:pt x="1714" y="1822"/>
                  <a:pt x="1715" y="1822"/>
                </a:cubicBezTo>
                <a:cubicBezTo>
                  <a:pt x="1715" y="1823"/>
                  <a:pt x="1716" y="1823"/>
                  <a:pt x="1716" y="1823"/>
                </a:cubicBezTo>
                <a:cubicBezTo>
                  <a:pt x="1716" y="1824"/>
                  <a:pt x="1717" y="1825"/>
                  <a:pt x="1717" y="1825"/>
                </a:cubicBezTo>
                <a:cubicBezTo>
                  <a:pt x="1718" y="1825"/>
                  <a:pt x="1717" y="1823"/>
                  <a:pt x="1717" y="1823"/>
                </a:cubicBezTo>
                <a:cubicBezTo>
                  <a:pt x="1717" y="1822"/>
                  <a:pt x="1717" y="1822"/>
                  <a:pt x="1717" y="1821"/>
                </a:cubicBezTo>
                <a:cubicBezTo>
                  <a:pt x="1717" y="1820"/>
                  <a:pt x="1717" y="1820"/>
                  <a:pt x="1717" y="1819"/>
                </a:cubicBezTo>
                <a:cubicBezTo>
                  <a:pt x="1716" y="1819"/>
                  <a:pt x="1716" y="1818"/>
                  <a:pt x="1716" y="1818"/>
                </a:cubicBezTo>
                <a:cubicBezTo>
                  <a:pt x="1715" y="1817"/>
                  <a:pt x="1715" y="1817"/>
                  <a:pt x="1715" y="1816"/>
                </a:cubicBezTo>
                <a:cubicBezTo>
                  <a:pt x="1715" y="1816"/>
                  <a:pt x="1714" y="1816"/>
                  <a:pt x="1714" y="1815"/>
                </a:cubicBezTo>
                <a:cubicBezTo>
                  <a:pt x="1714" y="1815"/>
                  <a:pt x="1714" y="1814"/>
                  <a:pt x="1713" y="1813"/>
                </a:cubicBezTo>
                <a:cubicBezTo>
                  <a:pt x="1713" y="1812"/>
                  <a:pt x="1713" y="1812"/>
                  <a:pt x="1713" y="1811"/>
                </a:cubicBezTo>
                <a:cubicBezTo>
                  <a:pt x="1713" y="1810"/>
                  <a:pt x="1714" y="1810"/>
                  <a:pt x="1714" y="1809"/>
                </a:cubicBezTo>
                <a:cubicBezTo>
                  <a:pt x="1714" y="1808"/>
                  <a:pt x="1713" y="1807"/>
                  <a:pt x="1713" y="1807"/>
                </a:cubicBezTo>
                <a:cubicBezTo>
                  <a:pt x="1713" y="1806"/>
                  <a:pt x="1713" y="1805"/>
                  <a:pt x="1713" y="1804"/>
                </a:cubicBezTo>
                <a:cubicBezTo>
                  <a:pt x="1713" y="1803"/>
                  <a:pt x="1713" y="1801"/>
                  <a:pt x="1712" y="1799"/>
                </a:cubicBezTo>
                <a:cubicBezTo>
                  <a:pt x="1712" y="1798"/>
                  <a:pt x="1712" y="1797"/>
                  <a:pt x="1712" y="1796"/>
                </a:cubicBezTo>
                <a:cubicBezTo>
                  <a:pt x="1713" y="1795"/>
                  <a:pt x="1713" y="1794"/>
                  <a:pt x="1713" y="1793"/>
                </a:cubicBezTo>
                <a:cubicBezTo>
                  <a:pt x="1713" y="1792"/>
                  <a:pt x="1713" y="1790"/>
                  <a:pt x="1714" y="1789"/>
                </a:cubicBezTo>
                <a:cubicBezTo>
                  <a:pt x="1714" y="1788"/>
                  <a:pt x="1715" y="1787"/>
                  <a:pt x="1716" y="1786"/>
                </a:cubicBezTo>
                <a:cubicBezTo>
                  <a:pt x="1716" y="1784"/>
                  <a:pt x="1717" y="1782"/>
                  <a:pt x="1718" y="1781"/>
                </a:cubicBezTo>
                <a:cubicBezTo>
                  <a:pt x="1720" y="1779"/>
                  <a:pt x="1722" y="1777"/>
                  <a:pt x="1725" y="1777"/>
                </a:cubicBezTo>
                <a:cubicBezTo>
                  <a:pt x="1726" y="1777"/>
                  <a:pt x="1727" y="1778"/>
                  <a:pt x="1727" y="1779"/>
                </a:cubicBezTo>
                <a:cubicBezTo>
                  <a:pt x="1729" y="1781"/>
                  <a:pt x="1729" y="1778"/>
                  <a:pt x="1729" y="1777"/>
                </a:cubicBezTo>
                <a:cubicBezTo>
                  <a:pt x="1731" y="1775"/>
                  <a:pt x="1731" y="1778"/>
                  <a:pt x="1732" y="1779"/>
                </a:cubicBezTo>
                <a:cubicBezTo>
                  <a:pt x="1733" y="1779"/>
                  <a:pt x="1732" y="1778"/>
                  <a:pt x="1732" y="1777"/>
                </a:cubicBezTo>
                <a:cubicBezTo>
                  <a:pt x="1732" y="1777"/>
                  <a:pt x="1732" y="1776"/>
                  <a:pt x="1732" y="1776"/>
                </a:cubicBezTo>
                <a:cubicBezTo>
                  <a:pt x="1733" y="1775"/>
                  <a:pt x="1735" y="1775"/>
                  <a:pt x="1735" y="1773"/>
                </a:cubicBezTo>
                <a:cubicBezTo>
                  <a:pt x="1736" y="1772"/>
                  <a:pt x="1736" y="1770"/>
                  <a:pt x="1737" y="1769"/>
                </a:cubicBezTo>
                <a:cubicBezTo>
                  <a:pt x="1739" y="1766"/>
                  <a:pt x="1742" y="1768"/>
                  <a:pt x="1745" y="1768"/>
                </a:cubicBezTo>
                <a:cubicBezTo>
                  <a:pt x="1748" y="1768"/>
                  <a:pt x="1750" y="1766"/>
                  <a:pt x="1752" y="1765"/>
                </a:cubicBezTo>
                <a:cubicBezTo>
                  <a:pt x="1754" y="1765"/>
                  <a:pt x="1755" y="1764"/>
                  <a:pt x="1756" y="1763"/>
                </a:cubicBezTo>
                <a:cubicBezTo>
                  <a:pt x="1756" y="1763"/>
                  <a:pt x="1757" y="1763"/>
                  <a:pt x="1757" y="1762"/>
                </a:cubicBezTo>
                <a:cubicBezTo>
                  <a:pt x="1757" y="1762"/>
                  <a:pt x="1758" y="1761"/>
                  <a:pt x="1758" y="1761"/>
                </a:cubicBezTo>
                <a:cubicBezTo>
                  <a:pt x="1758" y="1759"/>
                  <a:pt x="1759" y="1758"/>
                  <a:pt x="1758" y="1757"/>
                </a:cubicBezTo>
                <a:cubicBezTo>
                  <a:pt x="1757" y="1756"/>
                  <a:pt x="1757" y="1755"/>
                  <a:pt x="1758" y="1753"/>
                </a:cubicBezTo>
                <a:cubicBezTo>
                  <a:pt x="1758" y="1752"/>
                  <a:pt x="1759" y="1751"/>
                  <a:pt x="1761" y="1750"/>
                </a:cubicBezTo>
                <a:cubicBezTo>
                  <a:pt x="1762" y="1749"/>
                  <a:pt x="1764" y="1748"/>
                  <a:pt x="1766" y="1747"/>
                </a:cubicBezTo>
                <a:cubicBezTo>
                  <a:pt x="1767" y="1747"/>
                  <a:pt x="1767" y="1747"/>
                  <a:pt x="1769" y="1746"/>
                </a:cubicBezTo>
                <a:cubicBezTo>
                  <a:pt x="1770" y="1746"/>
                  <a:pt x="1771" y="1745"/>
                  <a:pt x="1772" y="1744"/>
                </a:cubicBezTo>
                <a:cubicBezTo>
                  <a:pt x="1774" y="1743"/>
                  <a:pt x="1775" y="1742"/>
                  <a:pt x="1776" y="1741"/>
                </a:cubicBezTo>
                <a:cubicBezTo>
                  <a:pt x="1777" y="1740"/>
                  <a:pt x="1778" y="1738"/>
                  <a:pt x="1780" y="1737"/>
                </a:cubicBezTo>
                <a:cubicBezTo>
                  <a:pt x="1781" y="1735"/>
                  <a:pt x="1782" y="1734"/>
                  <a:pt x="1784" y="1733"/>
                </a:cubicBezTo>
                <a:cubicBezTo>
                  <a:pt x="1785" y="1731"/>
                  <a:pt x="1787" y="1731"/>
                  <a:pt x="1789" y="1730"/>
                </a:cubicBezTo>
                <a:cubicBezTo>
                  <a:pt x="1790" y="1729"/>
                  <a:pt x="1791" y="1728"/>
                  <a:pt x="1792" y="1728"/>
                </a:cubicBezTo>
                <a:cubicBezTo>
                  <a:pt x="1795" y="1726"/>
                  <a:pt x="1798" y="1724"/>
                  <a:pt x="1799" y="1721"/>
                </a:cubicBezTo>
                <a:cubicBezTo>
                  <a:pt x="1800" y="1719"/>
                  <a:pt x="1801" y="1718"/>
                  <a:pt x="1802" y="1716"/>
                </a:cubicBezTo>
                <a:cubicBezTo>
                  <a:pt x="1805" y="1713"/>
                  <a:pt x="1808" y="1710"/>
                  <a:pt x="1812" y="1707"/>
                </a:cubicBezTo>
                <a:cubicBezTo>
                  <a:pt x="1814" y="1706"/>
                  <a:pt x="1817" y="1704"/>
                  <a:pt x="1819" y="1702"/>
                </a:cubicBezTo>
                <a:cubicBezTo>
                  <a:pt x="1820" y="1700"/>
                  <a:pt x="1821" y="1699"/>
                  <a:pt x="1822" y="1699"/>
                </a:cubicBezTo>
                <a:cubicBezTo>
                  <a:pt x="1825" y="1697"/>
                  <a:pt x="1828" y="1698"/>
                  <a:pt x="1831" y="1696"/>
                </a:cubicBezTo>
                <a:cubicBezTo>
                  <a:pt x="1831" y="1696"/>
                  <a:pt x="1832" y="1696"/>
                  <a:pt x="1833" y="1695"/>
                </a:cubicBezTo>
                <a:cubicBezTo>
                  <a:pt x="1834" y="1695"/>
                  <a:pt x="1835" y="1695"/>
                  <a:pt x="1836" y="1695"/>
                </a:cubicBezTo>
                <a:cubicBezTo>
                  <a:pt x="1836" y="1695"/>
                  <a:pt x="1838" y="1695"/>
                  <a:pt x="1838" y="1694"/>
                </a:cubicBezTo>
                <a:cubicBezTo>
                  <a:pt x="1838" y="1694"/>
                  <a:pt x="1837" y="1694"/>
                  <a:pt x="1836" y="1693"/>
                </a:cubicBezTo>
                <a:cubicBezTo>
                  <a:pt x="1836" y="1692"/>
                  <a:pt x="1837" y="1692"/>
                  <a:pt x="1838" y="1691"/>
                </a:cubicBezTo>
                <a:cubicBezTo>
                  <a:pt x="1840" y="1691"/>
                  <a:pt x="1841" y="1690"/>
                  <a:pt x="1842" y="1689"/>
                </a:cubicBezTo>
                <a:cubicBezTo>
                  <a:pt x="1844" y="1687"/>
                  <a:pt x="1845" y="1684"/>
                  <a:pt x="1848" y="1682"/>
                </a:cubicBezTo>
                <a:cubicBezTo>
                  <a:pt x="1849" y="1682"/>
                  <a:pt x="1850" y="1681"/>
                  <a:pt x="1850" y="1679"/>
                </a:cubicBezTo>
                <a:cubicBezTo>
                  <a:pt x="1850" y="1678"/>
                  <a:pt x="1849" y="1677"/>
                  <a:pt x="1849" y="1676"/>
                </a:cubicBezTo>
                <a:cubicBezTo>
                  <a:pt x="1848" y="1674"/>
                  <a:pt x="1849" y="1673"/>
                  <a:pt x="1848" y="1671"/>
                </a:cubicBezTo>
                <a:cubicBezTo>
                  <a:pt x="1848" y="1670"/>
                  <a:pt x="1847" y="1669"/>
                  <a:pt x="1847" y="1668"/>
                </a:cubicBezTo>
                <a:cubicBezTo>
                  <a:pt x="1847" y="1666"/>
                  <a:pt x="1849" y="1665"/>
                  <a:pt x="1850" y="1664"/>
                </a:cubicBezTo>
                <a:cubicBezTo>
                  <a:pt x="1851" y="1663"/>
                  <a:pt x="1852" y="1662"/>
                  <a:pt x="1854" y="1662"/>
                </a:cubicBezTo>
                <a:cubicBezTo>
                  <a:pt x="1856" y="1661"/>
                  <a:pt x="1857" y="1661"/>
                  <a:pt x="1859" y="1661"/>
                </a:cubicBezTo>
                <a:cubicBezTo>
                  <a:pt x="1860" y="1660"/>
                  <a:pt x="1861" y="1659"/>
                  <a:pt x="1862" y="1659"/>
                </a:cubicBezTo>
                <a:cubicBezTo>
                  <a:pt x="1864" y="1659"/>
                  <a:pt x="1865" y="1658"/>
                  <a:pt x="1866" y="1657"/>
                </a:cubicBezTo>
                <a:cubicBezTo>
                  <a:pt x="1867" y="1657"/>
                  <a:pt x="1868" y="1656"/>
                  <a:pt x="1869" y="1655"/>
                </a:cubicBezTo>
                <a:cubicBezTo>
                  <a:pt x="1870" y="1654"/>
                  <a:pt x="1870" y="1654"/>
                  <a:pt x="1871" y="1654"/>
                </a:cubicBezTo>
                <a:cubicBezTo>
                  <a:pt x="1872" y="1653"/>
                  <a:pt x="1872" y="1649"/>
                  <a:pt x="1873" y="1649"/>
                </a:cubicBezTo>
                <a:cubicBezTo>
                  <a:pt x="1874" y="1650"/>
                  <a:pt x="1874" y="1652"/>
                  <a:pt x="1873" y="1653"/>
                </a:cubicBezTo>
                <a:cubicBezTo>
                  <a:pt x="1873" y="1655"/>
                  <a:pt x="1871" y="1654"/>
                  <a:pt x="1870" y="1656"/>
                </a:cubicBezTo>
                <a:cubicBezTo>
                  <a:pt x="1870" y="1656"/>
                  <a:pt x="1870" y="1657"/>
                  <a:pt x="1870" y="1658"/>
                </a:cubicBezTo>
                <a:cubicBezTo>
                  <a:pt x="1870" y="1658"/>
                  <a:pt x="1869" y="1659"/>
                  <a:pt x="1870" y="1659"/>
                </a:cubicBezTo>
                <a:cubicBezTo>
                  <a:pt x="1870" y="1660"/>
                  <a:pt x="1871" y="1660"/>
                  <a:pt x="1871" y="1659"/>
                </a:cubicBezTo>
                <a:cubicBezTo>
                  <a:pt x="1872" y="1658"/>
                  <a:pt x="1871" y="1658"/>
                  <a:pt x="1871" y="1657"/>
                </a:cubicBezTo>
                <a:cubicBezTo>
                  <a:pt x="1872" y="1656"/>
                  <a:pt x="1872" y="1656"/>
                  <a:pt x="1873" y="1656"/>
                </a:cubicBezTo>
                <a:cubicBezTo>
                  <a:pt x="1873" y="1657"/>
                  <a:pt x="1873" y="1658"/>
                  <a:pt x="1873" y="1658"/>
                </a:cubicBezTo>
                <a:cubicBezTo>
                  <a:pt x="1873" y="1659"/>
                  <a:pt x="1873" y="1659"/>
                  <a:pt x="1873" y="1660"/>
                </a:cubicBezTo>
                <a:cubicBezTo>
                  <a:pt x="1874" y="1660"/>
                  <a:pt x="1873" y="1661"/>
                  <a:pt x="1874" y="1661"/>
                </a:cubicBezTo>
                <a:cubicBezTo>
                  <a:pt x="1875" y="1662"/>
                  <a:pt x="1875" y="1661"/>
                  <a:pt x="1876" y="1661"/>
                </a:cubicBezTo>
                <a:cubicBezTo>
                  <a:pt x="1876" y="1660"/>
                  <a:pt x="1877" y="1660"/>
                  <a:pt x="1877" y="1660"/>
                </a:cubicBezTo>
                <a:cubicBezTo>
                  <a:pt x="1878" y="1660"/>
                  <a:pt x="1878" y="1660"/>
                  <a:pt x="1878" y="1659"/>
                </a:cubicBezTo>
                <a:cubicBezTo>
                  <a:pt x="1878" y="1659"/>
                  <a:pt x="1878" y="1658"/>
                  <a:pt x="1879" y="1658"/>
                </a:cubicBezTo>
                <a:cubicBezTo>
                  <a:pt x="1880" y="1658"/>
                  <a:pt x="1879" y="1660"/>
                  <a:pt x="1879" y="1660"/>
                </a:cubicBezTo>
                <a:cubicBezTo>
                  <a:pt x="1878" y="1662"/>
                  <a:pt x="1880" y="1663"/>
                  <a:pt x="1881" y="1661"/>
                </a:cubicBezTo>
                <a:cubicBezTo>
                  <a:pt x="1881" y="1660"/>
                  <a:pt x="1881" y="1660"/>
                  <a:pt x="1881" y="1659"/>
                </a:cubicBezTo>
                <a:cubicBezTo>
                  <a:pt x="1882" y="1659"/>
                  <a:pt x="1883" y="1659"/>
                  <a:pt x="1883" y="1658"/>
                </a:cubicBezTo>
                <a:cubicBezTo>
                  <a:pt x="1883" y="1656"/>
                  <a:pt x="1880" y="1657"/>
                  <a:pt x="1880" y="1655"/>
                </a:cubicBezTo>
                <a:cubicBezTo>
                  <a:pt x="1881" y="1654"/>
                  <a:pt x="1881" y="1654"/>
                  <a:pt x="1881" y="1653"/>
                </a:cubicBezTo>
                <a:cubicBezTo>
                  <a:pt x="1882" y="1653"/>
                  <a:pt x="1881" y="1652"/>
                  <a:pt x="1881" y="1651"/>
                </a:cubicBezTo>
                <a:cubicBezTo>
                  <a:pt x="1882" y="1651"/>
                  <a:pt x="1882" y="1651"/>
                  <a:pt x="1882" y="1651"/>
                </a:cubicBezTo>
                <a:cubicBezTo>
                  <a:pt x="1882" y="1652"/>
                  <a:pt x="1882" y="1653"/>
                  <a:pt x="1882" y="1654"/>
                </a:cubicBezTo>
                <a:cubicBezTo>
                  <a:pt x="1883" y="1653"/>
                  <a:pt x="1883" y="1652"/>
                  <a:pt x="1884" y="1652"/>
                </a:cubicBezTo>
                <a:cubicBezTo>
                  <a:pt x="1884" y="1652"/>
                  <a:pt x="1884" y="1654"/>
                  <a:pt x="1883" y="1654"/>
                </a:cubicBezTo>
                <a:cubicBezTo>
                  <a:pt x="1883" y="1655"/>
                  <a:pt x="1882" y="1655"/>
                  <a:pt x="1882" y="1656"/>
                </a:cubicBezTo>
                <a:cubicBezTo>
                  <a:pt x="1883" y="1656"/>
                  <a:pt x="1883" y="1656"/>
                  <a:pt x="1883" y="1657"/>
                </a:cubicBezTo>
                <a:cubicBezTo>
                  <a:pt x="1884" y="1657"/>
                  <a:pt x="1884" y="1657"/>
                  <a:pt x="1884" y="1658"/>
                </a:cubicBezTo>
                <a:cubicBezTo>
                  <a:pt x="1884" y="1658"/>
                  <a:pt x="1883" y="1659"/>
                  <a:pt x="1883" y="1660"/>
                </a:cubicBezTo>
                <a:cubicBezTo>
                  <a:pt x="1884" y="1660"/>
                  <a:pt x="1884" y="1660"/>
                  <a:pt x="1884" y="1661"/>
                </a:cubicBezTo>
                <a:cubicBezTo>
                  <a:pt x="1885" y="1661"/>
                  <a:pt x="1884" y="1662"/>
                  <a:pt x="1885" y="1661"/>
                </a:cubicBezTo>
                <a:cubicBezTo>
                  <a:pt x="1885" y="1661"/>
                  <a:pt x="1885" y="1661"/>
                  <a:pt x="1885" y="1660"/>
                </a:cubicBezTo>
                <a:cubicBezTo>
                  <a:pt x="1886" y="1659"/>
                  <a:pt x="1886" y="1660"/>
                  <a:pt x="1887" y="1660"/>
                </a:cubicBezTo>
                <a:cubicBezTo>
                  <a:pt x="1888" y="1661"/>
                  <a:pt x="1888" y="1660"/>
                  <a:pt x="1889" y="1660"/>
                </a:cubicBezTo>
                <a:cubicBezTo>
                  <a:pt x="1890" y="1660"/>
                  <a:pt x="1892" y="1661"/>
                  <a:pt x="1892" y="1659"/>
                </a:cubicBezTo>
                <a:cubicBezTo>
                  <a:pt x="1892" y="1658"/>
                  <a:pt x="1891" y="1658"/>
                  <a:pt x="1891" y="1657"/>
                </a:cubicBezTo>
                <a:cubicBezTo>
                  <a:pt x="1889" y="1656"/>
                  <a:pt x="1891" y="1655"/>
                  <a:pt x="1892" y="1656"/>
                </a:cubicBezTo>
                <a:cubicBezTo>
                  <a:pt x="1892" y="1657"/>
                  <a:pt x="1891" y="1657"/>
                  <a:pt x="1892" y="1658"/>
                </a:cubicBezTo>
                <a:cubicBezTo>
                  <a:pt x="1892" y="1658"/>
                  <a:pt x="1893" y="1658"/>
                  <a:pt x="1893" y="1658"/>
                </a:cubicBezTo>
                <a:cubicBezTo>
                  <a:pt x="1893" y="1658"/>
                  <a:pt x="1893" y="1659"/>
                  <a:pt x="1894" y="1659"/>
                </a:cubicBezTo>
                <a:cubicBezTo>
                  <a:pt x="1895" y="1660"/>
                  <a:pt x="1895" y="1658"/>
                  <a:pt x="1895" y="1657"/>
                </a:cubicBezTo>
                <a:cubicBezTo>
                  <a:pt x="1895" y="1656"/>
                  <a:pt x="1895" y="1656"/>
                  <a:pt x="1895" y="1655"/>
                </a:cubicBezTo>
                <a:cubicBezTo>
                  <a:pt x="1896" y="1656"/>
                  <a:pt x="1896" y="1659"/>
                  <a:pt x="1898" y="1658"/>
                </a:cubicBezTo>
                <a:cubicBezTo>
                  <a:pt x="1898" y="1657"/>
                  <a:pt x="1898" y="1655"/>
                  <a:pt x="1899" y="1655"/>
                </a:cubicBezTo>
                <a:cubicBezTo>
                  <a:pt x="1901" y="1654"/>
                  <a:pt x="1900" y="1658"/>
                  <a:pt x="1902" y="1657"/>
                </a:cubicBezTo>
                <a:cubicBezTo>
                  <a:pt x="1902" y="1656"/>
                  <a:pt x="1901" y="1655"/>
                  <a:pt x="1902" y="1655"/>
                </a:cubicBezTo>
                <a:cubicBezTo>
                  <a:pt x="1903" y="1654"/>
                  <a:pt x="1903" y="1655"/>
                  <a:pt x="1904" y="1655"/>
                </a:cubicBezTo>
                <a:cubicBezTo>
                  <a:pt x="1905" y="1655"/>
                  <a:pt x="1906" y="1655"/>
                  <a:pt x="1907" y="1653"/>
                </a:cubicBezTo>
                <a:cubicBezTo>
                  <a:pt x="1907" y="1652"/>
                  <a:pt x="1906" y="1650"/>
                  <a:pt x="1907" y="1649"/>
                </a:cubicBezTo>
                <a:cubicBezTo>
                  <a:pt x="1907" y="1650"/>
                  <a:pt x="1908" y="1654"/>
                  <a:pt x="1909" y="1652"/>
                </a:cubicBezTo>
                <a:cubicBezTo>
                  <a:pt x="1909" y="1652"/>
                  <a:pt x="1909" y="1650"/>
                  <a:pt x="1910" y="1651"/>
                </a:cubicBezTo>
                <a:cubicBezTo>
                  <a:pt x="1910" y="1651"/>
                  <a:pt x="1910" y="1651"/>
                  <a:pt x="1910" y="1652"/>
                </a:cubicBezTo>
                <a:cubicBezTo>
                  <a:pt x="1910" y="1652"/>
                  <a:pt x="1910" y="1652"/>
                  <a:pt x="1911" y="1652"/>
                </a:cubicBezTo>
                <a:cubicBezTo>
                  <a:pt x="1912" y="1652"/>
                  <a:pt x="1911" y="1654"/>
                  <a:pt x="1912" y="1655"/>
                </a:cubicBezTo>
                <a:cubicBezTo>
                  <a:pt x="1913" y="1656"/>
                  <a:pt x="1914" y="1656"/>
                  <a:pt x="1914" y="1656"/>
                </a:cubicBezTo>
                <a:cubicBezTo>
                  <a:pt x="1915" y="1655"/>
                  <a:pt x="1915" y="1654"/>
                  <a:pt x="1915" y="1654"/>
                </a:cubicBezTo>
                <a:cubicBezTo>
                  <a:pt x="1916" y="1653"/>
                  <a:pt x="1916" y="1652"/>
                  <a:pt x="1916" y="1651"/>
                </a:cubicBezTo>
                <a:cubicBezTo>
                  <a:pt x="1916" y="1650"/>
                  <a:pt x="1916" y="1649"/>
                  <a:pt x="1916" y="1648"/>
                </a:cubicBezTo>
                <a:cubicBezTo>
                  <a:pt x="1917" y="1647"/>
                  <a:pt x="1917" y="1648"/>
                  <a:pt x="1918" y="1649"/>
                </a:cubicBezTo>
                <a:cubicBezTo>
                  <a:pt x="1918" y="1649"/>
                  <a:pt x="1919" y="1649"/>
                  <a:pt x="1920" y="1649"/>
                </a:cubicBezTo>
                <a:cubicBezTo>
                  <a:pt x="1921" y="1648"/>
                  <a:pt x="1920" y="1647"/>
                  <a:pt x="1920" y="1646"/>
                </a:cubicBezTo>
                <a:cubicBezTo>
                  <a:pt x="1920" y="1645"/>
                  <a:pt x="1921" y="1643"/>
                  <a:pt x="1920" y="1642"/>
                </a:cubicBezTo>
                <a:cubicBezTo>
                  <a:pt x="1920" y="1642"/>
                  <a:pt x="1920" y="1641"/>
                  <a:pt x="1920" y="1641"/>
                </a:cubicBezTo>
                <a:cubicBezTo>
                  <a:pt x="1919" y="1640"/>
                  <a:pt x="1918" y="1640"/>
                  <a:pt x="1918" y="1639"/>
                </a:cubicBezTo>
                <a:cubicBezTo>
                  <a:pt x="1918" y="1639"/>
                  <a:pt x="1918" y="1638"/>
                  <a:pt x="1918" y="1637"/>
                </a:cubicBezTo>
                <a:cubicBezTo>
                  <a:pt x="1917" y="1637"/>
                  <a:pt x="1916" y="1637"/>
                  <a:pt x="1917" y="1636"/>
                </a:cubicBezTo>
                <a:cubicBezTo>
                  <a:pt x="1917" y="1636"/>
                  <a:pt x="1918" y="1635"/>
                  <a:pt x="1918" y="1635"/>
                </a:cubicBezTo>
                <a:cubicBezTo>
                  <a:pt x="1919" y="1635"/>
                  <a:pt x="1919" y="1634"/>
                  <a:pt x="1920" y="1634"/>
                </a:cubicBezTo>
                <a:cubicBezTo>
                  <a:pt x="1920" y="1632"/>
                  <a:pt x="1918" y="1632"/>
                  <a:pt x="1918" y="1630"/>
                </a:cubicBezTo>
                <a:cubicBezTo>
                  <a:pt x="1919" y="1630"/>
                  <a:pt x="1919" y="1630"/>
                  <a:pt x="1920" y="1629"/>
                </a:cubicBezTo>
                <a:cubicBezTo>
                  <a:pt x="1920" y="1628"/>
                  <a:pt x="1920" y="1628"/>
                  <a:pt x="1920" y="1627"/>
                </a:cubicBezTo>
                <a:cubicBezTo>
                  <a:pt x="1920" y="1625"/>
                  <a:pt x="1919" y="1625"/>
                  <a:pt x="1918" y="1624"/>
                </a:cubicBezTo>
                <a:cubicBezTo>
                  <a:pt x="1918" y="1624"/>
                  <a:pt x="1915" y="1622"/>
                  <a:pt x="1916" y="1622"/>
                </a:cubicBezTo>
                <a:cubicBezTo>
                  <a:pt x="1917" y="1622"/>
                  <a:pt x="1917" y="1623"/>
                  <a:pt x="1918" y="1623"/>
                </a:cubicBezTo>
                <a:cubicBezTo>
                  <a:pt x="1918" y="1623"/>
                  <a:pt x="1918" y="1622"/>
                  <a:pt x="1918" y="1621"/>
                </a:cubicBezTo>
                <a:cubicBezTo>
                  <a:pt x="1919" y="1621"/>
                  <a:pt x="1919" y="1620"/>
                  <a:pt x="1919" y="1619"/>
                </a:cubicBezTo>
                <a:cubicBezTo>
                  <a:pt x="1920" y="1619"/>
                  <a:pt x="1920" y="1619"/>
                  <a:pt x="1921" y="1619"/>
                </a:cubicBezTo>
                <a:cubicBezTo>
                  <a:pt x="1921" y="1619"/>
                  <a:pt x="1921" y="1620"/>
                  <a:pt x="1921" y="1620"/>
                </a:cubicBezTo>
                <a:cubicBezTo>
                  <a:pt x="1921" y="1621"/>
                  <a:pt x="1921" y="1620"/>
                  <a:pt x="1922" y="1621"/>
                </a:cubicBezTo>
                <a:cubicBezTo>
                  <a:pt x="1922" y="1621"/>
                  <a:pt x="1923" y="1621"/>
                  <a:pt x="1922" y="1621"/>
                </a:cubicBezTo>
                <a:cubicBezTo>
                  <a:pt x="1922" y="1622"/>
                  <a:pt x="1922" y="1621"/>
                  <a:pt x="1921" y="1622"/>
                </a:cubicBezTo>
                <a:cubicBezTo>
                  <a:pt x="1921" y="1622"/>
                  <a:pt x="1921" y="1623"/>
                  <a:pt x="1921" y="1623"/>
                </a:cubicBezTo>
                <a:cubicBezTo>
                  <a:pt x="1920" y="1624"/>
                  <a:pt x="1921" y="1625"/>
                  <a:pt x="1922" y="1626"/>
                </a:cubicBezTo>
                <a:cubicBezTo>
                  <a:pt x="1922" y="1627"/>
                  <a:pt x="1922" y="1629"/>
                  <a:pt x="1921" y="1630"/>
                </a:cubicBezTo>
                <a:cubicBezTo>
                  <a:pt x="1921" y="1631"/>
                  <a:pt x="1921" y="1632"/>
                  <a:pt x="1922" y="1632"/>
                </a:cubicBezTo>
                <a:cubicBezTo>
                  <a:pt x="1922" y="1633"/>
                  <a:pt x="1923" y="1633"/>
                  <a:pt x="1923" y="1633"/>
                </a:cubicBezTo>
                <a:cubicBezTo>
                  <a:pt x="1924" y="1634"/>
                  <a:pt x="1924" y="1634"/>
                  <a:pt x="1925" y="1634"/>
                </a:cubicBezTo>
                <a:cubicBezTo>
                  <a:pt x="1926" y="1634"/>
                  <a:pt x="1927" y="1635"/>
                  <a:pt x="1928" y="1635"/>
                </a:cubicBezTo>
                <a:cubicBezTo>
                  <a:pt x="1929" y="1635"/>
                  <a:pt x="1930" y="1635"/>
                  <a:pt x="1931" y="1635"/>
                </a:cubicBezTo>
                <a:cubicBezTo>
                  <a:pt x="1932" y="1636"/>
                  <a:pt x="1933" y="1637"/>
                  <a:pt x="1933" y="1637"/>
                </a:cubicBezTo>
                <a:cubicBezTo>
                  <a:pt x="1934" y="1638"/>
                  <a:pt x="1934" y="1638"/>
                  <a:pt x="1935" y="1638"/>
                </a:cubicBezTo>
                <a:cubicBezTo>
                  <a:pt x="1935" y="1639"/>
                  <a:pt x="1936" y="1639"/>
                  <a:pt x="1936" y="1639"/>
                </a:cubicBezTo>
                <a:cubicBezTo>
                  <a:pt x="1938" y="1639"/>
                  <a:pt x="1937" y="1636"/>
                  <a:pt x="1937" y="1635"/>
                </a:cubicBezTo>
                <a:cubicBezTo>
                  <a:pt x="1938" y="1634"/>
                  <a:pt x="1938" y="1635"/>
                  <a:pt x="1939" y="1635"/>
                </a:cubicBezTo>
                <a:cubicBezTo>
                  <a:pt x="1939" y="1636"/>
                  <a:pt x="1939" y="1636"/>
                  <a:pt x="1939" y="1637"/>
                </a:cubicBezTo>
                <a:cubicBezTo>
                  <a:pt x="1939" y="1638"/>
                  <a:pt x="1939" y="1638"/>
                  <a:pt x="1940" y="1639"/>
                </a:cubicBezTo>
                <a:cubicBezTo>
                  <a:pt x="1941" y="1640"/>
                  <a:pt x="1941" y="1641"/>
                  <a:pt x="1941" y="1642"/>
                </a:cubicBezTo>
                <a:cubicBezTo>
                  <a:pt x="1942" y="1643"/>
                  <a:pt x="1942" y="1643"/>
                  <a:pt x="1943" y="1644"/>
                </a:cubicBezTo>
                <a:cubicBezTo>
                  <a:pt x="1943" y="1645"/>
                  <a:pt x="1943" y="1646"/>
                  <a:pt x="1944" y="1648"/>
                </a:cubicBezTo>
                <a:cubicBezTo>
                  <a:pt x="1945" y="1649"/>
                  <a:pt x="1946" y="1651"/>
                  <a:pt x="1946" y="1653"/>
                </a:cubicBezTo>
                <a:cubicBezTo>
                  <a:pt x="1945" y="1654"/>
                  <a:pt x="1944" y="1655"/>
                  <a:pt x="1946" y="1655"/>
                </a:cubicBezTo>
                <a:cubicBezTo>
                  <a:pt x="1946" y="1655"/>
                  <a:pt x="1946" y="1655"/>
                  <a:pt x="1947" y="1655"/>
                </a:cubicBezTo>
                <a:cubicBezTo>
                  <a:pt x="1947" y="1656"/>
                  <a:pt x="1947" y="1657"/>
                  <a:pt x="1947" y="1657"/>
                </a:cubicBezTo>
                <a:cubicBezTo>
                  <a:pt x="1946" y="1658"/>
                  <a:pt x="1946" y="1659"/>
                  <a:pt x="1946" y="1659"/>
                </a:cubicBezTo>
                <a:cubicBezTo>
                  <a:pt x="1945" y="1661"/>
                  <a:pt x="1946" y="1662"/>
                  <a:pt x="1947" y="1663"/>
                </a:cubicBezTo>
                <a:cubicBezTo>
                  <a:pt x="1948" y="1663"/>
                  <a:pt x="1948" y="1664"/>
                  <a:pt x="1948" y="1665"/>
                </a:cubicBezTo>
                <a:cubicBezTo>
                  <a:pt x="1948" y="1665"/>
                  <a:pt x="1948" y="1666"/>
                  <a:pt x="1948" y="1667"/>
                </a:cubicBezTo>
                <a:cubicBezTo>
                  <a:pt x="1949" y="1667"/>
                  <a:pt x="1949" y="1667"/>
                  <a:pt x="1950" y="1668"/>
                </a:cubicBezTo>
                <a:cubicBezTo>
                  <a:pt x="1950" y="1670"/>
                  <a:pt x="1950" y="1671"/>
                  <a:pt x="1951" y="1672"/>
                </a:cubicBezTo>
                <a:cubicBezTo>
                  <a:pt x="1952" y="1673"/>
                  <a:pt x="1952" y="1674"/>
                  <a:pt x="1953" y="1676"/>
                </a:cubicBezTo>
                <a:cubicBezTo>
                  <a:pt x="1953" y="1676"/>
                  <a:pt x="1954" y="1678"/>
                  <a:pt x="1955" y="1678"/>
                </a:cubicBezTo>
                <a:cubicBezTo>
                  <a:pt x="1955" y="1678"/>
                  <a:pt x="1955" y="1677"/>
                  <a:pt x="1954" y="1677"/>
                </a:cubicBezTo>
                <a:cubicBezTo>
                  <a:pt x="1954" y="1676"/>
                  <a:pt x="1954" y="1676"/>
                  <a:pt x="1954" y="1675"/>
                </a:cubicBezTo>
                <a:cubicBezTo>
                  <a:pt x="1953" y="1673"/>
                  <a:pt x="1952" y="1672"/>
                  <a:pt x="1952" y="1671"/>
                </a:cubicBezTo>
                <a:cubicBezTo>
                  <a:pt x="1953" y="1671"/>
                  <a:pt x="1953" y="1672"/>
                  <a:pt x="1953" y="1672"/>
                </a:cubicBezTo>
                <a:cubicBezTo>
                  <a:pt x="1954" y="1673"/>
                  <a:pt x="1954" y="1673"/>
                  <a:pt x="1954" y="1674"/>
                </a:cubicBezTo>
                <a:cubicBezTo>
                  <a:pt x="1955" y="1674"/>
                  <a:pt x="1955" y="1675"/>
                  <a:pt x="1955" y="1676"/>
                </a:cubicBezTo>
                <a:cubicBezTo>
                  <a:pt x="1955" y="1676"/>
                  <a:pt x="1956" y="1677"/>
                  <a:pt x="1956" y="1677"/>
                </a:cubicBezTo>
                <a:cubicBezTo>
                  <a:pt x="1957" y="1678"/>
                  <a:pt x="1957" y="1678"/>
                  <a:pt x="1957" y="1679"/>
                </a:cubicBezTo>
                <a:cubicBezTo>
                  <a:pt x="1957" y="1680"/>
                  <a:pt x="1957" y="1680"/>
                  <a:pt x="1958" y="1681"/>
                </a:cubicBezTo>
                <a:cubicBezTo>
                  <a:pt x="1959" y="1682"/>
                  <a:pt x="1960" y="1683"/>
                  <a:pt x="1960" y="1684"/>
                </a:cubicBezTo>
                <a:cubicBezTo>
                  <a:pt x="1961" y="1684"/>
                  <a:pt x="1961" y="1687"/>
                  <a:pt x="1962" y="1687"/>
                </a:cubicBezTo>
                <a:cubicBezTo>
                  <a:pt x="1963" y="1687"/>
                  <a:pt x="1962" y="1684"/>
                  <a:pt x="1962" y="1684"/>
                </a:cubicBezTo>
                <a:cubicBezTo>
                  <a:pt x="1962" y="1683"/>
                  <a:pt x="1961" y="1682"/>
                  <a:pt x="1962" y="1682"/>
                </a:cubicBezTo>
                <a:cubicBezTo>
                  <a:pt x="1963" y="1681"/>
                  <a:pt x="1963" y="1683"/>
                  <a:pt x="1963" y="1683"/>
                </a:cubicBezTo>
                <a:cubicBezTo>
                  <a:pt x="1964" y="1684"/>
                  <a:pt x="1965" y="1684"/>
                  <a:pt x="1965" y="1686"/>
                </a:cubicBezTo>
                <a:cubicBezTo>
                  <a:pt x="1965" y="1687"/>
                  <a:pt x="1964" y="1689"/>
                  <a:pt x="1966" y="1689"/>
                </a:cubicBezTo>
                <a:cubicBezTo>
                  <a:pt x="1966" y="1689"/>
                  <a:pt x="1967" y="1689"/>
                  <a:pt x="1967" y="1688"/>
                </a:cubicBezTo>
                <a:cubicBezTo>
                  <a:pt x="1967" y="1687"/>
                  <a:pt x="1967" y="1687"/>
                  <a:pt x="1968" y="1686"/>
                </a:cubicBezTo>
                <a:cubicBezTo>
                  <a:pt x="1968" y="1686"/>
                  <a:pt x="1968" y="1685"/>
                  <a:pt x="1969" y="1685"/>
                </a:cubicBezTo>
                <a:cubicBezTo>
                  <a:pt x="1969" y="1685"/>
                  <a:pt x="1969" y="1687"/>
                  <a:pt x="1969" y="1687"/>
                </a:cubicBezTo>
                <a:cubicBezTo>
                  <a:pt x="1969" y="1688"/>
                  <a:pt x="1968" y="1688"/>
                  <a:pt x="1968" y="1689"/>
                </a:cubicBezTo>
                <a:cubicBezTo>
                  <a:pt x="1967" y="1690"/>
                  <a:pt x="1968" y="1690"/>
                  <a:pt x="1968" y="1691"/>
                </a:cubicBezTo>
                <a:cubicBezTo>
                  <a:pt x="1968" y="1692"/>
                  <a:pt x="1967" y="1692"/>
                  <a:pt x="1967" y="1692"/>
                </a:cubicBezTo>
                <a:cubicBezTo>
                  <a:pt x="1966" y="1693"/>
                  <a:pt x="1968" y="1694"/>
                  <a:pt x="1968" y="1695"/>
                </a:cubicBezTo>
                <a:cubicBezTo>
                  <a:pt x="1968" y="1695"/>
                  <a:pt x="1968" y="1696"/>
                  <a:pt x="1968" y="1697"/>
                </a:cubicBezTo>
                <a:cubicBezTo>
                  <a:pt x="1969" y="1697"/>
                  <a:pt x="1969" y="1697"/>
                  <a:pt x="1969" y="1696"/>
                </a:cubicBezTo>
                <a:cubicBezTo>
                  <a:pt x="1969" y="1696"/>
                  <a:pt x="1968" y="1693"/>
                  <a:pt x="1969" y="1694"/>
                </a:cubicBezTo>
                <a:cubicBezTo>
                  <a:pt x="1970" y="1694"/>
                  <a:pt x="1969" y="1696"/>
                  <a:pt x="1971" y="1697"/>
                </a:cubicBezTo>
                <a:cubicBezTo>
                  <a:pt x="1971" y="1696"/>
                  <a:pt x="1970" y="1694"/>
                  <a:pt x="1971" y="1693"/>
                </a:cubicBezTo>
                <a:cubicBezTo>
                  <a:pt x="1972" y="1692"/>
                  <a:pt x="1972" y="1692"/>
                  <a:pt x="1973" y="1693"/>
                </a:cubicBezTo>
                <a:cubicBezTo>
                  <a:pt x="1973" y="1693"/>
                  <a:pt x="1974" y="1693"/>
                  <a:pt x="1975" y="1693"/>
                </a:cubicBezTo>
                <a:cubicBezTo>
                  <a:pt x="1976" y="1692"/>
                  <a:pt x="1977" y="1693"/>
                  <a:pt x="1979" y="1694"/>
                </a:cubicBezTo>
                <a:cubicBezTo>
                  <a:pt x="1979" y="1694"/>
                  <a:pt x="1982" y="1694"/>
                  <a:pt x="1981" y="1696"/>
                </a:cubicBezTo>
                <a:cubicBezTo>
                  <a:pt x="1981" y="1696"/>
                  <a:pt x="1980" y="1696"/>
                  <a:pt x="1980" y="1697"/>
                </a:cubicBezTo>
                <a:cubicBezTo>
                  <a:pt x="1980" y="1698"/>
                  <a:pt x="1981" y="1698"/>
                  <a:pt x="1982" y="1698"/>
                </a:cubicBezTo>
                <a:cubicBezTo>
                  <a:pt x="1983" y="1699"/>
                  <a:pt x="1982" y="1701"/>
                  <a:pt x="1983" y="1702"/>
                </a:cubicBezTo>
                <a:cubicBezTo>
                  <a:pt x="1984" y="1703"/>
                  <a:pt x="1985" y="1703"/>
                  <a:pt x="1986" y="1705"/>
                </a:cubicBezTo>
                <a:cubicBezTo>
                  <a:pt x="1987" y="1706"/>
                  <a:pt x="1986" y="1707"/>
                  <a:pt x="1985" y="1708"/>
                </a:cubicBezTo>
                <a:cubicBezTo>
                  <a:pt x="1984" y="1709"/>
                  <a:pt x="1984" y="1708"/>
                  <a:pt x="1983" y="1708"/>
                </a:cubicBezTo>
                <a:cubicBezTo>
                  <a:pt x="1983" y="1707"/>
                  <a:pt x="1982" y="1707"/>
                  <a:pt x="1982" y="1707"/>
                </a:cubicBezTo>
                <a:cubicBezTo>
                  <a:pt x="1981" y="1706"/>
                  <a:pt x="1981" y="1706"/>
                  <a:pt x="1980" y="1705"/>
                </a:cubicBezTo>
                <a:cubicBezTo>
                  <a:pt x="1979" y="1704"/>
                  <a:pt x="1978" y="1704"/>
                  <a:pt x="1978" y="1706"/>
                </a:cubicBezTo>
                <a:cubicBezTo>
                  <a:pt x="1979" y="1706"/>
                  <a:pt x="1979" y="1707"/>
                  <a:pt x="1979" y="1708"/>
                </a:cubicBezTo>
                <a:cubicBezTo>
                  <a:pt x="1979" y="1708"/>
                  <a:pt x="1979" y="1709"/>
                  <a:pt x="1979" y="1710"/>
                </a:cubicBezTo>
                <a:cubicBezTo>
                  <a:pt x="1980" y="1710"/>
                  <a:pt x="1980" y="1710"/>
                  <a:pt x="1981" y="1711"/>
                </a:cubicBezTo>
                <a:cubicBezTo>
                  <a:pt x="1982" y="1711"/>
                  <a:pt x="1982" y="1712"/>
                  <a:pt x="1982" y="1712"/>
                </a:cubicBezTo>
                <a:cubicBezTo>
                  <a:pt x="1983" y="1714"/>
                  <a:pt x="1983" y="1715"/>
                  <a:pt x="1985" y="1716"/>
                </a:cubicBezTo>
                <a:cubicBezTo>
                  <a:pt x="1985" y="1716"/>
                  <a:pt x="1986" y="1717"/>
                  <a:pt x="1986" y="1717"/>
                </a:cubicBezTo>
                <a:cubicBezTo>
                  <a:pt x="1987" y="1716"/>
                  <a:pt x="1987" y="1715"/>
                  <a:pt x="1987" y="1714"/>
                </a:cubicBezTo>
                <a:cubicBezTo>
                  <a:pt x="1987" y="1713"/>
                  <a:pt x="1987" y="1713"/>
                  <a:pt x="1986" y="1712"/>
                </a:cubicBezTo>
                <a:cubicBezTo>
                  <a:pt x="1986" y="1712"/>
                  <a:pt x="1986" y="1711"/>
                  <a:pt x="1986" y="1710"/>
                </a:cubicBezTo>
                <a:cubicBezTo>
                  <a:pt x="1986" y="1709"/>
                  <a:pt x="1987" y="1709"/>
                  <a:pt x="1987" y="1709"/>
                </a:cubicBezTo>
                <a:cubicBezTo>
                  <a:pt x="1988" y="1708"/>
                  <a:pt x="1988" y="1707"/>
                  <a:pt x="1989" y="1708"/>
                </a:cubicBezTo>
                <a:cubicBezTo>
                  <a:pt x="1990" y="1708"/>
                  <a:pt x="1989" y="1711"/>
                  <a:pt x="1988" y="1711"/>
                </a:cubicBezTo>
                <a:cubicBezTo>
                  <a:pt x="1988" y="1713"/>
                  <a:pt x="1989" y="1713"/>
                  <a:pt x="1989" y="1715"/>
                </a:cubicBezTo>
                <a:cubicBezTo>
                  <a:pt x="1989" y="1716"/>
                  <a:pt x="1988" y="1717"/>
                  <a:pt x="1990" y="1718"/>
                </a:cubicBezTo>
                <a:cubicBezTo>
                  <a:pt x="1991" y="1719"/>
                  <a:pt x="1991" y="1719"/>
                  <a:pt x="1992" y="1721"/>
                </a:cubicBezTo>
                <a:cubicBezTo>
                  <a:pt x="1992" y="1722"/>
                  <a:pt x="1993" y="1723"/>
                  <a:pt x="1993" y="1724"/>
                </a:cubicBezTo>
                <a:cubicBezTo>
                  <a:pt x="1993" y="1724"/>
                  <a:pt x="1994" y="1725"/>
                  <a:pt x="1994" y="1726"/>
                </a:cubicBezTo>
                <a:cubicBezTo>
                  <a:pt x="1995" y="1726"/>
                  <a:pt x="1995" y="1727"/>
                  <a:pt x="1995" y="1728"/>
                </a:cubicBezTo>
                <a:cubicBezTo>
                  <a:pt x="1996" y="1730"/>
                  <a:pt x="1996" y="1733"/>
                  <a:pt x="1997" y="1736"/>
                </a:cubicBezTo>
                <a:cubicBezTo>
                  <a:pt x="1998" y="1740"/>
                  <a:pt x="1999" y="1743"/>
                  <a:pt x="1998" y="1747"/>
                </a:cubicBezTo>
                <a:cubicBezTo>
                  <a:pt x="1997" y="1748"/>
                  <a:pt x="1997" y="1750"/>
                  <a:pt x="1996" y="1751"/>
                </a:cubicBezTo>
                <a:cubicBezTo>
                  <a:pt x="1996" y="1754"/>
                  <a:pt x="1996" y="1757"/>
                  <a:pt x="1995" y="1761"/>
                </a:cubicBezTo>
                <a:cubicBezTo>
                  <a:pt x="1995" y="1762"/>
                  <a:pt x="1994" y="1763"/>
                  <a:pt x="1994" y="1765"/>
                </a:cubicBezTo>
                <a:cubicBezTo>
                  <a:pt x="1994" y="1767"/>
                  <a:pt x="1994" y="1768"/>
                  <a:pt x="1994" y="1770"/>
                </a:cubicBezTo>
                <a:cubicBezTo>
                  <a:pt x="1994" y="1771"/>
                  <a:pt x="1993" y="1772"/>
                  <a:pt x="1993" y="1774"/>
                </a:cubicBezTo>
                <a:cubicBezTo>
                  <a:pt x="1993" y="1774"/>
                  <a:pt x="1992" y="1775"/>
                  <a:pt x="1993" y="1775"/>
                </a:cubicBezTo>
                <a:cubicBezTo>
                  <a:pt x="1994" y="1775"/>
                  <a:pt x="1994" y="1774"/>
                  <a:pt x="1994" y="1774"/>
                </a:cubicBezTo>
                <a:cubicBezTo>
                  <a:pt x="1995" y="1773"/>
                  <a:pt x="1996" y="1773"/>
                  <a:pt x="1997" y="1772"/>
                </a:cubicBezTo>
                <a:cubicBezTo>
                  <a:pt x="1998" y="1771"/>
                  <a:pt x="1998" y="1770"/>
                  <a:pt x="2000" y="1769"/>
                </a:cubicBezTo>
                <a:cubicBezTo>
                  <a:pt x="2000" y="1768"/>
                  <a:pt x="2001" y="1769"/>
                  <a:pt x="2001" y="1770"/>
                </a:cubicBezTo>
                <a:cubicBezTo>
                  <a:pt x="2001" y="1771"/>
                  <a:pt x="2000" y="1771"/>
                  <a:pt x="2000" y="1771"/>
                </a:cubicBezTo>
                <a:cubicBezTo>
                  <a:pt x="1999" y="1772"/>
                  <a:pt x="1999" y="1773"/>
                  <a:pt x="1999" y="1773"/>
                </a:cubicBezTo>
                <a:cubicBezTo>
                  <a:pt x="1999" y="1774"/>
                  <a:pt x="1999" y="1775"/>
                  <a:pt x="1999" y="1775"/>
                </a:cubicBezTo>
                <a:cubicBezTo>
                  <a:pt x="1999" y="1776"/>
                  <a:pt x="1999" y="1776"/>
                  <a:pt x="2000" y="1776"/>
                </a:cubicBezTo>
                <a:cubicBezTo>
                  <a:pt x="2000" y="1775"/>
                  <a:pt x="2001" y="1775"/>
                  <a:pt x="2001" y="1774"/>
                </a:cubicBezTo>
                <a:cubicBezTo>
                  <a:pt x="2001" y="1774"/>
                  <a:pt x="2002" y="1773"/>
                  <a:pt x="2002" y="1773"/>
                </a:cubicBezTo>
                <a:cubicBezTo>
                  <a:pt x="2003" y="1773"/>
                  <a:pt x="2002" y="1774"/>
                  <a:pt x="2002" y="1775"/>
                </a:cubicBezTo>
                <a:cubicBezTo>
                  <a:pt x="2002" y="1775"/>
                  <a:pt x="2002" y="1776"/>
                  <a:pt x="2002" y="1777"/>
                </a:cubicBezTo>
                <a:cubicBezTo>
                  <a:pt x="2002" y="1778"/>
                  <a:pt x="2003" y="1778"/>
                  <a:pt x="2003" y="1777"/>
                </a:cubicBezTo>
                <a:cubicBezTo>
                  <a:pt x="2004" y="1776"/>
                  <a:pt x="2003" y="1773"/>
                  <a:pt x="2005" y="1774"/>
                </a:cubicBezTo>
                <a:cubicBezTo>
                  <a:pt x="2006" y="1774"/>
                  <a:pt x="2005" y="1775"/>
                  <a:pt x="2006" y="1776"/>
                </a:cubicBezTo>
                <a:cubicBezTo>
                  <a:pt x="2006" y="1777"/>
                  <a:pt x="2006" y="1777"/>
                  <a:pt x="2006" y="1778"/>
                </a:cubicBezTo>
                <a:cubicBezTo>
                  <a:pt x="2007" y="1778"/>
                  <a:pt x="2007" y="1779"/>
                  <a:pt x="2007" y="1780"/>
                </a:cubicBezTo>
                <a:cubicBezTo>
                  <a:pt x="2008" y="1780"/>
                  <a:pt x="2008" y="1779"/>
                  <a:pt x="2008" y="1778"/>
                </a:cubicBezTo>
                <a:cubicBezTo>
                  <a:pt x="2008" y="1778"/>
                  <a:pt x="2008" y="1777"/>
                  <a:pt x="2008" y="1776"/>
                </a:cubicBezTo>
                <a:cubicBezTo>
                  <a:pt x="2008" y="1776"/>
                  <a:pt x="2009" y="1776"/>
                  <a:pt x="2009" y="1775"/>
                </a:cubicBezTo>
                <a:cubicBezTo>
                  <a:pt x="2009" y="1774"/>
                  <a:pt x="2009" y="1773"/>
                  <a:pt x="2010" y="1773"/>
                </a:cubicBezTo>
                <a:cubicBezTo>
                  <a:pt x="2011" y="1773"/>
                  <a:pt x="2011" y="1775"/>
                  <a:pt x="2010" y="1775"/>
                </a:cubicBezTo>
                <a:cubicBezTo>
                  <a:pt x="2010" y="1776"/>
                  <a:pt x="2008" y="1778"/>
                  <a:pt x="2010" y="1778"/>
                </a:cubicBezTo>
                <a:cubicBezTo>
                  <a:pt x="2010" y="1778"/>
                  <a:pt x="2010" y="1779"/>
                  <a:pt x="2011" y="1779"/>
                </a:cubicBezTo>
                <a:cubicBezTo>
                  <a:pt x="2011" y="1780"/>
                  <a:pt x="2011" y="1779"/>
                  <a:pt x="2012" y="1778"/>
                </a:cubicBezTo>
                <a:cubicBezTo>
                  <a:pt x="2012" y="1778"/>
                  <a:pt x="2012" y="1778"/>
                  <a:pt x="2013" y="1777"/>
                </a:cubicBezTo>
                <a:cubicBezTo>
                  <a:pt x="2013" y="1777"/>
                  <a:pt x="2013" y="1776"/>
                  <a:pt x="2013" y="1776"/>
                </a:cubicBezTo>
                <a:cubicBezTo>
                  <a:pt x="2015" y="1776"/>
                  <a:pt x="2013" y="1779"/>
                  <a:pt x="2013" y="1779"/>
                </a:cubicBezTo>
                <a:cubicBezTo>
                  <a:pt x="2013" y="1780"/>
                  <a:pt x="2014" y="1781"/>
                  <a:pt x="2014" y="1781"/>
                </a:cubicBezTo>
                <a:cubicBezTo>
                  <a:pt x="2015" y="1781"/>
                  <a:pt x="2016" y="1779"/>
                  <a:pt x="2016" y="1779"/>
                </a:cubicBezTo>
                <a:cubicBezTo>
                  <a:pt x="2017" y="1779"/>
                  <a:pt x="2017" y="1779"/>
                  <a:pt x="2018" y="1778"/>
                </a:cubicBezTo>
                <a:cubicBezTo>
                  <a:pt x="2018" y="1778"/>
                  <a:pt x="2019" y="1777"/>
                  <a:pt x="2019" y="1777"/>
                </a:cubicBezTo>
                <a:cubicBezTo>
                  <a:pt x="2019" y="1775"/>
                  <a:pt x="2020" y="1774"/>
                  <a:pt x="2020" y="1773"/>
                </a:cubicBezTo>
                <a:cubicBezTo>
                  <a:pt x="2021" y="1771"/>
                  <a:pt x="2022" y="1770"/>
                  <a:pt x="2023" y="1770"/>
                </a:cubicBezTo>
                <a:cubicBezTo>
                  <a:pt x="2024" y="1770"/>
                  <a:pt x="2025" y="1770"/>
                  <a:pt x="2025" y="1770"/>
                </a:cubicBezTo>
                <a:cubicBezTo>
                  <a:pt x="2026" y="1770"/>
                  <a:pt x="2027" y="1770"/>
                  <a:pt x="2027" y="1769"/>
                </a:cubicBezTo>
                <a:cubicBezTo>
                  <a:pt x="2028" y="1769"/>
                  <a:pt x="2029" y="1768"/>
                  <a:pt x="2029" y="1768"/>
                </a:cubicBezTo>
                <a:cubicBezTo>
                  <a:pt x="2028" y="1767"/>
                  <a:pt x="2027" y="1767"/>
                  <a:pt x="2028" y="1767"/>
                </a:cubicBezTo>
                <a:cubicBezTo>
                  <a:pt x="2028" y="1766"/>
                  <a:pt x="2029" y="1767"/>
                  <a:pt x="2030" y="1767"/>
                </a:cubicBezTo>
                <a:cubicBezTo>
                  <a:pt x="2031" y="1767"/>
                  <a:pt x="2031" y="1767"/>
                  <a:pt x="2032" y="1767"/>
                </a:cubicBezTo>
                <a:cubicBezTo>
                  <a:pt x="2032" y="1766"/>
                  <a:pt x="2033" y="1766"/>
                  <a:pt x="2034" y="1766"/>
                </a:cubicBezTo>
                <a:cubicBezTo>
                  <a:pt x="2034" y="1765"/>
                  <a:pt x="2033" y="1765"/>
                  <a:pt x="2033" y="1765"/>
                </a:cubicBezTo>
                <a:cubicBezTo>
                  <a:pt x="2033" y="1764"/>
                  <a:pt x="2033" y="1764"/>
                  <a:pt x="2032" y="1763"/>
                </a:cubicBezTo>
                <a:cubicBezTo>
                  <a:pt x="2032" y="1762"/>
                  <a:pt x="2032" y="1761"/>
                  <a:pt x="2033" y="1760"/>
                </a:cubicBezTo>
                <a:cubicBezTo>
                  <a:pt x="2033" y="1761"/>
                  <a:pt x="2032" y="1762"/>
                  <a:pt x="2033" y="1763"/>
                </a:cubicBezTo>
                <a:cubicBezTo>
                  <a:pt x="2033" y="1763"/>
                  <a:pt x="2034" y="1764"/>
                  <a:pt x="2034" y="1764"/>
                </a:cubicBezTo>
                <a:cubicBezTo>
                  <a:pt x="2035" y="1765"/>
                  <a:pt x="2036" y="1764"/>
                  <a:pt x="2038" y="1764"/>
                </a:cubicBezTo>
                <a:cubicBezTo>
                  <a:pt x="2039" y="1763"/>
                  <a:pt x="2039" y="1763"/>
                  <a:pt x="2040" y="1761"/>
                </a:cubicBezTo>
                <a:cubicBezTo>
                  <a:pt x="2041" y="1760"/>
                  <a:pt x="2043" y="1760"/>
                  <a:pt x="2043" y="1759"/>
                </a:cubicBezTo>
                <a:cubicBezTo>
                  <a:pt x="2044" y="1757"/>
                  <a:pt x="2043" y="1755"/>
                  <a:pt x="2043" y="1754"/>
                </a:cubicBezTo>
                <a:cubicBezTo>
                  <a:pt x="2044" y="1753"/>
                  <a:pt x="2044" y="1753"/>
                  <a:pt x="2045" y="1752"/>
                </a:cubicBezTo>
                <a:cubicBezTo>
                  <a:pt x="2045" y="1751"/>
                  <a:pt x="2045" y="1751"/>
                  <a:pt x="2045" y="1750"/>
                </a:cubicBezTo>
                <a:cubicBezTo>
                  <a:pt x="2045" y="1749"/>
                  <a:pt x="2044" y="1746"/>
                  <a:pt x="2045" y="1746"/>
                </a:cubicBezTo>
                <a:cubicBezTo>
                  <a:pt x="2046" y="1746"/>
                  <a:pt x="2046" y="1748"/>
                  <a:pt x="2046" y="1748"/>
                </a:cubicBezTo>
                <a:cubicBezTo>
                  <a:pt x="2046" y="1749"/>
                  <a:pt x="2047" y="1749"/>
                  <a:pt x="2047" y="1750"/>
                </a:cubicBezTo>
                <a:cubicBezTo>
                  <a:pt x="2048" y="1750"/>
                  <a:pt x="2049" y="1751"/>
                  <a:pt x="2050" y="1753"/>
                </a:cubicBezTo>
                <a:cubicBezTo>
                  <a:pt x="2050" y="1754"/>
                  <a:pt x="2050" y="1755"/>
                  <a:pt x="2051" y="1756"/>
                </a:cubicBezTo>
                <a:cubicBezTo>
                  <a:pt x="2052" y="1758"/>
                  <a:pt x="2052" y="1759"/>
                  <a:pt x="2052" y="1761"/>
                </a:cubicBezTo>
                <a:cubicBezTo>
                  <a:pt x="2052" y="1762"/>
                  <a:pt x="2053" y="1765"/>
                  <a:pt x="2055" y="1765"/>
                </a:cubicBezTo>
                <a:cubicBezTo>
                  <a:pt x="2055" y="1764"/>
                  <a:pt x="2055" y="1764"/>
                  <a:pt x="2056" y="1764"/>
                </a:cubicBezTo>
                <a:cubicBezTo>
                  <a:pt x="2057" y="1763"/>
                  <a:pt x="2058" y="1764"/>
                  <a:pt x="2058" y="1764"/>
                </a:cubicBezTo>
                <a:cubicBezTo>
                  <a:pt x="2059" y="1764"/>
                  <a:pt x="2060" y="1763"/>
                  <a:pt x="2060" y="1764"/>
                </a:cubicBezTo>
                <a:cubicBezTo>
                  <a:pt x="2060" y="1765"/>
                  <a:pt x="2059" y="1765"/>
                  <a:pt x="2059" y="1766"/>
                </a:cubicBezTo>
                <a:cubicBezTo>
                  <a:pt x="2059" y="1766"/>
                  <a:pt x="2059" y="1767"/>
                  <a:pt x="2059" y="1768"/>
                </a:cubicBezTo>
                <a:cubicBezTo>
                  <a:pt x="2059" y="1769"/>
                  <a:pt x="2058" y="1770"/>
                  <a:pt x="2058" y="1772"/>
                </a:cubicBezTo>
                <a:cubicBezTo>
                  <a:pt x="2058" y="1773"/>
                  <a:pt x="2059" y="1775"/>
                  <a:pt x="2059" y="1777"/>
                </a:cubicBezTo>
                <a:cubicBezTo>
                  <a:pt x="2060" y="1777"/>
                  <a:pt x="2060" y="1778"/>
                  <a:pt x="2061" y="1779"/>
                </a:cubicBezTo>
                <a:cubicBezTo>
                  <a:pt x="2061" y="1780"/>
                  <a:pt x="2061" y="1781"/>
                  <a:pt x="2061" y="1782"/>
                </a:cubicBezTo>
                <a:cubicBezTo>
                  <a:pt x="2061" y="1783"/>
                  <a:pt x="2062" y="1784"/>
                  <a:pt x="2061" y="1785"/>
                </a:cubicBezTo>
                <a:cubicBezTo>
                  <a:pt x="2061" y="1786"/>
                  <a:pt x="2061" y="1788"/>
                  <a:pt x="2062" y="1789"/>
                </a:cubicBezTo>
                <a:cubicBezTo>
                  <a:pt x="2063" y="1792"/>
                  <a:pt x="2061" y="1795"/>
                  <a:pt x="2063" y="1798"/>
                </a:cubicBezTo>
                <a:cubicBezTo>
                  <a:pt x="2064" y="1799"/>
                  <a:pt x="2065" y="1799"/>
                  <a:pt x="2065" y="1800"/>
                </a:cubicBezTo>
                <a:cubicBezTo>
                  <a:pt x="2066" y="1800"/>
                  <a:pt x="2067" y="1802"/>
                  <a:pt x="2067" y="1803"/>
                </a:cubicBezTo>
                <a:cubicBezTo>
                  <a:pt x="2067" y="1806"/>
                  <a:pt x="2066" y="1809"/>
                  <a:pt x="2067" y="1813"/>
                </a:cubicBezTo>
                <a:cubicBezTo>
                  <a:pt x="2068" y="1814"/>
                  <a:pt x="2068" y="1815"/>
                  <a:pt x="2068" y="1817"/>
                </a:cubicBezTo>
                <a:cubicBezTo>
                  <a:pt x="2068" y="1817"/>
                  <a:pt x="2068" y="1818"/>
                  <a:pt x="2068" y="1819"/>
                </a:cubicBezTo>
                <a:cubicBezTo>
                  <a:pt x="2068" y="1819"/>
                  <a:pt x="2069" y="1820"/>
                  <a:pt x="2069" y="1820"/>
                </a:cubicBezTo>
                <a:cubicBezTo>
                  <a:pt x="2069" y="1821"/>
                  <a:pt x="2069" y="1823"/>
                  <a:pt x="2070" y="1824"/>
                </a:cubicBezTo>
                <a:cubicBezTo>
                  <a:pt x="2070" y="1823"/>
                  <a:pt x="2070" y="1821"/>
                  <a:pt x="2070" y="1820"/>
                </a:cubicBezTo>
                <a:cubicBezTo>
                  <a:pt x="2070" y="1818"/>
                  <a:pt x="2070" y="1817"/>
                  <a:pt x="2070" y="1815"/>
                </a:cubicBezTo>
                <a:cubicBezTo>
                  <a:pt x="2070" y="1813"/>
                  <a:pt x="2072" y="1816"/>
                  <a:pt x="2072" y="1817"/>
                </a:cubicBezTo>
                <a:cubicBezTo>
                  <a:pt x="2072" y="1818"/>
                  <a:pt x="2072" y="1818"/>
                  <a:pt x="2072" y="1819"/>
                </a:cubicBezTo>
                <a:cubicBezTo>
                  <a:pt x="2073" y="1820"/>
                  <a:pt x="2073" y="1820"/>
                  <a:pt x="2073" y="1821"/>
                </a:cubicBezTo>
                <a:cubicBezTo>
                  <a:pt x="2074" y="1822"/>
                  <a:pt x="2075" y="1823"/>
                  <a:pt x="2075" y="1825"/>
                </a:cubicBezTo>
                <a:cubicBezTo>
                  <a:pt x="2075" y="1826"/>
                  <a:pt x="2076" y="1828"/>
                  <a:pt x="2076" y="1830"/>
                </a:cubicBezTo>
                <a:cubicBezTo>
                  <a:pt x="2077" y="1831"/>
                  <a:pt x="2078" y="1832"/>
                  <a:pt x="2078" y="1833"/>
                </a:cubicBezTo>
                <a:cubicBezTo>
                  <a:pt x="2079" y="1835"/>
                  <a:pt x="2079" y="1836"/>
                  <a:pt x="2079" y="1837"/>
                </a:cubicBezTo>
                <a:cubicBezTo>
                  <a:pt x="2080" y="1839"/>
                  <a:pt x="2080" y="1841"/>
                  <a:pt x="2079" y="1843"/>
                </a:cubicBezTo>
                <a:cubicBezTo>
                  <a:pt x="2079" y="1844"/>
                  <a:pt x="2078" y="1845"/>
                  <a:pt x="2078" y="1846"/>
                </a:cubicBezTo>
                <a:cubicBezTo>
                  <a:pt x="2078" y="1847"/>
                  <a:pt x="2078" y="1848"/>
                  <a:pt x="2078" y="1849"/>
                </a:cubicBezTo>
                <a:cubicBezTo>
                  <a:pt x="2077" y="1849"/>
                  <a:pt x="2076" y="1850"/>
                  <a:pt x="2078" y="1850"/>
                </a:cubicBezTo>
                <a:cubicBezTo>
                  <a:pt x="2079" y="1850"/>
                  <a:pt x="2081" y="1850"/>
                  <a:pt x="2080" y="1852"/>
                </a:cubicBezTo>
                <a:cubicBezTo>
                  <a:pt x="2078" y="1852"/>
                  <a:pt x="2079" y="1856"/>
                  <a:pt x="2078" y="1855"/>
                </a:cubicBezTo>
                <a:cubicBezTo>
                  <a:pt x="2077" y="1855"/>
                  <a:pt x="2076" y="1852"/>
                  <a:pt x="2075" y="1854"/>
                </a:cubicBezTo>
                <a:cubicBezTo>
                  <a:pt x="2074" y="1856"/>
                  <a:pt x="2076" y="1856"/>
                  <a:pt x="2077" y="1857"/>
                </a:cubicBezTo>
                <a:cubicBezTo>
                  <a:pt x="2079" y="1858"/>
                  <a:pt x="2078" y="1859"/>
                  <a:pt x="2078" y="1860"/>
                </a:cubicBezTo>
                <a:cubicBezTo>
                  <a:pt x="2078" y="1862"/>
                  <a:pt x="2080" y="1861"/>
                  <a:pt x="2081" y="1860"/>
                </a:cubicBezTo>
                <a:cubicBezTo>
                  <a:pt x="2081" y="1860"/>
                  <a:pt x="2081" y="1859"/>
                  <a:pt x="2082" y="1858"/>
                </a:cubicBezTo>
                <a:cubicBezTo>
                  <a:pt x="2082" y="1858"/>
                  <a:pt x="2083" y="1859"/>
                  <a:pt x="2083" y="1860"/>
                </a:cubicBezTo>
                <a:cubicBezTo>
                  <a:pt x="2083" y="1860"/>
                  <a:pt x="2082" y="1860"/>
                  <a:pt x="2082" y="1861"/>
                </a:cubicBezTo>
                <a:cubicBezTo>
                  <a:pt x="2081" y="1861"/>
                  <a:pt x="2081" y="1862"/>
                  <a:pt x="2080" y="1862"/>
                </a:cubicBezTo>
                <a:cubicBezTo>
                  <a:pt x="2080" y="1863"/>
                  <a:pt x="2081" y="1865"/>
                  <a:pt x="2081" y="1867"/>
                </a:cubicBezTo>
                <a:cubicBezTo>
                  <a:pt x="2081" y="1868"/>
                  <a:pt x="2081" y="1870"/>
                  <a:pt x="2081" y="1871"/>
                </a:cubicBezTo>
                <a:cubicBezTo>
                  <a:pt x="2081" y="1873"/>
                  <a:pt x="2080" y="1874"/>
                  <a:pt x="2080" y="1875"/>
                </a:cubicBezTo>
                <a:cubicBezTo>
                  <a:pt x="2080" y="1877"/>
                  <a:pt x="2079" y="1878"/>
                  <a:pt x="2077" y="1878"/>
                </a:cubicBezTo>
                <a:cubicBezTo>
                  <a:pt x="2076" y="1879"/>
                  <a:pt x="2075" y="1880"/>
                  <a:pt x="2075" y="1881"/>
                </a:cubicBezTo>
                <a:cubicBezTo>
                  <a:pt x="2075" y="1883"/>
                  <a:pt x="2076" y="1884"/>
                  <a:pt x="2077" y="1885"/>
                </a:cubicBezTo>
                <a:cubicBezTo>
                  <a:pt x="2077" y="1887"/>
                  <a:pt x="2077" y="1889"/>
                  <a:pt x="2077" y="1890"/>
                </a:cubicBezTo>
                <a:cubicBezTo>
                  <a:pt x="2076" y="1891"/>
                  <a:pt x="2076" y="1893"/>
                  <a:pt x="2076" y="1894"/>
                </a:cubicBezTo>
                <a:cubicBezTo>
                  <a:pt x="2077" y="1896"/>
                  <a:pt x="2078" y="1893"/>
                  <a:pt x="2078" y="1893"/>
                </a:cubicBezTo>
                <a:cubicBezTo>
                  <a:pt x="2080" y="1893"/>
                  <a:pt x="2078" y="1896"/>
                  <a:pt x="2078" y="1896"/>
                </a:cubicBezTo>
                <a:cubicBezTo>
                  <a:pt x="2077" y="1898"/>
                  <a:pt x="2077" y="1899"/>
                  <a:pt x="2077" y="1901"/>
                </a:cubicBezTo>
                <a:cubicBezTo>
                  <a:pt x="2076" y="1902"/>
                  <a:pt x="2075" y="1903"/>
                  <a:pt x="2074" y="1905"/>
                </a:cubicBezTo>
                <a:cubicBezTo>
                  <a:pt x="2074" y="1906"/>
                  <a:pt x="2074" y="1907"/>
                  <a:pt x="2073" y="1909"/>
                </a:cubicBezTo>
                <a:cubicBezTo>
                  <a:pt x="2073" y="1909"/>
                  <a:pt x="2072" y="1911"/>
                  <a:pt x="2072" y="1912"/>
                </a:cubicBezTo>
                <a:cubicBezTo>
                  <a:pt x="2072" y="1912"/>
                  <a:pt x="2072" y="1912"/>
                  <a:pt x="2073" y="1913"/>
                </a:cubicBezTo>
                <a:cubicBezTo>
                  <a:pt x="2073" y="1913"/>
                  <a:pt x="2073" y="1914"/>
                  <a:pt x="2073" y="1915"/>
                </a:cubicBezTo>
                <a:cubicBezTo>
                  <a:pt x="2073" y="1915"/>
                  <a:pt x="2072" y="1915"/>
                  <a:pt x="2072" y="1916"/>
                </a:cubicBezTo>
                <a:cubicBezTo>
                  <a:pt x="2072" y="1917"/>
                  <a:pt x="2072" y="1917"/>
                  <a:pt x="2072" y="1918"/>
                </a:cubicBezTo>
                <a:cubicBezTo>
                  <a:pt x="2071" y="1918"/>
                  <a:pt x="2071" y="1918"/>
                  <a:pt x="2071" y="1919"/>
                </a:cubicBezTo>
                <a:cubicBezTo>
                  <a:pt x="2071" y="1920"/>
                  <a:pt x="2071" y="1922"/>
                  <a:pt x="2071" y="1924"/>
                </a:cubicBezTo>
                <a:cubicBezTo>
                  <a:pt x="2070" y="1925"/>
                  <a:pt x="2070" y="1926"/>
                  <a:pt x="2071" y="1927"/>
                </a:cubicBezTo>
                <a:cubicBezTo>
                  <a:pt x="2071" y="1927"/>
                  <a:pt x="2071" y="1927"/>
                  <a:pt x="2072" y="1928"/>
                </a:cubicBezTo>
                <a:cubicBezTo>
                  <a:pt x="2072" y="1928"/>
                  <a:pt x="2072" y="1929"/>
                  <a:pt x="2072" y="1930"/>
                </a:cubicBezTo>
                <a:cubicBezTo>
                  <a:pt x="2072" y="1931"/>
                  <a:pt x="2072" y="1930"/>
                  <a:pt x="2073" y="1930"/>
                </a:cubicBezTo>
                <a:cubicBezTo>
                  <a:pt x="2073" y="1931"/>
                  <a:pt x="2074" y="1931"/>
                  <a:pt x="2073" y="1932"/>
                </a:cubicBezTo>
                <a:cubicBezTo>
                  <a:pt x="2073" y="1932"/>
                  <a:pt x="2072" y="1932"/>
                  <a:pt x="2072" y="1933"/>
                </a:cubicBezTo>
                <a:cubicBezTo>
                  <a:pt x="2072" y="1934"/>
                  <a:pt x="2072" y="1934"/>
                  <a:pt x="2072" y="1935"/>
                </a:cubicBezTo>
                <a:cubicBezTo>
                  <a:pt x="2071" y="1936"/>
                  <a:pt x="2071" y="1938"/>
                  <a:pt x="2071" y="1939"/>
                </a:cubicBezTo>
                <a:cubicBezTo>
                  <a:pt x="2073" y="1941"/>
                  <a:pt x="2074" y="1938"/>
                  <a:pt x="2074" y="1937"/>
                </a:cubicBezTo>
                <a:cubicBezTo>
                  <a:pt x="2075" y="1937"/>
                  <a:pt x="2076" y="1937"/>
                  <a:pt x="2075" y="1936"/>
                </a:cubicBezTo>
                <a:cubicBezTo>
                  <a:pt x="2075" y="1935"/>
                  <a:pt x="2075" y="1935"/>
                  <a:pt x="2075" y="1934"/>
                </a:cubicBezTo>
                <a:cubicBezTo>
                  <a:pt x="2075" y="1934"/>
                  <a:pt x="2074" y="1934"/>
                  <a:pt x="2074" y="1933"/>
                </a:cubicBezTo>
                <a:cubicBezTo>
                  <a:pt x="2074" y="1933"/>
                  <a:pt x="2073" y="1932"/>
                  <a:pt x="2074" y="1932"/>
                </a:cubicBezTo>
                <a:cubicBezTo>
                  <a:pt x="2074" y="1931"/>
                  <a:pt x="2075" y="1931"/>
                  <a:pt x="2075" y="1931"/>
                </a:cubicBezTo>
                <a:cubicBezTo>
                  <a:pt x="2075" y="1931"/>
                  <a:pt x="2076" y="1930"/>
                  <a:pt x="2076" y="1930"/>
                </a:cubicBezTo>
                <a:cubicBezTo>
                  <a:pt x="2076" y="1929"/>
                  <a:pt x="2075" y="1930"/>
                  <a:pt x="2075" y="1929"/>
                </a:cubicBezTo>
                <a:cubicBezTo>
                  <a:pt x="2075" y="1928"/>
                  <a:pt x="2076" y="1929"/>
                  <a:pt x="2076" y="1928"/>
                </a:cubicBezTo>
                <a:cubicBezTo>
                  <a:pt x="2077" y="1928"/>
                  <a:pt x="2077" y="1928"/>
                  <a:pt x="2078" y="1927"/>
                </a:cubicBezTo>
                <a:cubicBezTo>
                  <a:pt x="2079" y="1927"/>
                  <a:pt x="2080" y="1929"/>
                  <a:pt x="2081" y="1929"/>
                </a:cubicBezTo>
                <a:cubicBezTo>
                  <a:pt x="2083" y="1930"/>
                  <a:pt x="2082" y="1931"/>
                  <a:pt x="2083" y="1933"/>
                </a:cubicBezTo>
                <a:cubicBezTo>
                  <a:pt x="2083" y="1934"/>
                  <a:pt x="2085" y="1934"/>
                  <a:pt x="2086" y="1935"/>
                </a:cubicBezTo>
                <a:cubicBezTo>
                  <a:pt x="2087" y="1936"/>
                  <a:pt x="2088" y="1936"/>
                  <a:pt x="2087" y="1938"/>
                </a:cubicBezTo>
                <a:cubicBezTo>
                  <a:pt x="2087" y="1938"/>
                  <a:pt x="2087" y="1939"/>
                  <a:pt x="2087" y="1940"/>
                </a:cubicBezTo>
                <a:cubicBezTo>
                  <a:pt x="2087" y="1940"/>
                  <a:pt x="2087" y="1941"/>
                  <a:pt x="2087" y="1942"/>
                </a:cubicBezTo>
                <a:cubicBezTo>
                  <a:pt x="2087" y="1942"/>
                  <a:pt x="2087" y="1943"/>
                  <a:pt x="2087" y="1944"/>
                </a:cubicBezTo>
                <a:cubicBezTo>
                  <a:pt x="2087" y="1944"/>
                  <a:pt x="2088" y="1945"/>
                  <a:pt x="2088" y="1945"/>
                </a:cubicBezTo>
                <a:cubicBezTo>
                  <a:pt x="2089" y="1945"/>
                  <a:pt x="2088" y="1944"/>
                  <a:pt x="2088" y="1944"/>
                </a:cubicBezTo>
                <a:cubicBezTo>
                  <a:pt x="2088" y="1943"/>
                  <a:pt x="2088" y="1942"/>
                  <a:pt x="2088" y="1942"/>
                </a:cubicBezTo>
                <a:cubicBezTo>
                  <a:pt x="2088" y="1941"/>
                  <a:pt x="2087" y="1941"/>
                  <a:pt x="2087" y="1941"/>
                </a:cubicBezTo>
                <a:cubicBezTo>
                  <a:pt x="2087" y="1940"/>
                  <a:pt x="2088" y="1940"/>
                  <a:pt x="2088" y="1940"/>
                </a:cubicBezTo>
                <a:cubicBezTo>
                  <a:pt x="2088" y="1940"/>
                  <a:pt x="2088" y="1941"/>
                  <a:pt x="2089" y="1941"/>
                </a:cubicBezTo>
                <a:cubicBezTo>
                  <a:pt x="2089" y="1941"/>
                  <a:pt x="2089" y="1941"/>
                  <a:pt x="2090" y="1941"/>
                </a:cubicBezTo>
                <a:cubicBezTo>
                  <a:pt x="2090" y="1941"/>
                  <a:pt x="2090" y="1941"/>
                  <a:pt x="2091" y="1942"/>
                </a:cubicBezTo>
                <a:cubicBezTo>
                  <a:pt x="2092" y="1943"/>
                  <a:pt x="2092" y="1944"/>
                  <a:pt x="2092" y="1945"/>
                </a:cubicBezTo>
                <a:cubicBezTo>
                  <a:pt x="2092" y="1947"/>
                  <a:pt x="2093" y="1948"/>
                  <a:pt x="2095" y="1948"/>
                </a:cubicBezTo>
                <a:cubicBezTo>
                  <a:pt x="2095" y="1947"/>
                  <a:pt x="2096" y="1946"/>
                  <a:pt x="2097" y="1947"/>
                </a:cubicBezTo>
                <a:cubicBezTo>
                  <a:pt x="2097" y="1947"/>
                  <a:pt x="2097" y="1948"/>
                  <a:pt x="2097" y="1948"/>
                </a:cubicBezTo>
                <a:cubicBezTo>
                  <a:pt x="2096" y="1949"/>
                  <a:pt x="2096" y="1949"/>
                  <a:pt x="2097" y="1950"/>
                </a:cubicBezTo>
                <a:cubicBezTo>
                  <a:pt x="2097" y="1950"/>
                  <a:pt x="2098" y="1951"/>
                  <a:pt x="2098" y="1951"/>
                </a:cubicBezTo>
                <a:cubicBezTo>
                  <a:pt x="2099" y="1952"/>
                  <a:pt x="2100" y="1951"/>
                  <a:pt x="2100" y="1952"/>
                </a:cubicBezTo>
                <a:cubicBezTo>
                  <a:pt x="2101" y="1953"/>
                  <a:pt x="2100" y="1953"/>
                  <a:pt x="2100" y="1953"/>
                </a:cubicBezTo>
                <a:cubicBezTo>
                  <a:pt x="2099" y="1954"/>
                  <a:pt x="2099" y="1955"/>
                  <a:pt x="2100" y="1955"/>
                </a:cubicBezTo>
                <a:cubicBezTo>
                  <a:pt x="2100" y="1956"/>
                  <a:pt x="2100" y="1958"/>
                  <a:pt x="2101" y="1958"/>
                </a:cubicBezTo>
                <a:cubicBezTo>
                  <a:pt x="2102" y="1959"/>
                  <a:pt x="2102" y="1960"/>
                  <a:pt x="2103" y="1961"/>
                </a:cubicBezTo>
                <a:cubicBezTo>
                  <a:pt x="2103" y="1962"/>
                  <a:pt x="2105" y="1962"/>
                  <a:pt x="2105" y="1963"/>
                </a:cubicBezTo>
                <a:cubicBezTo>
                  <a:pt x="2106" y="1963"/>
                  <a:pt x="2106" y="1964"/>
                  <a:pt x="2107" y="1964"/>
                </a:cubicBezTo>
                <a:cubicBezTo>
                  <a:pt x="2107" y="1965"/>
                  <a:pt x="2108" y="1965"/>
                  <a:pt x="2108" y="1966"/>
                </a:cubicBezTo>
                <a:cubicBezTo>
                  <a:pt x="2109" y="1967"/>
                  <a:pt x="2109" y="1969"/>
                  <a:pt x="2110" y="1970"/>
                </a:cubicBezTo>
                <a:cubicBezTo>
                  <a:pt x="2110" y="1971"/>
                  <a:pt x="2111" y="1971"/>
                  <a:pt x="2112" y="1972"/>
                </a:cubicBezTo>
                <a:cubicBezTo>
                  <a:pt x="2112" y="1974"/>
                  <a:pt x="2113" y="1975"/>
                  <a:pt x="2113" y="1976"/>
                </a:cubicBezTo>
                <a:cubicBezTo>
                  <a:pt x="2113" y="1978"/>
                  <a:pt x="2113" y="1979"/>
                  <a:pt x="2113" y="1981"/>
                </a:cubicBezTo>
                <a:cubicBezTo>
                  <a:pt x="2113" y="1982"/>
                  <a:pt x="2113" y="1984"/>
                  <a:pt x="2112" y="1985"/>
                </a:cubicBezTo>
                <a:cubicBezTo>
                  <a:pt x="2112" y="1985"/>
                  <a:pt x="2112" y="1985"/>
                  <a:pt x="2111" y="1985"/>
                </a:cubicBezTo>
                <a:cubicBezTo>
                  <a:pt x="2111" y="1985"/>
                  <a:pt x="2111" y="1985"/>
                  <a:pt x="2111" y="1986"/>
                </a:cubicBezTo>
                <a:cubicBezTo>
                  <a:pt x="2111" y="1986"/>
                  <a:pt x="2109" y="1986"/>
                  <a:pt x="2110" y="1987"/>
                </a:cubicBezTo>
                <a:cubicBezTo>
                  <a:pt x="2110" y="1988"/>
                  <a:pt x="2112" y="1987"/>
                  <a:pt x="2113" y="1987"/>
                </a:cubicBezTo>
                <a:cubicBezTo>
                  <a:pt x="2114" y="1987"/>
                  <a:pt x="2113" y="1989"/>
                  <a:pt x="2113" y="1990"/>
                </a:cubicBezTo>
                <a:cubicBezTo>
                  <a:pt x="2113" y="1991"/>
                  <a:pt x="2114" y="1992"/>
                  <a:pt x="2114" y="1993"/>
                </a:cubicBezTo>
                <a:cubicBezTo>
                  <a:pt x="2115" y="1994"/>
                  <a:pt x="2115" y="1996"/>
                  <a:pt x="2116" y="1998"/>
                </a:cubicBezTo>
                <a:cubicBezTo>
                  <a:pt x="2117" y="1999"/>
                  <a:pt x="2117" y="2000"/>
                  <a:pt x="2118" y="2002"/>
                </a:cubicBezTo>
                <a:cubicBezTo>
                  <a:pt x="2118" y="2003"/>
                  <a:pt x="2118" y="2004"/>
                  <a:pt x="2117" y="2006"/>
                </a:cubicBezTo>
                <a:cubicBezTo>
                  <a:pt x="2117" y="2007"/>
                  <a:pt x="2117" y="2007"/>
                  <a:pt x="2117" y="2008"/>
                </a:cubicBezTo>
                <a:cubicBezTo>
                  <a:pt x="2118" y="2009"/>
                  <a:pt x="2118" y="2009"/>
                  <a:pt x="2119" y="2009"/>
                </a:cubicBezTo>
                <a:cubicBezTo>
                  <a:pt x="2119" y="2009"/>
                  <a:pt x="2119" y="2010"/>
                  <a:pt x="2120" y="2010"/>
                </a:cubicBezTo>
                <a:cubicBezTo>
                  <a:pt x="2120" y="2011"/>
                  <a:pt x="2121" y="2012"/>
                  <a:pt x="2121" y="2012"/>
                </a:cubicBezTo>
                <a:cubicBezTo>
                  <a:pt x="2122" y="2014"/>
                  <a:pt x="2119" y="2013"/>
                  <a:pt x="2120" y="2015"/>
                </a:cubicBezTo>
                <a:cubicBezTo>
                  <a:pt x="2120" y="2016"/>
                  <a:pt x="2122" y="2016"/>
                  <a:pt x="2123" y="2017"/>
                </a:cubicBezTo>
                <a:cubicBezTo>
                  <a:pt x="2124" y="2018"/>
                  <a:pt x="2124" y="2020"/>
                  <a:pt x="2125" y="2021"/>
                </a:cubicBezTo>
                <a:cubicBezTo>
                  <a:pt x="2125" y="2022"/>
                  <a:pt x="2126" y="2022"/>
                  <a:pt x="2127" y="2023"/>
                </a:cubicBezTo>
                <a:cubicBezTo>
                  <a:pt x="2128" y="2024"/>
                  <a:pt x="2128" y="2024"/>
                  <a:pt x="2129" y="2025"/>
                </a:cubicBezTo>
                <a:cubicBezTo>
                  <a:pt x="2129" y="2026"/>
                  <a:pt x="2129" y="2027"/>
                  <a:pt x="2130" y="2028"/>
                </a:cubicBezTo>
                <a:cubicBezTo>
                  <a:pt x="2131" y="2029"/>
                  <a:pt x="2131" y="2030"/>
                  <a:pt x="2131" y="2032"/>
                </a:cubicBezTo>
                <a:cubicBezTo>
                  <a:pt x="2131" y="2034"/>
                  <a:pt x="2131" y="2035"/>
                  <a:pt x="2133" y="2037"/>
                </a:cubicBezTo>
                <a:cubicBezTo>
                  <a:pt x="2134" y="2038"/>
                  <a:pt x="2135" y="2038"/>
                  <a:pt x="2136" y="2039"/>
                </a:cubicBezTo>
                <a:cubicBezTo>
                  <a:pt x="2138" y="2040"/>
                  <a:pt x="2139" y="2042"/>
                  <a:pt x="2140" y="2043"/>
                </a:cubicBezTo>
                <a:cubicBezTo>
                  <a:pt x="2143" y="2044"/>
                  <a:pt x="2146" y="2045"/>
                  <a:pt x="2149" y="2047"/>
                </a:cubicBezTo>
                <a:cubicBezTo>
                  <a:pt x="2150" y="2048"/>
                  <a:pt x="2151" y="2049"/>
                  <a:pt x="2153" y="2050"/>
                </a:cubicBezTo>
                <a:cubicBezTo>
                  <a:pt x="2154" y="2051"/>
                  <a:pt x="2156" y="2052"/>
                  <a:pt x="2157" y="2052"/>
                </a:cubicBezTo>
                <a:cubicBezTo>
                  <a:pt x="2160" y="2054"/>
                  <a:pt x="2162" y="2056"/>
                  <a:pt x="2164" y="2058"/>
                </a:cubicBezTo>
                <a:cubicBezTo>
                  <a:pt x="2166" y="2059"/>
                  <a:pt x="2167" y="2059"/>
                  <a:pt x="2169" y="2061"/>
                </a:cubicBezTo>
                <a:cubicBezTo>
                  <a:pt x="2170" y="2062"/>
                  <a:pt x="2171" y="2063"/>
                  <a:pt x="2172" y="2065"/>
                </a:cubicBezTo>
                <a:cubicBezTo>
                  <a:pt x="2173" y="2065"/>
                  <a:pt x="2173" y="2065"/>
                  <a:pt x="2174" y="2066"/>
                </a:cubicBezTo>
                <a:cubicBezTo>
                  <a:pt x="2175" y="2066"/>
                  <a:pt x="2176" y="2068"/>
                  <a:pt x="2177" y="2067"/>
                </a:cubicBezTo>
                <a:cubicBezTo>
                  <a:pt x="2177" y="2067"/>
                  <a:pt x="2177" y="2066"/>
                  <a:pt x="2177" y="2065"/>
                </a:cubicBezTo>
                <a:cubicBezTo>
                  <a:pt x="2178" y="2065"/>
                  <a:pt x="2179" y="2065"/>
                  <a:pt x="2179" y="2064"/>
                </a:cubicBezTo>
                <a:cubicBezTo>
                  <a:pt x="2180" y="2064"/>
                  <a:pt x="2181" y="2064"/>
                  <a:pt x="2182" y="2064"/>
                </a:cubicBezTo>
                <a:cubicBezTo>
                  <a:pt x="2183" y="2064"/>
                  <a:pt x="2184" y="2065"/>
                  <a:pt x="2185" y="2064"/>
                </a:cubicBezTo>
                <a:cubicBezTo>
                  <a:pt x="2185" y="2064"/>
                  <a:pt x="2185" y="2063"/>
                  <a:pt x="2185" y="2063"/>
                </a:cubicBezTo>
                <a:cubicBezTo>
                  <a:pt x="2185" y="2063"/>
                  <a:pt x="2186" y="2062"/>
                  <a:pt x="2186" y="2062"/>
                </a:cubicBezTo>
                <a:cubicBezTo>
                  <a:pt x="2186" y="2063"/>
                  <a:pt x="2186" y="2063"/>
                  <a:pt x="2186" y="2064"/>
                </a:cubicBezTo>
                <a:cubicBezTo>
                  <a:pt x="2186" y="2064"/>
                  <a:pt x="2186" y="2064"/>
                  <a:pt x="2186" y="2065"/>
                </a:cubicBezTo>
                <a:cubicBezTo>
                  <a:pt x="2187" y="2065"/>
                  <a:pt x="2187" y="2066"/>
                  <a:pt x="2187" y="2066"/>
                </a:cubicBezTo>
                <a:cubicBezTo>
                  <a:pt x="2187" y="2066"/>
                  <a:pt x="2187" y="2066"/>
                  <a:pt x="2187" y="2066"/>
                </a:cubicBezTo>
                <a:cubicBezTo>
                  <a:pt x="2187" y="2067"/>
                  <a:pt x="2188" y="2066"/>
                  <a:pt x="2188" y="2066"/>
                </a:cubicBezTo>
                <a:cubicBezTo>
                  <a:pt x="2188" y="2066"/>
                  <a:pt x="2188" y="2065"/>
                  <a:pt x="2189" y="2065"/>
                </a:cubicBezTo>
                <a:cubicBezTo>
                  <a:pt x="2190" y="2065"/>
                  <a:pt x="2190" y="2065"/>
                  <a:pt x="2190" y="2064"/>
                </a:cubicBezTo>
                <a:cubicBezTo>
                  <a:pt x="2191" y="2062"/>
                  <a:pt x="2190" y="2060"/>
                  <a:pt x="2190" y="2059"/>
                </a:cubicBezTo>
                <a:cubicBezTo>
                  <a:pt x="2189" y="2058"/>
                  <a:pt x="2189" y="2058"/>
                  <a:pt x="2188" y="2057"/>
                </a:cubicBezTo>
                <a:cubicBezTo>
                  <a:pt x="2188" y="2056"/>
                  <a:pt x="2187" y="2055"/>
                  <a:pt x="2186" y="2053"/>
                </a:cubicBezTo>
                <a:cubicBezTo>
                  <a:pt x="2186" y="2053"/>
                  <a:pt x="2186" y="2052"/>
                  <a:pt x="2186" y="2051"/>
                </a:cubicBezTo>
                <a:cubicBezTo>
                  <a:pt x="2185" y="2050"/>
                  <a:pt x="2184" y="2049"/>
                  <a:pt x="2184" y="2048"/>
                </a:cubicBezTo>
                <a:cubicBezTo>
                  <a:pt x="2183" y="2047"/>
                  <a:pt x="2182" y="2045"/>
                  <a:pt x="2181" y="2044"/>
                </a:cubicBezTo>
                <a:cubicBezTo>
                  <a:pt x="2180" y="2043"/>
                  <a:pt x="2179" y="2042"/>
                  <a:pt x="2178" y="2041"/>
                </a:cubicBezTo>
                <a:cubicBezTo>
                  <a:pt x="2178" y="2040"/>
                  <a:pt x="2177" y="2039"/>
                  <a:pt x="2176" y="2038"/>
                </a:cubicBezTo>
                <a:cubicBezTo>
                  <a:pt x="2175" y="2036"/>
                  <a:pt x="2174" y="2036"/>
                  <a:pt x="2174" y="2034"/>
                </a:cubicBezTo>
                <a:cubicBezTo>
                  <a:pt x="2173" y="2033"/>
                  <a:pt x="2174" y="2031"/>
                  <a:pt x="2174" y="2030"/>
                </a:cubicBezTo>
                <a:cubicBezTo>
                  <a:pt x="2174" y="2028"/>
                  <a:pt x="2174" y="2027"/>
                  <a:pt x="2173" y="2025"/>
                </a:cubicBezTo>
                <a:cubicBezTo>
                  <a:pt x="2173" y="2022"/>
                  <a:pt x="2172" y="2019"/>
                  <a:pt x="2173" y="2016"/>
                </a:cubicBezTo>
                <a:cubicBezTo>
                  <a:pt x="2174" y="2013"/>
                  <a:pt x="2174" y="2010"/>
                  <a:pt x="2174" y="2007"/>
                </a:cubicBezTo>
                <a:cubicBezTo>
                  <a:pt x="2174" y="2006"/>
                  <a:pt x="2174" y="2005"/>
                  <a:pt x="2174" y="2004"/>
                </a:cubicBezTo>
                <a:cubicBezTo>
                  <a:pt x="2174" y="2002"/>
                  <a:pt x="2174" y="2001"/>
                  <a:pt x="2174" y="2000"/>
                </a:cubicBezTo>
                <a:cubicBezTo>
                  <a:pt x="2174" y="1999"/>
                  <a:pt x="2173" y="1999"/>
                  <a:pt x="2173" y="1998"/>
                </a:cubicBezTo>
                <a:cubicBezTo>
                  <a:pt x="2173" y="1996"/>
                  <a:pt x="2172" y="1995"/>
                  <a:pt x="2172" y="1993"/>
                </a:cubicBezTo>
                <a:cubicBezTo>
                  <a:pt x="2171" y="1992"/>
                  <a:pt x="2170" y="1991"/>
                  <a:pt x="2170" y="1989"/>
                </a:cubicBezTo>
                <a:cubicBezTo>
                  <a:pt x="2169" y="1988"/>
                  <a:pt x="2168" y="1987"/>
                  <a:pt x="2167" y="1985"/>
                </a:cubicBezTo>
                <a:cubicBezTo>
                  <a:pt x="2166" y="1984"/>
                  <a:pt x="2164" y="1983"/>
                  <a:pt x="2163" y="1982"/>
                </a:cubicBezTo>
                <a:cubicBezTo>
                  <a:pt x="2161" y="1981"/>
                  <a:pt x="2160" y="1980"/>
                  <a:pt x="2158" y="1979"/>
                </a:cubicBezTo>
                <a:cubicBezTo>
                  <a:pt x="2157" y="1978"/>
                  <a:pt x="2156" y="1977"/>
                  <a:pt x="2155" y="1976"/>
                </a:cubicBezTo>
                <a:cubicBezTo>
                  <a:pt x="2154" y="1975"/>
                  <a:pt x="2154" y="1973"/>
                  <a:pt x="2153" y="1972"/>
                </a:cubicBezTo>
                <a:cubicBezTo>
                  <a:pt x="2152" y="1971"/>
                  <a:pt x="2151" y="1970"/>
                  <a:pt x="2149" y="1970"/>
                </a:cubicBezTo>
                <a:cubicBezTo>
                  <a:pt x="2148" y="1969"/>
                  <a:pt x="2147" y="1968"/>
                  <a:pt x="2146" y="1968"/>
                </a:cubicBezTo>
                <a:cubicBezTo>
                  <a:pt x="2145" y="1967"/>
                  <a:pt x="2144" y="1966"/>
                  <a:pt x="2143" y="1965"/>
                </a:cubicBezTo>
                <a:cubicBezTo>
                  <a:pt x="2142" y="1964"/>
                  <a:pt x="2142" y="1964"/>
                  <a:pt x="2141" y="1963"/>
                </a:cubicBezTo>
                <a:cubicBezTo>
                  <a:pt x="2141" y="1963"/>
                  <a:pt x="2140" y="1962"/>
                  <a:pt x="2139" y="1962"/>
                </a:cubicBezTo>
                <a:cubicBezTo>
                  <a:pt x="2139" y="1961"/>
                  <a:pt x="2139" y="1960"/>
                  <a:pt x="2138" y="1960"/>
                </a:cubicBezTo>
                <a:cubicBezTo>
                  <a:pt x="2138" y="1959"/>
                  <a:pt x="2137" y="1958"/>
                  <a:pt x="2137" y="1958"/>
                </a:cubicBezTo>
                <a:cubicBezTo>
                  <a:pt x="2136" y="1957"/>
                  <a:pt x="2135" y="1956"/>
                  <a:pt x="2134" y="1956"/>
                </a:cubicBezTo>
                <a:cubicBezTo>
                  <a:pt x="2134" y="1955"/>
                  <a:pt x="2133" y="1955"/>
                  <a:pt x="2132" y="1955"/>
                </a:cubicBezTo>
                <a:cubicBezTo>
                  <a:pt x="2131" y="1955"/>
                  <a:pt x="2131" y="1956"/>
                  <a:pt x="2130" y="1956"/>
                </a:cubicBezTo>
                <a:cubicBezTo>
                  <a:pt x="2129" y="1958"/>
                  <a:pt x="2126" y="1957"/>
                  <a:pt x="2125" y="1956"/>
                </a:cubicBezTo>
                <a:cubicBezTo>
                  <a:pt x="2124" y="1955"/>
                  <a:pt x="2123" y="1954"/>
                  <a:pt x="2122" y="1953"/>
                </a:cubicBezTo>
                <a:cubicBezTo>
                  <a:pt x="2121" y="1952"/>
                  <a:pt x="2120" y="1951"/>
                  <a:pt x="2119" y="1950"/>
                </a:cubicBezTo>
                <a:cubicBezTo>
                  <a:pt x="2118" y="1950"/>
                  <a:pt x="2117" y="1950"/>
                  <a:pt x="2116" y="1948"/>
                </a:cubicBezTo>
                <a:cubicBezTo>
                  <a:pt x="2115" y="1947"/>
                  <a:pt x="2115" y="1946"/>
                  <a:pt x="2115" y="1944"/>
                </a:cubicBezTo>
                <a:cubicBezTo>
                  <a:pt x="2115" y="1943"/>
                  <a:pt x="2114" y="1942"/>
                  <a:pt x="2114" y="1941"/>
                </a:cubicBezTo>
                <a:cubicBezTo>
                  <a:pt x="2113" y="1939"/>
                  <a:pt x="2114" y="1938"/>
                  <a:pt x="2113" y="1937"/>
                </a:cubicBezTo>
                <a:cubicBezTo>
                  <a:pt x="2113" y="1936"/>
                  <a:pt x="2113" y="1935"/>
                  <a:pt x="2112" y="1935"/>
                </a:cubicBezTo>
                <a:cubicBezTo>
                  <a:pt x="2112" y="1934"/>
                  <a:pt x="2112" y="1933"/>
                  <a:pt x="2111" y="1932"/>
                </a:cubicBezTo>
                <a:cubicBezTo>
                  <a:pt x="2111" y="1931"/>
                  <a:pt x="2110" y="1929"/>
                  <a:pt x="2110" y="1928"/>
                </a:cubicBezTo>
                <a:cubicBezTo>
                  <a:pt x="2110" y="1927"/>
                  <a:pt x="2110" y="1927"/>
                  <a:pt x="2109" y="1926"/>
                </a:cubicBezTo>
                <a:cubicBezTo>
                  <a:pt x="2109" y="1925"/>
                  <a:pt x="2108" y="1925"/>
                  <a:pt x="2108" y="1924"/>
                </a:cubicBezTo>
                <a:cubicBezTo>
                  <a:pt x="2107" y="1923"/>
                  <a:pt x="2107" y="1921"/>
                  <a:pt x="2107" y="1920"/>
                </a:cubicBezTo>
                <a:cubicBezTo>
                  <a:pt x="2105" y="1918"/>
                  <a:pt x="2104" y="1915"/>
                  <a:pt x="2103" y="1913"/>
                </a:cubicBezTo>
                <a:cubicBezTo>
                  <a:pt x="2103" y="1912"/>
                  <a:pt x="2103" y="1911"/>
                  <a:pt x="2103" y="1911"/>
                </a:cubicBezTo>
                <a:cubicBezTo>
                  <a:pt x="2102" y="1910"/>
                  <a:pt x="2102" y="1909"/>
                  <a:pt x="2101" y="1909"/>
                </a:cubicBezTo>
                <a:cubicBezTo>
                  <a:pt x="2100" y="1908"/>
                  <a:pt x="2100" y="1907"/>
                  <a:pt x="2098" y="1908"/>
                </a:cubicBezTo>
                <a:cubicBezTo>
                  <a:pt x="2098" y="1908"/>
                  <a:pt x="2098" y="1909"/>
                  <a:pt x="2097" y="1909"/>
                </a:cubicBezTo>
                <a:cubicBezTo>
                  <a:pt x="2096" y="1909"/>
                  <a:pt x="2096" y="1909"/>
                  <a:pt x="2095" y="1909"/>
                </a:cubicBezTo>
                <a:cubicBezTo>
                  <a:pt x="2094" y="1910"/>
                  <a:pt x="2094" y="1909"/>
                  <a:pt x="2093" y="1909"/>
                </a:cubicBezTo>
                <a:cubicBezTo>
                  <a:pt x="2092" y="1909"/>
                  <a:pt x="2092" y="1910"/>
                  <a:pt x="2091" y="1909"/>
                </a:cubicBezTo>
                <a:cubicBezTo>
                  <a:pt x="2090" y="1909"/>
                  <a:pt x="2090" y="1908"/>
                  <a:pt x="2091" y="1908"/>
                </a:cubicBezTo>
                <a:cubicBezTo>
                  <a:pt x="2091" y="1907"/>
                  <a:pt x="2092" y="1908"/>
                  <a:pt x="2092" y="1907"/>
                </a:cubicBezTo>
                <a:cubicBezTo>
                  <a:pt x="2093" y="1906"/>
                  <a:pt x="2091" y="1905"/>
                  <a:pt x="2091" y="1904"/>
                </a:cubicBezTo>
                <a:cubicBezTo>
                  <a:pt x="2090" y="1903"/>
                  <a:pt x="2090" y="1902"/>
                  <a:pt x="2090" y="1902"/>
                </a:cubicBezTo>
                <a:cubicBezTo>
                  <a:pt x="2090" y="1901"/>
                  <a:pt x="2090" y="1901"/>
                  <a:pt x="2089" y="1900"/>
                </a:cubicBezTo>
                <a:cubicBezTo>
                  <a:pt x="2089" y="1898"/>
                  <a:pt x="2090" y="1897"/>
                  <a:pt x="2090" y="1895"/>
                </a:cubicBezTo>
                <a:cubicBezTo>
                  <a:pt x="2090" y="1893"/>
                  <a:pt x="2090" y="1891"/>
                  <a:pt x="2090" y="1889"/>
                </a:cubicBezTo>
                <a:cubicBezTo>
                  <a:pt x="2090" y="1889"/>
                  <a:pt x="2090" y="1888"/>
                  <a:pt x="2090" y="1887"/>
                </a:cubicBezTo>
                <a:cubicBezTo>
                  <a:pt x="2090" y="1887"/>
                  <a:pt x="2091" y="1886"/>
                  <a:pt x="2091" y="1885"/>
                </a:cubicBezTo>
                <a:cubicBezTo>
                  <a:pt x="2092" y="1884"/>
                  <a:pt x="2092" y="1883"/>
                  <a:pt x="2092" y="1881"/>
                </a:cubicBezTo>
                <a:cubicBezTo>
                  <a:pt x="2093" y="1880"/>
                  <a:pt x="2094" y="1880"/>
                  <a:pt x="2094" y="1879"/>
                </a:cubicBezTo>
                <a:cubicBezTo>
                  <a:pt x="2095" y="1878"/>
                  <a:pt x="2095" y="1877"/>
                  <a:pt x="2095" y="1876"/>
                </a:cubicBezTo>
                <a:cubicBezTo>
                  <a:pt x="2096" y="1875"/>
                  <a:pt x="2096" y="1874"/>
                  <a:pt x="2096" y="1873"/>
                </a:cubicBezTo>
                <a:cubicBezTo>
                  <a:pt x="2097" y="1872"/>
                  <a:pt x="2098" y="1871"/>
                  <a:pt x="2098" y="1870"/>
                </a:cubicBezTo>
                <a:cubicBezTo>
                  <a:pt x="2099" y="1869"/>
                  <a:pt x="2099" y="1868"/>
                  <a:pt x="2100" y="1866"/>
                </a:cubicBezTo>
                <a:cubicBezTo>
                  <a:pt x="2100" y="1865"/>
                  <a:pt x="2101" y="1864"/>
                  <a:pt x="2102" y="1862"/>
                </a:cubicBezTo>
                <a:cubicBezTo>
                  <a:pt x="2102" y="1861"/>
                  <a:pt x="2103" y="1860"/>
                  <a:pt x="2103" y="1858"/>
                </a:cubicBezTo>
                <a:cubicBezTo>
                  <a:pt x="2104" y="1857"/>
                  <a:pt x="2104" y="1856"/>
                  <a:pt x="2105" y="1854"/>
                </a:cubicBezTo>
                <a:cubicBezTo>
                  <a:pt x="2105" y="1853"/>
                  <a:pt x="2106" y="1852"/>
                  <a:pt x="2106" y="1851"/>
                </a:cubicBezTo>
                <a:cubicBezTo>
                  <a:pt x="2107" y="1850"/>
                  <a:pt x="2106" y="1849"/>
                  <a:pt x="2106" y="1847"/>
                </a:cubicBezTo>
                <a:cubicBezTo>
                  <a:pt x="2106" y="1847"/>
                  <a:pt x="2106" y="1846"/>
                  <a:pt x="2106" y="1845"/>
                </a:cubicBezTo>
                <a:cubicBezTo>
                  <a:pt x="2105" y="1845"/>
                  <a:pt x="2105" y="1844"/>
                  <a:pt x="2105" y="1844"/>
                </a:cubicBezTo>
                <a:cubicBezTo>
                  <a:pt x="2104" y="1842"/>
                  <a:pt x="2105" y="1841"/>
                  <a:pt x="2106" y="1839"/>
                </a:cubicBezTo>
                <a:cubicBezTo>
                  <a:pt x="2106" y="1839"/>
                  <a:pt x="2106" y="1838"/>
                  <a:pt x="2107" y="1837"/>
                </a:cubicBezTo>
                <a:cubicBezTo>
                  <a:pt x="2107" y="1836"/>
                  <a:pt x="2107" y="1836"/>
                  <a:pt x="2108" y="1836"/>
                </a:cubicBezTo>
                <a:cubicBezTo>
                  <a:pt x="2108" y="1835"/>
                  <a:pt x="2108" y="1833"/>
                  <a:pt x="2108" y="1832"/>
                </a:cubicBezTo>
                <a:cubicBezTo>
                  <a:pt x="2107" y="1832"/>
                  <a:pt x="2106" y="1831"/>
                  <a:pt x="2106" y="1830"/>
                </a:cubicBezTo>
                <a:cubicBezTo>
                  <a:pt x="2106" y="1830"/>
                  <a:pt x="2106" y="1829"/>
                  <a:pt x="2106" y="1828"/>
                </a:cubicBezTo>
                <a:cubicBezTo>
                  <a:pt x="2106" y="1827"/>
                  <a:pt x="2107" y="1828"/>
                  <a:pt x="2108" y="1827"/>
                </a:cubicBezTo>
                <a:cubicBezTo>
                  <a:pt x="2108" y="1827"/>
                  <a:pt x="2109" y="1827"/>
                  <a:pt x="2109" y="1826"/>
                </a:cubicBezTo>
                <a:cubicBezTo>
                  <a:pt x="2110" y="1825"/>
                  <a:pt x="2112" y="1826"/>
                  <a:pt x="2113" y="1826"/>
                </a:cubicBezTo>
                <a:cubicBezTo>
                  <a:pt x="2114" y="1825"/>
                  <a:pt x="2115" y="1824"/>
                  <a:pt x="2116" y="1824"/>
                </a:cubicBezTo>
                <a:cubicBezTo>
                  <a:pt x="2117" y="1823"/>
                  <a:pt x="2118" y="1823"/>
                  <a:pt x="2118" y="1823"/>
                </a:cubicBezTo>
                <a:cubicBezTo>
                  <a:pt x="2119" y="1823"/>
                  <a:pt x="2119" y="1824"/>
                  <a:pt x="2119" y="1824"/>
                </a:cubicBezTo>
                <a:cubicBezTo>
                  <a:pt x="2120" y="1825"/>
                  <a:pt x="2121" y="1825"/>
                  <a:pt x="2121" y="1825"/>
                </a:cubicBezTo>
                <a:cubicBezTo>
                  <a:pt x="2122" y="1825"/>
                  <a:pt x="2122" y="1825"/>
                  <a:pt x="2123" y="1826"/>
                </a:cubicBezTo>
                <a:cubicBezTo>
                  <a:pt x="2124" y="1826"/>
                  <a:pt x="2125" y="1826"/>
                  <a:pt x="2125" y="1826"/>
                </a:cubicBezTo>
                <a:cubicBezTo>
                  <a:pt x="2125" y="1827"/>
                  <a:pt x="2125" y="1828"/>
                  <a:pt x="2125" y="1828"/>
                </a:cubicBezTo>
                <a:cubicBezTo>
                  <a:pt x="2125" y="1830"/>
                  <a:pt x="2124" y="1831"/>
                  <a:pt x="2123" y="1832"/>
                </a:cubicBezTo>
                <a:cubicBezTo>
                  <a:pt x="2123" y="1834"/>
                  <a:pt x="2123" y="1835"/>
                  <a:pt x="2123" y="1837"/>
                </a:cubicBezTo>
                <a:cubicBezTo>
                  <a:pt x="2123" y="1838"/>
                  <a:pt x="2122" y="1839"/>
                  <a:pt x="2122" y="1841"/>
                </a:cubicBezTo>
                <a:cubicBezTo>
                  <a:pt x="2122" y="1843"/>
                  <a:pt x="2124" y="1842"/>
                  <a:pt x="2125" y="1842"/>
                </a:cubicBezTo>
                <a:cubicBezTo>
                  <a:pt x="2128" y="1841"/>
                  <a:pt x="2131" y="1842"/>
                  <a:pt x="2134" y="1842"/>
                </a:cubicBezTo>
                <a:cubicBezTo>
                  <a:pt x="2136" y="1842"/>
                  <a:pt x="2137" y="1842"/>
                  <a:pt x="2138" y="1841"/>
                </a:cubicBezTo>
                <a:cubicBezTo>
                  <a:pt x="2139" y="1841"/>
                  <a:pt x="2141" y="1840"/>
                  <a:pt x="2142" y="1842"/>
                </a:cubicBezTo>
                <a:cubicBezTo>
                  <a:pt x="2143" y="1843"/>
                  <a:pt x="2143" y="1844"/>
                  <a:pt x="2144" y="1844"/>
                </a:cubicBezTo>
                <a:cubicBezTo>
                  <a:pt x="2145" y="1845"/>
                  <a:pt x="2146" y="1846"/>
                  <a:pt x="2147" y="1847"/>
                </a:cubicBezTo>
                <a:cubicBezTo>
                  <a:pt x="2148" y="1847"/>
                  <a:pt x="2148" y="1847"/>
                  <a:pt x="2149" y="1848"/>
                </a:cubicBezTo>
                <a:cubicBezTo>
                  <a:pt x="2149" y="1848"/>
                  <a:pt x="2150" y="1848"/>
                  <a:pt x="2151" y="1848"/>
                </a:cubicBezTo>
                <a:cubicBezTo>
                  <a:pt x="2152" y="1849"/>
                  <a:pt x="2149" y="1851"/>
                  <a:pt x="2151" y="1851"/>
                </a:cubicBezTo>
                <a:cubicBezTo>
                  <a:pt x="2152" y="1852"/>
                  <a:pt x="2153" y="1851"/>
                  <a:pt x="2154" y="1852"/>
                </a:cubicBezTo>
                <a:cubicBezTo>
                  <a:pt x="2154" y="1853"/>
                  <a:pt x="2155" y="1853"/>
                  <a:pt x="2156" y="1854"/>
                </a:cubicBezTo>
                <a:cubicBezTo>
                  <a:pt x="2157" y="1855"/>
                  <a:pt x="2159" y="1854"/>
                  <a:pt x="2160" y="1854"/>
                </a:cubicBezTo>
                <a:cubicBezTo>
                  <a:pt x="2161" y="1855"/>
                  <a:pt x="2161" y="1856"/>
                  <a:pt x="2161" y="1857"/>
                </a:cubicBezTo>
                <a:cubicBezTo>
                  <a:pt x="2161" y="1858"/>
                  <a:pt x="2162" y="1859"/>
                  <a:pt x="2162" y="1859"/>
                </a:cubicBezTo>
                <a:cubicBezTo>
                  <a:pt x="2162" y="1860"/>
                  <a:pt x="2162" y="1861"/>
                  <a:pt x="2163" y="1862"/>
                </a:cubicBezTo>
                <a:cubicBezTo>
                  <a:pt x="2163" y="1862"/>
                  <a:pt x="2164" y="1862"/>
                  <a:pt x="2165" y="1863"/>
                </a:cubicBezTo>
                <a:cubicBezTo>
                  <a:pt x="2165" y="1864"/>
                  <a:pt x="2168" y="1866"/>
                  <a:pt x="2167" y="1868"/>
                </a:cubicBezTo>
                <a:cubicBezTo>
                  <a:pt x="2166" y="1868"/>
                  <a:pt x="2165" y="1868"/>
                  <a:pt x="2165" y="1868"/>
                </a:cubicBezTo>
                <a:cubicBezTo>
                  <a:pt x="2163" y="1868"/>
                  <a:pt x="2165" y="1869"/>
                  <a:pt x="2165" y="1869"/>
                </a:cubicBezTo>
                <a:cubicBezTo>
                  <a:pt x="2166" y="1870"/>
                  <a:pt x="2165" y="1872"/>
                  <a:pt x="2166" y="1873"/>
                </a:cubicBezTo>
                <a:cubicBezTo>
                  <a:pt x="2166" y="1874"/>
                  <a:pt x="2166" y="1874"/>
                  <a:pt x="2167" y="1874"/>
                </a:cubicBezTo>
                <a:cubicBezTo>
                  <a:pt x="2167" y="1875"/>
                  <a:pt x="2167" y="1876"/>
                  <a:pt x="2167" y="1876"/>
                </a:cubicBezTo>
                <a:cubicBezTo>
                  <a:pt x="2168" y="1877"/>
                  <a:pt x="2169" y="1877"/>
                  <a:pt x="2169" y="1877"/>
                </a:cubicBezTo>
                <a:cubicBezTo>
                  <a:pt x="2172" y="1879"/>
                  <a:pt x="2174" y="1876"/>
                  <a:pt x="2175" y="1874"/>
                </a:cubicBezTo>
                <a:cubicBezTo>
                  <a:pt x="2175" y="1873"/>
                  <a:pt x="2176" y="1873"/>
                  <a:pt x="2176" y="1872"/>
                </a:cubicBezTo>
                <a:cubicBezTo>
                  <a:pt x="2178" y="1873"/>
                  <a:pt x="2176" y="1875"/>
                  <a:pt x="2176" y="1876"/>
                </a:cubicBezTo>
                <a:cubicBezTo>
                  <a:pt x="2176" y="1877"/>
                  <a:pt x="2178" y="1878"/>
                  <a:pt x="2178" y="1879"/>
                </a:cubicBezTo>
                <a:cubicBezTo>
                  <a:pt x="2178" y="1880"/>
                  <a:pt x="2177" y="1880"/>
                  <a:pt x="2177" y="1880"/>
                </a:cubicBezTo>
                <a:cubicBezTo>
                  <a:pt x="2176" y="1881"/>
                  <a:pt x="2176" y="1882"/>
                  <a:pt x="2176" y="1882"/>
                </a:cubicBezTo>
                <a:cubicBezTo>
                  <a:pt x="2176" y="1884"/>
                  <a:pt x="2179" y="1883"/>
                  <a:pt x="2180" y="1883"/>
                </a:cubicBezTo>
                <a:cubicBezTo>
                  <a:pt x="2182" y="1883"/>
                  <a:pt x="2185" y="1882"/>
                  <a:pt x="2187" y="1883"/>
                </a:cubicBezTo>
                <a:cubicBezTo>
                  <a:pt x="2188" y="1884"/>
                  <a:pt x="2189" y="1884"/>
                  <a:pt x="2191" y="1884"/>
                </a:cubicBezTo>
                <a:cubicBezTo>
                  <a:pt x="2191" y="1885"/>
                  <a:pt x="2192" y="1885"/>
                  <a:pt x="2192" y="1886"/>
                </a:cubicBezTo>
                <a:cubicBezTo>
                  <a:pt x="2192" y="1886"/>
                  <a:pt x="2193" y="1887"/>
                  <a:pt x="2193" y="1887"/>
                </a:cubicBezTo>
                <a:cubicBezTo>
                  <a:pt x="2194" y="1888"/>
                  <a:pt x="2194" y="1889"/>
                  <a:pt x="2195" y="1890"/>
                </a:cubicBezTo>
                <a:cubicBezTo>
                  <a:pt x="2196" y="1891"/>
                  <a:pt x="2197" y="1892"/>
                  <a:pt x="2198" y="1893"/>
                </a:cubicBezTo>
                <a:cubicBezTo>
                  <a:pt x="2199" y="1893"/>
                  <a:pt x="2206" y="1893"/>
                  <a:pt x="2205" y="1896"/>
                </a:cubicBezTo>
                <a:cubicBezTo>
                  <a:pt x="2205" y="1897"/>
                  <a:pt x="2204" y="1897"/>
                  <a:pt x="2203" y="1897"/>
                </a:cubicBezTo>
                <a:cubicBezTo>
                  <a:pt x="2203" y="1897"/>
                  <a:pt x="2202" y="1898"/>
                  <a:pt x="2202" y="1899"/>
                </a:cubicBezTo>
                <a:cubicBezTo>
                  <a:pt x="2202" y="1900"/>
                  <a:pt x="2201" y="1900"/>
                  <a:pt x="2201" y="1901"/>
                </a:cubicBezTo>
                <a:cubicBezTo>
                  <a:pt x="2200" y="1904"/>
                  <a:pt x="2201" y="1908"/>
                  <a:pt x="2201" y="1912"/>
                </a:cubicBezTo>
                <a:cubicBezTo>
                  <a:pt x="2201" y="1913"/>
                  <a:pt x="2200" y="1914"/>
                  <a:pt x="2200" y="1916"/>
                </a:cubicBezTo>
                <a:cubicBezTo>
                  <a:pt x="2200" y="1917"/>
                  <a:pt x="2200" y="1917"/>
                  <a:pt x="2200" y="1918"/>
                </a:cubicBezTo>
                <a:cubicBezTo>
                  <a:pt x="2201" y="1919"/>
                  <a:pt x="2201" y="1919"/>
                  <a:pt x="2201" y="1920"/>
                </a:cubicBezTo>
                <a:cubicBezTo>
                  <a:pt x="2202" y="1922"/>
                  <a:pt x="2199" y="1921"/>
                  <a:pt x="2199" y="1922"/>
                </a:cubicBezTo>
                <a:cubicBezTo>
                  <a:pt x="2199" y="1924"/>
                  <a:pt x="2202" y="1922"/>
                  <a:pt x="2203" y="1922"/>
                </a:cubicBezTo>
                <a:cubicBezTo>
                  <a:pt x="2204" y="1922"/>
                  <a:pt x="2206" y="1922"/>
                  <a:pt x="2207" y="1921"/>
                </a:cubicBezTo>
                <a:cubicBezTo>
                  <a:pt x="2209" y="1921"/>
                  <a:pt x="2210" y="1920"/>
                  <a:pt x="2211" y="1918"/>
                </a:cubicBezTo>
                <a:cubicBezTo>
                  <a:pt x="2212" y="1917"/>
                  <a:pt x="2213" y="1915"/>
                  <a:pt x="2214" y="1914"/>
                </a:cubicBezTo>
                <a:cubicBezTo>
                  <a:pt x="2214" y="1913"/>
                  <a:pt x="2215" y="1912"/>
                  <a:pt x="2216" y="1912"/>
                </a:cubicBezTo>
                <a:cubicBezTo>
                  <a:pt x="2218" y="1910"/>
                  <a:pt x="2221" y="1911"/>
                  <a:pt x="2223" y="1909"/>
                </a:cubicBezTo>
                <a:cubicBezTo>
                  <a:pt x="2223" y="1909"/>
                  <a:pt x="2224" y="1908"/>
                  <a:pt x="2224" y="1908"/>
                </a:cubicBezTo>
                <a:cubicBezTo>
                  <a:pt x="2225" y="1908"/>
                  <a:pt x="2225" y="1908"/>
                  <a:pt x="2226" y="1907"/>
                </a:cubicBezTo>
                <a:cubicBezTo>
                  <a:pt x="2227" y="1907"/>
                  <a:pt x="2227" y="1906"/>
                  <a:pt x="2227" y="1906"/>
                </a:cubicBezTo>
                <a:cubicBezTo>
                  <a:pt x="2227" y="1905"/>
                  <a:pt x="2227" y="1905"/>
                  <a:pt x="2226" y="1904"/>
                </a:cubicBezTo>
                <a:cubicBezTo>
                  <a:pt x="2225" y="1903"/>
                  <a:pt x="2226" y="1901"/>
                  <a:pt x="2225" y="1900"/>
                </a:cubicBezTo>
                <a:cubicBezTo>
                  <a:pt x="2224" y="1900"/>
                  <a:pt x="2222" y="1898"/>
                  <a:pt x="2224" y="1897"/>
                </a:cubicBezTo>
                <a:cubicBezTo>
                  <a:pt x="2224" y="1897"/>
                  <a:pt x="2225" y="1899"/>
                  <a:pt x="2226" y="1900"/>
                </a:cubicBezTo>
                <a:cubicBezTo>
                  <a:pt x="2227" y="1900"/>
                  <a:pt x="2227" y="1900"/>
                  <a:pt x="2228" y="1901"/>
                </a:cubicBezTo>
                <a:cubicBezTo>
                  <a:pt x="2228" y="1901"/>
                  <a:pt x="2229" y="1902"/>
                  <a:pt x="2229" y="1902"/>
                </a:cubicBezTo>
                <a:cubicBezTo>
                  <a:pt x="2230" y="1903"/>
                  <a:pt x="2231" y="1904"/>
                  <a:pt x="2232" y="1903"/>
                </a:cubicBezTo>
                <a:cubicBezTo>
                  <a:pt x="2233" y="1903"/>
                  <a:pt x="2235" y="1903"/>
                  <a:pt x="2235" y="1903"/>
                </a:cubicBezTo>
                <a:cubicBezTo>
                  <a:pt x="2236" y="1902"/>
                  <a:pt x="2236" y="1901"/>
                  <a:pt x="2236" y="1900"/>
                </a:cubicBezTo>
                <a:cubicBezTo>
                  <a:pt x="2235" y="1899"/>
                  <a:pt x="2233" y="1898"/>
                  <a:pt x="2234" y="1897"/>
                </a:cubicBezTo>
                <a:cubicBezTo>
                  <a:pt x="2235" y="1897"/>
                  <a:pt x="2235" y="1899"/>
                  <a:pt x="2236" y="1899"/>
                </a:cubicBezTo>
                <a:cubicBezTo>
                  <a:pt x="2236" y="1899"/>
                  <a:pt x="2237" y="1898"/>
                  <a:pt x="2237" y="1898"/>
                </a:cubicBezTo>
                <a:cubicBezTo>
                  <a:pt x="2237" y="1898"/>
                  <a:pt x="2237" y="1898"/>
                  <a:pt x="2238" y="1898"/>
                </a:cubicBezTo>
                <a:cubicBezTo>
                  <a:pt x="2238" y="1898"/>
                  <a:pt x="2238" y="1898"/>
                  <a:pt x="2238" y="1897"/>
                </a:cubicBezTo>
                <a:cubicBezTo>
                  <a:pt x="2237" y="1896"/>
                  <a:pt x="2237" y="1895"/>
                  <a:pt x="2237" y="1893"/>
                </a:cubicBezTo>
                <a:cubicBezTo>
                  <a:pt x="2237" y="1893"/>
                  <a:pt x="2237" y="1892"/>
                  <a:pt x="2238" y="1892"/>
                </a:cubicBezTo>
                <a:cubicBezTo>
                  <a:pt x="2238" y="1891"/>
                  <a:pt x="2239" y="1891"/>
                  <a:pt x="2239" y="1890"/>
                </a:cubicBezTo>
                <a:cubicBezTo>
                  <a:pt x="2239" y="1890"/>
                  <a:pt x="2238" y="1890"/>
                  <a:pt x="2237" y="1890"/>
                </a:cubicBezTo>
                <a:cubicBezTo>
                  <a:pt x="2236" y="1890"/>
                  <a:pt x="2237" y="1889"/>
                  <a:pt x="2237" y="1889"/>
                </a:cubicBezTo>
                <a:cubicBezTo>
                  <a:pt x="2238" y="1889"/>
                  <a:pt x="2241" y="1890"/>
                  <a:pt x="2240" y="1888"/>
                </a:cubicBezTo>
                <a:cubicBezTo>
                  <a:pt x="2239" y="1888"/>
                  <a:pt x="2239" y="1887"/>
                  <a:pt x="2239" y="1887"/>
                </a:cubicBezTo>
                <a:cubicBezTo>
                  <a:pt x="2238" y="1886"/>
                  <a:pt x="2238" y="1887"/>
                  <a:pt x="2238" y="1886"/>
                </a:cubicBezTo>
                <a:cubicBezTo>
                  <a:pt x="2237" y="1885"/>
                  <a:pt x="2239" y="1884"/>
                  <a:pt x="2240" y="1884"/>
                </a:cubicBezTo>
                <a:cubicBezTo>
                  <a:pt x="2240" y="1885"/>
                  <a:pt x="2240" y="1888"/>
                  <a:pt x="2241" y="1887"/>
                </a:cubicBezTo>
                <a:cubicBezTo>
                  <a:pt x="2242" y="1886"/>
                  <a:pt x="2241" y="1883"/>
                  <a:pt x="2242" y="1883"/>
                </a:cubicBezTo>
                <a:cubicBezTo>
                  <a:pt x="2243" y="1883"/>
                  <a:pt x="2243" y="1884"/>
                  <a:pt x="2243" y="1885"/>
                </a:cubicBezTo>
                <a:cubicBezTo>
                  <a:pt x="2244" y="1885"/>
                  <a:pt x="2244" y="1885"/>
                  <a:pt x="2245" y="1886"/>
                </a:cubicBezTo>
                <a:cubicBezTo>
                  <a:pt x="2246" y="1887"/>
                  <a:pt x="2245" y="1888"/>
                  <a:pt x="2247" y="1888"/>
                </a:cubicBezTo>
                <a:cubicBezTo>
                  <a:pt x="2248" y="1888"/>
                  <a:pt x="2249" y="1887"/>
                  <a:pt x="2251" y="1886"/>
                </a:cubicBezTo>
                <a:cubicBezTo>
                  <a:pt x="2252" y="1886"/>
                  <a:pt x="2254" y="1885"/>
                  <a:pt x="2255" y="1884"/>
                </a:cubicBezTo>
                <a:cubicBezTo>
                  <a:pt x="2256" y="1883"/>
                  <a:pt x="2257" y="1882"/>
                  <a:pt x="2259" y="1881"/>
                </a:cubicBezTo>
                <a:cubicBezTo>
                  <a:pt x="2260" y="1881"/>
                  <a:pt x="2262" y="1880"/>
                  <a:pt x="2263" y="1880"/>
                </a:cubicBezTo>
                <a:cubicBezTo>
                  <a:pt x="2265" y="1879"/>
                  <a:pt x="2266" y="1877"/>
                  <a:pt x="2268" y="1876"/>
                </a:cubicBezTo>
                <a:cubicBezTo>
                  <a:pt x="2270" y="1875"/>
                  <a:pt x="2271" y="1875"/>
                  <a:pt x="2273" y="1874"/>
                </a:cubicBezTo>
                <a:cubicBezTo>
                  <a:pt x="2274" y="1873"/>
                  <a:pt x="2275" y="1872"/>
                  <a:pt x="2276" y="1872"/>
                </a:cubicBezTo>
                <a:cubicBezTo>
                  <a:pt x="2277" y="1871"/>
                  <a:pt x="2278" y="1871"/>
                  <a:pt x="2279" y="1871"/>
                </a:cubicBezTo>
                <a:cubicBezTo>
                  <a:pt x="2280" y="1870"/>
                  <a:pt x="2281" y="1869"/>
                  <a:pt x="2282" y="1868"/>
                </a:cubicBezTo>
                <a:cubicBezTo>
                  <a:pt x="2283" y="1867"/>
                  <a:pt x="2283" y="1865"/>
                  <a:pt x="2284" y="1864"/>
                </a:cubicBezTo>
                <a:cubicBezTo>
                  <a:pt x="2285" y="1863"/>
                  <a:pt x="2287" y="1863"/>
                  <a:pt x="2287" y="1861"/>
                </a:cubicBezTo>
                <a:cubicBezTo>
                  <a:pt x="2288" y="1860"/>
                  <a:pt x="2287" y="1859"/>
                  <a:pt x="2286" y="1858"/>
                </a:cubicBezTo>
                <a:cubicBezTo>
                  <a:pt x="2286" y="1857"/>
                  <a:pt x="2285" y="1855"/>
                  <a:pt x="2286" y="1854"/>
                </a:cubicBezTo>
                <a:cubicBezTo>
                  <a:pt x="2287" y="1853"/>
                  <a:pt x="2287" y="1855"/>
                  <a:pt x="2287" y="1855"/>
                </a:cubicBezTo>
                <a:cubicBezTo>
                  <a:pt x="2288" y="1855"/>
                  <a:pt x="2288" y="1856"/>
                  <a:pt x="2288" y="1856"/>
                </a:cubicBezTo>
                <a:cubicBezTo>
                  <a:pt x="2288" y="1856"/>
                  <a:pt x="2288" y="1856"/>
                  <a:pt x="2288" y="1856"/>
                </a:cubicBezTo>
                <a:cubicBezTo>
                  <a:pt x="2288" y="1856"/>
                  <a:pt x="2288" y="1857"/>
                  <a:pt x="2288" y="1857"/>
                </a:cubicBezTo>
                <a:cubicBezTo>
                  <a:pt x="2289" y="1858"/>
                  <a:pt x="2289" y="1857"/>
                  <a:pt x="2289" y="1856"/>
                </a:cubicBezTo>
                <a:cubicBezTo>
                  <a:pt x="2289" y="1855"/>
                  <a:pt x="2288" y="1854"/>
                  <a:pt x="2288" y="1852"/>
                </a:cubicBezTo>
                <a:cubicBezTo>
                  <a:pt x="2288" y="1851"/>
                  <a:pt x="2289" y="1850"/>
                  <a:pt x="2288" y="1848"/>
                </a:cubicBezTo>
                <a:cubicBezTo>
                  <a:pt x="2287" y="1848"/>
                  <a:pt x="2287" y="1847"/>
                  <a:pt x="2287" y="1846"/>
                </a:cubicBezTo>
                <a:cubicBezTo>
                  <a:pt x="2288" y="1846"/>
                  <a:pt x="2288" y="1847"/>
                  <a:pt x="2289" y="1847"/>
                </a:cubicBezTo>
                <a:cubicBezTo>
                  <a:pt x="2290" y="1847"/>
                  <a:pt x="2290" y="1847"/>
                  <a:pt x="2290" y="1846"/>
                </a:cubicBezTo>
                <a:cubicBezTo>
                  <a:pt x="2289" y="1846"/>
                  <a:pt x="2289" y="1846"/>
                  <a:pt x="2289" y="1845"/>
                </a:cubicBezTo>
                <a:cubicBezTo>
                  <a:pt x="2289" y="1845"/>
                  <a:pt x="2289" y="1845"/>
                  <a:pt x="2289" y="1844"/>
                </a:cubicBezTo>
                <a:cubicBezTo>
                  <a:pt x="2288" y="1843"/>
                  <a:pt x="2287" y="1842"/>
                  <a:pt x="2288" y="1841"/>
                </a:cubicBezTo>
                <a:cubicBezTo>
                  <a:pt x="2289" y="1840"/>
                  <a:pt x="2289" y="1840"/>
                  <a:pt x="2290" y="1840"/>
                </a:cubicBezTo>
                <a:cubicBezTo>
                  <a:pt x="2290" y="1840"/>
                  <a:pt x="2290" y="1841"/>
                  <a:pt x="2291" y="1841"/>
                </a:cubicBezTo>
                <a:cubicBezTo>
                  <a:pt x="2291" y="1842"/>
                  <a:pt x="2291" y="1842"/>
                  <a:pt x="2291" y="1843"/>
                </a:cubicBezTo>
                <a:cubicBezTo>
                  <a:pt x="2292" y="1844"/>
                  <a:pt x="2292" y="1844"/>
                  <a:pt x="2292" y="1843"/>
                </a:cubicBezTo>
                <a:cubicBezTo>
                  <a:pt x="2293" y="1842"/>
                  <a:pt x="2291" y="1840"/>
                  <a:pt x="2291" y="1839"/>
                </a:cubicBezTo>
                <a:cubicBezTo>
                  <a:pt x="2291" y="1837"/>
                  <a:pt x="2293" y="1838"/>
                  <a:pt x="2293" y="1836"/>
                </a:cubicBezTo>
                <a:cubicBezTo>
                  <a:pt x="2292" y="1835"/>
                  <a:pt x="2292" y="1835"/>
                  <a:pt x="2292" y="1834"/>
                </a:cubicBezTo>
                <a:cubicBezTo>
                  <a:pt x="2292" y="1834"/>
                  <a:pt x="2291" y="1833"/>
                  <a:pt x="2291" y="1832"/>
                </a:cubicBezTo>
                <a:cubicBezTo>
                  <a:pt x="2291" y="1831"/>
                  <a:pt x="2290" y="1830"/>
                  <a:pt x="2290" y="1829"/>
                </a:cubicBezTo>
                <a:cubicBezTo>
                  <a:pt x="2290" y="1828"/>
                  <a:pt x="2290" y="1827"/>
                  <a:pt x="2289" y="1826"/>
                </a:cubicBezTo>
                <a:cubicBezTo>
                  <a:pt x="2288" y="1824"/>
                  <a:pt x="2288" y="1823"/>
                  <a:pt x="2288" y="1822"/>
                </a:cubicBezTo>
                <a:cubicBezTo>
                  <a:pt x="2288" y="1820"/>
                  <a:pt x="2289" y="1819"/>
                  <a:pt x="2289" y="1818"/>
                </a:cubicBezTo>
                <a:cubicBezTo>
                  <a:pt x="2289" y="1816"/>
                  <a:pt x="2289" y="1815"/>
                  <a:pt x="2289" y="1813"/>
                </a:cubicBezTo>
                <a:cubicBezTo>
                  <a:pt x="2288" y="1813"/>
                  <a:pt x="2288" y="1812"/>
                  <a:pt x="2288" y="1811"/>
                </a:cubicBezTo>
                <a:cubicBezTo>
                  <a:pt x="2288" y="1810"/>
                  <a:pt x="2288" y="1809"/>
                  <a:pt x="2287" y="1808"/>
                </a:cubicBezTo>
                <a:cubicBezTo>
                  <a:pt x="2287" y="1807"/>
                  <a:pt x="2287" y="1805"/>
                  <a:pt x="2286" y="1804"/>
                </a:cubicBezTo>
                <a:cubicBezTo>
                  <a:pt x="2285" y="1803"/>
                  <a:pt x="2285" y="1801"/>
                  <a:pt x="2284" y="1800"/>
                </a:cubicBezTo>
                <a:cubicBezTo>
                  <a:pt x="2284" y="1799"/>
                  <a:pt x="2284" y="1799"/>
                  <a:pt x="2283" y="1798"/>
                </a:cubicBezTo>
                <a:cubicBezTo>
                  <a:pt x="2283" y="1797"/>
                  <a:pt x="2283" y="1797"/>
                  <a:pt x="2283" y="1796"/>
                </a:cubicBezTo>
                <a:cubicBezTo>
                  <a:pt x="2282" y="1795"/>
                  <a:pt x="2282" y="1794"/>
                  <a:pt x="2282" y="1793"/>
                </a:cubicBezTo>
                <a:cubicBezTo>
                  <a:pt x="2282" y="1791"/>
                  <a:pt x="2282" y="1790"/>
                  <a:pt x="2282" y="1789"/>
                </a:cubicBezTo>
                <a:cubicBezTo>
                  <a:pt x="2281" y="1788"/>
                  <a:pt x="2280" y="1787"/>
                  <a:pt x="2279" y="1787"/>
                </a:cubicBezTo>
                <a:cubicBezTo>
                  <a:pt x="2279" y="1786"/>
                  <a:pt x="2278" y="1786"/>
                  <a:pt x="2278" y="1785"/>
                </a:cubicBezTo>
                <a:cubicBezTo>
                  <a:pt x="2278" y="1785"/>
                  <a:pt x="2277" y="1785"/>
                  <a:pt x="2277" y="1784"/>
                </a:cubicBezTo>
                <a:cubicBezTo>
                  <a:pt x="2276" y="1783"/>
                  <a:pt x="2275" y="1783"/>
                  <a:pt x="2274" y="1782"/>
                </a:cubicBezTo>
                <a:cubicBezTo>
                  <a:pt x="2274" y="1781"/>
                  <a:pt x="2273" y="1780"/>
                  <a:pt x="2273" y="1780"/>
                </a:cubicBezTo>
                <a:cubicBezTo>
                  <a:pt x="2273" y="1779"/>
                  <a:pt x="2272" y="1778"/>
                  <a:pt x="2272" y="1778"/>
                </a:cubicBezTo>
                <a:cubicBezTo>
                  <a:pt x="2272" y="1777"/>
                  <a:pt x="2271" y="1777"/>
                  <a:pt x="2270" y="1776"/>
                </a:cubicBezTo>
                <a:cubicBezTo>
                  <a:pt x="2270" y="1775"/>
                  <a:pt x="2270" y="1773"/>
                  <a:pt x="2270" y="1772"/>
                </a:cubicBezTo>
                <a:cubicBezTo>
                  <a:pt x="2270" y="1772"/>
                  <a:pt x="2271" y="1771"/>
                  <a:pt x="2270" y="1770"/>
                </a:cubicBezTo>
                <a:cubicBezTo>
                  <a:pt x="2269" y="1770"/>
                  <a:pt x="2269" y="1771"/>
                  <a:pt x="2268" y="1771"/>
                </a:cubicBezTo>
                <a:cubicBezTo>
                  <a:pt x="2268" y="1772"/>
                  <a:pt x="2267" y="1773"/>
                  <a:pt x="2267" y="1772"/>
                </a:cubicBezTo>
                <a:cubicBezTo>
                  <a:pt x="2267" y="1771"/>
                  <a:pt x="2268" y="1771"/>
                  <a:pt x="2268" y="1770"/>
                </a:cubicBezTo>
                <a:cubicBezTo>
                  <a:pt x="2268" y="1770"/>
                  <a:pt x="2267" y="1769"/>
                  <a:pt x="2266" y="1769"/>
                </a:cubicBezTo>
                <a:cubicBezTo>
                  <a:pt x="2265" y="1769"/>
                  <a:pt x="2265" y="1768"/>
                  <a:pt x="2264" y="1768"/>
                </a:cubicBezTo>
                <a:cubicBezTo>
                  <a:pt x="2263" y="1767"/>
                  <a:pt x="2262" y="1767"/>
                  <a:pt x="2261" y="1767"/>
                </a:cubicBezTo>
                <a:cubicBezTo>
                  <a:pt x="2259" y="1766"/>
                  <a:pt x="2259" y="1765"/>
                  <a:pt x="2258" y="1764"/>
                </a:cubicBezTo>
                <a:cubicBezTo>
                  <a:pt x="2255" y="1762"/>
                  <a:pt x="2253" y="1759"/>
                  <a:pt x="2250" y="1758"/>
                </a:cubicBezTo>
                <a:cubicBezTo>
                  <a:pt x="2249" y="1757"/>
                  <a:pt x="2247" y="1756"/>
                  <a:pt x="2246" y="1755"/>
                </a:cubicBezTo>
                <a:cubicBezTo>
                  <a:pt x="2245" y="1754"/>
                  <a:pt x="2245" y="1752"/>
                  <a:pt x="2245" y="1751"/>
                </a:cubicBezTo>
                <a:cubicBezTo>
                  <a:pt x="2243" y="1749"/>
                  <a:pt x="2240" y="1748"/>
                  <a:pt x="2238" y="1746"/>
                </a:cubicBezTo>
                <a:cubicBezTo>
                  <a:pt x="2237" y="1745"/>
                  <a:pt x="2237" y="1744"/>
                  <a:pt x="2236" y="1743"/>
                </a:cubicBezTo>
                <a:cubicBezTo>
                  <a:pt x="2234" y="1742"/>
                  <a:pt x="2233" y="1742"/>
                  <a:pt x="2232" y="1741"/>
                </a:cubicBezTo>
                <a:cubicBezTo>
                  <a:pt x="2232" y="1741"/>
                  <a:pt x="2231" y="1740"/>
                  <a:pt x="2231" y="1740"/>
                </a:cubicBezTo>
                <a:cubicBezTo>
                  <a:pt x="2230" y="1739"/>
                  <a:pt x="2231" y="1739"/>
                  <a:pt x="2232" y="1739"/>
                </a:cubicBezTo>
                <a:cubicBezTo>
                  <a:pt x="2232" y="1740"/>
                  <a:pt x="2233" y="1740"/>
                  <a:pt x="2233" y="1740"/>
                </a:cubicBezTo>
                <a:cubicBezTo>
                  <a:pt x="2234" y="1740"/>
                  <a:pt x="2234" y="1739"/>
                  <a:pt x="2234" y="1738"/>
                </a:cubicBezTo>
                <a:cubicBezTo>
                  <a:pt x="2233" y="1737"/>
                  <a:pt x="2233" y="1737"/>
                  <a:pt x="2233" y="1736"/>
                </a:cubicBezTo>
                <a:cubicBezTo>
                  <a:pt x="2233" y="1735"/>
                  <a:pt x="2233" y="1735"/>
                  <a:pt x="2233" y="1734"/>
                </a:cubicBezTo>
                <a:cubicBezTo>
                  <a:pt x="2232" y="1733"/>
                  <a:pt x="2232" y="1733"/>
                  <a:pt x="2231" y="1732"/>
                </a:cubicBezTo>
                <a:cubicBezTo>
                  <a:pt x="2231" y="1732"/>
                  <a:pt x="2230" y="1731"/>
                  <a:pt x="2230" y="1730"/>
                </a:cubicBezTo>
                <a:cubicBezTo>
                  <a:pt x="2228" y="1728"/>
                  <a:pt x="2225" y="1726"/>
                  <a:pt x="2223" y="1724"/>
                </a:cubicBezTo>
                <a:cubicBezTo>
                  <a:pt x="2223" y="1723"/>
                  <a:pt x="2222" y="1722"/>
                  <a:pt x="2222" y="1722"/>
                </a:cubicBezTo>
                <a:cubicBezTo>
                  <a:pt x="2221" y="1721"/>
                  <a:pt x="2220" y="1721"/>
                  <a:pt x="2219" y="1720"/>
                </a:cubicBezTo>
                <a:cubicBezTo>
                  <a:pt x="2219" y="1719"/>
                  <a:pt x="2218" y="1718"/>
                  <a:pt x="2218" y="1717"/>
                </a:cubicBezTo>
                <a:cubicBezTo>
                  <a:pt x="2218" y="1716"/>
                  <a:pt x="2217" y="1715"/>
                  <a:pt x="2217" y="1715"/>
                </a:cubicBezTo>
                <a:cubicBezTo>
                  <a:pt x="2217" y="1714"/>
                  <a:pt x="2217" y="1713"/>
                  <a:pt x="2217" y="1713"/>
                </a:cubicBezTo>
                <a:cubicBezTo>
                  <a:pt x="2217" y="1711"/>
                  <a:pt x="2219" y="1710"/>
                  <a:pt x="2220" y="1708"/>
                </a:cubicBezTo>
                <a:cubicBezTo>
                  <a:pt x="2220" y="1708"/>
                  <a:pt x="2221" y="1707"/>
                  <a:pt x="2221" y="1706"/>
                </a:cubicBezTo>
                <a:cubicBezTo>
                  <a:pt x="2221" y="1705"/>
                  <a:pt x="2220" y="1704"/>
                  <a:pt x="2220" y="1702"/>
                </a:cubicBezTo>
                <a:cubicBezTo>
                  <a:pt x="2220" y="1701"/>
                  <a:pt x="2222" y="1700"/>
                  <a:pt x="2222" y="1698"/>
                </a:cubicBezTo>
                <a:cubicBezTo>
                  <a:pt x="2223" y="1698"/>
                  <a:pt x="2223" y="1697"/>
                  <a:pt x="2223" y="1696"/>
                </a:cubicBezTo>
                <a:cubicBezTo>
                  <a:pt x="2223" y="1695"/>
                  <a:pt x="2224" y="1695"/>
                  <a:pt x="2225" y="1694"/>
                </a:cubicBezTo>
                <a:cubicBezTo>
                  <a:pt x="2226" y="1692"/>
                  <a:pt x="2229" y="1691"/>
                  <a:pt x="2231" y="1689"/>
                </a:cubicBezTo>
                <a:cubicBezTo>
                  <a:pt x="2232" y="1688"/>
                  <a:pt x="2233" y="1688"/>
                  <a:pt x="2234" y="1688"/>
                </a:cubicBezTo>
                <a:cubicBezTo>
                  <a:pt x="2236" y="1687"/>
                  <a:pt x="2235" y="1684"/>
                  <a:pt x="2236" y="1682"/>
                </a:cubicBezTo>
                <a:cubicBezTo>
                  <a:pt x="2236" y="1681"/>
                  <a:pt x="2236" y="1680"/>
                  <a:pt x="2237" y="1680"/>
                </a:cubicBezTo>
                <a:cubicBezTo>
                  <a:pt x="2237" y="1680"/>
                  <a:pt x="2241" y="1680"/>
                  <a:pt x="2240" y="1678"/>
                </a:cubicBezTo>
                <a:cubicBezTo>
                  <a:pt x="2240" y="1678"/>
                  <a:pt x="2239" y="1679"/>
                  <a:pt x="2239" y="1677"/>
                </a:cubicBezTo>
                <a:cubicBezTo>
                  <a:pt x="2239" y="1677"/>
                  <a:pt x="2239" y="1676"/>
                  <a:pt x="2239" y="1675"/>
                </a:cubicBezTo>
                <a:cubicBezTo>
                  <a:pt x="2239" y="1674"/>
                  <a:pt x="2240" y="1675"/>
                  <a:pt x="2240" y="1675"/>
                </a:cubicBezTo>
                <a:cubicBezTo>
                  <a:pt x="2242" y="1675"/>
                  <a:pt x="2243" y="1674"/>
                  <a:pt x="2244" y="1674"/>
                </a:cubicBezTo>
                <a:cubicBezTo>
                  <a:pt x="2245" y="1674"/>
                  <a:pt x="2246" y="1674"/>
                  <a:pt x="2248" y="1674"/>
                </a:cubicBezTo>
                <a:cubicBezTo>
                  <a:pt x="2249" y="1674"/>
                  <a:pt x="2250" y="1673"/>
                  <a:pt x="2251" y="1673"/>
                </a:cubicBezTo>
                <a:cubicBezTo>
                  <a:pt x="2251" y="1672"/>
                  <a:pt x="2252" y="1671"/>
                  <a:pt x="2253" y="1670"/>
                </a:cubicBezTo>
                <a:cubicBezTo>
                  <a:pt x="2254" y="1670"/>
                  <a:pt x="2255" y="1670"/>
                  <a:pt x="2256" y="1669"/>
                </a:cubicBezTo>
                <a:cubicBezTo>
                  <a:pt x="2257" y="1668"/>
                  <a:pt x="2254" y="1668"/>
                  <a:pt x="2254" y="1667"/>
                </a:cubicBezTo>
                <a:cubicBezTo>
                  <a:pt x="2254" y="1667"/>
                  <a:pt x="2256" y="1666"/>
                  <a:pt x="2256" y="1666"/>
                </a:cubicBezTo>
                <a:cubicBezTo>
                  <a:pt x="2257" y="1666"/>
                  <a:pt x="2258" y="1666"/>
                  <a:pt x="2259" y="1665"/>
                </a:cubicBezTo>
                <a:cubicBezTo>
                  <a:pt x="2259" y="1664"/>
                  <a:pt x="2260" y="1664"/>
                  <a:pt x="2260" y="1663"/>
                </a:cubicBezTo>
                <a:cubicBezTo>
                  <a:pt x="2261" y="1663"/>
                  <a:pt x="2263" y="1662"/>
                  <a:pt x="2264" y="1661"/>
                </a:cubicBezTo>
                <a:cubicBezTo>
                  <a:pt x="2264" y="1661"/>
                  <a:pt x="2265" y="1661"/>
                  <a:pt x="2265" y="1661"/>
                </a:cubicBezTo>
                <a:cubicBezTo>
                  <a:pt x="2266" y="1660"/>
                  <a:pt x="2266" y="1660"/>
                  <a:pt x="2267" y="1660"/>
                </a:cubicBezTo>
                <a:cubicBezTo>
                  <a:pt x="2267" y="1660"/>
                  <a:pt x="2268" y="1660"/>
                  <a:pt x="2268" y="1661"/>
                </a:cubicBezTo>
                <a:cubicBezTo>
                  <a:pt x="2268" y="1662"/>
                  <a:pt x="2267" y="1661"/>
                  <a:pt x="2267" y="1662"/>
                </a:cubicBezTo>
                <a:cubicBezTo>
                  <a:pt x="2269" y="1663"/>
                  <a:pt x="2270" y="1660"/>
                  <a:pt x="2270" y="1659"/>
                </a:cubicBezTo>
                <a:cubicBezTo>
                  <a:pt x="2270" y="1659"/>
                  <a:pt x="2270" y="1658"/>
                  <a:pt x="2271" y="1658"/>
                </a:cubicBezTo>
                <a:cubicBezTo>
                  <a:pt x="2272" y="1659"/>
                  <a:pt x="2271" y="1659"/>
                  <a:pt x="2272" y="1659"/>
                </a:cubicBezTo>
                <a:cubicBezTo>
                  <a:pt x="2272" y="1660"/>
                  <a:pt x="2272" y="1660"/>
                  <a:pt x="2273" y="1660"/>
                </a:cubicBezTo>
                <a:cubicBezTo>
                  <a:pt x="2273" y="1660"/>
                  <a:pt x="2273" y="1660"/>
                  <a:pt x="2273" y="1660"/>
                </a:cubicBezTo>
                <a:cubicBezTo>
                  <a:pt x="2274" y="1660"/>
                  <a:pt x="2274" y="1661"/>
                  <a:pt x="2274" y="1660"/>
                </a:cubicBezTo>
                <a:cubicBezTo>
                  <a:pt x="2275" y="1660"/>
                  <a:pt x="2274" y="1660"/>
                  <a:pt x="2274" y="1660"/>
                </a:cubicBezTo>
                <a:cubicBezTo>
                  <a:pt x="2275" y="1659"/>
                  <a:pt x="2275" y="1659"/>
                  <a:pt x="2275" y="1659"/>
                </a:cubicBezTo>
                <a:cubicBezTo>
                  <a:pt x="2276" y="1657"/>
                  <a:pt x="2274" y="1658"/>
                  <a:pt x="2273" y="1657"/>
                </a:cubicBezTo>
                <a:cubicBezTo>
                  <a:pt x="2273" y="1657"/>
                  <a:pt x="2273" y="1656"/>
                  <a:pt x="2273" y="1655"/>
                </a:cubicBezTo>
                <a:cubicBezTo>
                  <a:pt x="2273" y="1654"/>
                  <a:pt x="2273" y="1654"/>
                  <a:pt x="2274" y="1653"/>
                </a:cubicBezTo>
                <a:cubicBezTo>
                  <a:pt x="2275" y="1653"/>
                  <a:pt x="2275" y="1654"/>
                  <a:pt x="2275" y="1655"/>
                </a:cubicBezTo>
                <a:cubicBezTo>
                  <a:pt x="2275" y="1655"/>
                  <a:pt x="2274" y="1656"/>
                  <a:pt x="2275" y="1657"/>
                </a:cubicBezTo>
                <a:cubicBezTo>
                  <a:pt x="2275" y="1657"/>
                  <a:pt x="2276" y="1656"/>
                  <a:pt x="2276" y="1656"/>
                </a:cubicBezTo>
                <a:cubicBezTo>
                  <a:pt x="2276" y="1656"/>
                  <a:pt x="2276" y="1657"/>
                  <a:pt x="2277" y="1657"/>
                </a:cubicBezTo>
                <a:cubicBezTo>
                  <a:pt x="2277" y="1657"/>
                  <a:pt x="2277" y="1658"/>
                  <a:pt x="2277" y="1658"/>
                </a:cubicBezTo>
                <a:cubicBezTo>
                  <a:pt x="2277" y="1658"/>
                  <a:pt x="2278" y="1658"/>
                  <a:pt x="2278" y="1658"/>
                </a:cubicBezTo>
                <a:cubicBezTo>
                  <a:pt x="2279" y="1658"/>
                  <a:pt x="2279" y="1662"/>
                  <a:pt x="2281" y="1660"/>
                </a:cubicBezTo>
                <a:cubicBezTo>
                  <a:pt x="2281" y="1659"/>
                  <a:pt x="2281" y="1658"/>
                  <a:pt x="2282" y="1659"/>
                </a:cubicBezTo>
                <a:cubicBezTo>
                  <a:pt x="2282" y="1660"/>
                  <a:pt x="2281" y="1660"/>
                  <a:pt x="2282" y="1660"/>
                </a:cubicBezTo>
                <a:cubicBezTo>
                  <a:pt x="2284" y="1661"/>
                  <a:pt x="2285" y="1660"/>
                  <a:pt x="2285" y="1661"/>
                </a:cubicBezTo>
                <a:cubicBezTo>
                  <a:pt x="2285" y="1662"/>
                  <a:pt x="2285" y="1662"/>
                  <a:pt x="2285" y="1662"/>
                </a:cubicBezTo>
                <a:cubicBezTo>
                  <a:pt x="2286" y="1663"/>
                  <a:pt x="2286" y="1663"/>
                  <a:pt x="2286" y="1663"/>
                </a:cubicBezTo>
                <a:cubicBezTo>
                  <a:pt x="2287" y="1663"/>
                  <a:pt x="2286" y="1664"/>
                  <a:pt x="2287" y="1665"/>
                </a:cubicBezTo>
                <a:cubicBezTo>
                  <a:pt x="2287" y="1665"/>
                  <a:pt x="2288" y="1664"/>
                  <a:pt x="2288" y="1664"/>
                </a:cubicBezTo>
                <a:cubicBezTo>
                  <a:pt x="2290" y="1663"/>
                  <a:pt x="2291" y="1664"/>
                  <a:pt x="2293" y="1663"/>
                </a:cubicBezTo>
                <a:cubicBezTo>
                  <a:pt x="2293" y="1663"/>
                  <a:pt x="2295" y="1661"/>
                  <a:pt x="2294" y="1660"/>
                </a:cubicBezTo>
                <a:cubicBezTo>
                  <a:pt x="2294" y="1660"/>
                  <a:pt x="2293" y="1659"/>
                  <a:pt x="2294" y="1659"/>
                </a:cubicBezTo>
                <a:cubicBezTo>
                  <a:pt x="2295" y="1658"/>
                  <a:pt x="2295" y="1659"/>
                  <a:pt x="2295" y="1659"/>
                </a:cubicBezTo>
                <a:cubicBezTo>
                  <a:pt x="2295" y="1660"/>
                  <a:pt x="2296" y="1660"/>
                  <a:pt x="2296" y="1661"/>
                </a:cubicBezTo>
                <a:cubicBezTo>
                  <a:pt x="2297" y="1661"/>
                  <a:pt x="2297" y="1662"/>
                  <a:pt x="2297" y="1662"/>
                </a:cubicBezTo>
                <a:cubicBezTo>
                  <a:pt x="2298" y="1664"/>
                  <a:pt x="2299" y="1661"/>
                  <a:pt x="2300" y="1662"/>
                </a:cubicBezTo>
                <a:cubicBezTo>
                  <a:pt x="2300" y="1662"/>
                  <a:pt x="2300" y="1663"/>
                  <a:pt x="2300" y="1663"/>
                </a:cubicBezTo>
                <a:cubicBezTo>
                  <a:pt x="2300" y="1663"/>
                  <a:pt x="2301" y="1663"/>
                  <a:pt x="2301" y="1663"/>
                </a:cubicBezTo>
                <a:cubicBezTo>
                  <a:pt x="2302" y="1664"/>
                  <a:pt x="2301" y="1664"/>
                  <a:pt x="2300" y="1665"/>
                </a:cubicBezTo>
                <a:cubicBezTo>
                  <a:pt x="2300" y="1665"/>
                  <a:pt x="2299" y="1665"/>
                  <a:pt x="2299" y="1666"/>
                </a:cubicBezTo>
                <a:cubicBezTo>
                  <a:pt x="2298" y="1666"/>
                  <a:pt x="2298" y="1667"/>
                  <a:pt x="2298" y="1668"/>
                </a:cubicBezTo>
                <a:cubicBezTo>
                  <a:pt x="2298" y="1668"/>
                  <a:pt x="2297" y="1669"/>
                  <a:pt x="2297" y="1670"/>
                </a:cubicBezTo>
                <a:cubicBezTo>
                  <a:pt x="2296" y="1671"/>
                  <a:pt x="2296" y="1672"/>
                  <a:pt x="2296" y="1674"/>
                </a:cubicBezTo>
                <a:cubicBezTo>
                  <a:pt x="2297" y="1676"/>
                  <a:pt x="2298" y="1677"/>
                  <a:pt x="2298" y="1679"/>
                </a:cubicBezTo>
                <a:cubicBezTo>
                  <a:pt x="2298" y="1680"/>
                  <a:pt x="2299" y="1681"/>
                  <a:pt x="2300" y="1682"/>
                </a:cubicBezTo>
                <a:cubicBezTo>
                  <a:pt x="2300" y="1684"/>
                  <a:pt x="2300" y="1686"/>
                  <a:pt x="2301" y="1687"/>
                </a:cubicBezTo>
                <a:cubicBezTo>
                  <a:pt x="2301" y="1688"/>
                  <a:pt x="2302" y="1689"/>
                  <a:pt x="2304" y="1689"/>
                </a:cubicBezTo>
                <a:cubicBezTo>
                  <a:pt x="2306" y="1689"/>
                  <a:pt x="2307" y="1688"/>
                  <a:pt x="2308" y="1688"/>
                </a:cubicBezTo>
                <a:cubicBezTo>
                  <a:pt x="2310" y="1687"/>
                  <a:pt x="2311" y="1687"/>
                  <a:pt x="2312" y="1686"/>
                </a:cubicBezTo>
                <a:cubicBezTo>
                  <a:pt x="2313" y="1685"/>
                  <a:pt x="2313" y="1683"/>
                  <a:pt x="2312" y="1682"/>
                </a:cubicBezTo>
                <a:cubicBezTo>
                  <a:pt x="2311" y="1681"/>
                  <a:pt x="2310" y="1680"/>
                  <a:pt x="2309" y="1679"/>
                </a:cubicBezTo>
                <a:cubicBezTo>
                  <a:pt x="2309" y="1679"/>
                  <a:pt x="2309" y="1678"/>
                  <a:pt x="2309" y="1678"/>
                </a:cubicBezTo>
                <a:cubicBezTo>
                  <a:pt x="2309" y="1678"/>
                  <a:pt x="2310" y="1678"/>
                  <a:pt x="2310" y="1678"/>
                </a:cubicBezTo>
                <a:cubicBezTo>
                  <a:pt x="2311" y="1678"/>
                  <a:pt x="2311" y="1677"/>
                  <a:pt x="2310" y="1676"/>
                </a:cubicBezTo>
                <a:cubicBezTo>
                  <a:pt x="2309" y="1675"/>
                  <a:pt x="2307" y="1676"/>
                  <a:pt x="2306" y="1675"/>
                </a:cubicBezTo>
                <a:cubicBezTo>
                  <a:pt x="2305" y="1674"/>
                  <a:pt x="2306" y="1672"/>
                  <a:pt x="2307" y="1671"/>
                </a:cubicBezTo>
                <a:cubicBezTo>
                  <a:pt x="2308" y="1671"/>
                  <a:pt x="2309" y="1669"/>
                  <a:pt x="2310" y="1668"/>
                </a:cubicBezTo>
                <a:cubicBezTo>
                  <a:pt x="2310" y="1668"/>
                  <a:pt x="2311" y="1668"/>
                  <a:pt x="2311" y="1668"/>
                </a:cubicBezTo>
                <a:cubicBezTo>
                  <a:pt x="2312" y="1669"/>
                  <a:pt x="2312" y="1669"/>
                  <a:pt x="2312" y="1669"/>
                </a:cubicBezTo>
                <a:cubicBezTo>
                  <a:pt x="2312" y="1670"/>
                  <a:pt x="2312" y="1670"/>
                  <a:pt x="2312" y="1670"/>
                </a:cubicBezTo>
                <a:cubicBezTo>
                  <a:pt x="2313" y="1670"/>
                  <a:pt x="2313" y="1671"/>
                  <a:pt x="2314" y="1671"/>
                </a:cubicBezTo>
                <a:cubicBezTo>
                  <a:pt x="2314" y="1670"/>
                  <a:pt x="2314" y="1670"/>
                  <a:pt x="2314" y="1669"/>
                </a:cubicBezTo>
                <a:cubicBezTo>
                  <a:pt x="2314" y="1667"/>
                  <a:pt x="2316" y="1668"/>
                  <a:pt x="2317" y="1667"/>
                </a:cubicBezTo>
                <a:cubicBezTo>
                  <a:pt x="2317" y="1667"/>
                  <a:pt x="2318" y="1666"/>
                  <a:pt x="2319" y="1666"/>
                </a:cubicBezTo>
                <a:cubicBezTo>
                  <a:pt x="2319" y="1665"/>
                  <a:pt x="2320" y="1665"/>
                  <a:pt x="2321" y="1665"/>
                </a:cubicBezTo>
                <a:cubicBezTo>
                  <a:pt x="2322" y="1665"/>
                  <a:pt x="2323" y="1664"/>
                  <a:pt x="2324" y="1664"/>
                </a:cubicBezTo>
                <a:cubicBezTo>
                  <a:pt x="2324" y="1663"/>
                  <a:pt x="2325" y="1664"/>
                  <a:pt x="2326" y="1663"/>
                </a:cubicBezTo>
                <a:cubicBezTo>
                  <a:pt x="2326" y="1663"/>
                  <a:pt x="2327" y="1663"/>
                  <a:pt x="2328" y="1662"/>
                </a:cubicBezTo>
                <a:cubicBezTo>
                  <a:pt x="2330" y="1660"/>
                  <a:pt x="2334" y="1662"/>
                  <a:pt x="2336" y="1661"/>
                </a:cubicBezTo>
                <a:cubicBezTo>
                  <a:pt x="2338" y="1660"/>
                  <a:pt x="2338" y="1658"/>
                  <a:pt x="2340" y="1658"/>
                </a:cubicBezTo>
                <a:cubicBezTo>
                  <a:pt x="2341" y="1658"/>
                  <a:pt x="2343" y="1658"/>
                  <a:pt x="2342" y="1656"/>
                </a:cubicBezTo>
                <a:cubicBezTo>
                  <a:pt x="2341" y="1656"/>
                  <a:pt x="2341" y="1655"/>
                  <a:pt x="2341" y="1654"/>
                </a:cubicBezTo>
                <a:cubicBezTo>
                  <a:pt x="2342" y="1654"/>
                  <a:pt x="2342" y="1654"/>
                  <a:pt x="2343" y="1654"/>
                </a:cubicBezTo>
                <a:cubicBezTo>
                  <a:pt x="2343" y="1655"/>
                  <a:pt x="2343" y="1655"/>
                  <a:pt x="2344" y="1656"/>
                </a:cubicBezTo>
                <a:cubicBezTo>
                  <a:pt x="2345" y="1656"/>
                  <a:pt x="2345" y="1656"/>
                  <a:pt x="2346" y="1656"/>
                </a:cubicBezTo>
                <a:cubicBezTo>
                  <a:pt x="2347" y="1657"/>
                  <a:pt x="2348" y="1659"/>
                  <a:pt x="2349" y="1658"/>
                </a:cubicBezTo>
                <a:cubicBezTo>
                  <a:pt x="2350" y="1657"/>
                  <a:pt x="2349" y="1655"/>
                  <a:pt x="2350" y="1654"/>
                </a:cubicBezTo>
                <a:cubicBezTo>
                  <a:pt x="2351" y="1652"/>
                  <a:pt x="2352" y="1655"/>
                  <a:pt x="2353" y="1655"/>
                </a:cubicBezTo>
                <a:cubicBezTo>
                  <a:pt x="2355" y="1654"/>
                  <a:pt x="2356" y="1653"/>
                  <a:pt x="2357" y="1653"/>
                </a:cubicBezTo>
                <a:cubicBezTo>
                  <a:pt x="2358" y="1653"/>
                  <a:pt x="2359" y="1653"/>
                  <a:pt x="2359" y="1653"/>
                </a:cubicBezTo>
                <a:cubicBezTo>
                  <a:pt x="2360" y="1653"/>
                  <a:pt x="2360" y="1654"/>
                  <a:pt x="2361" y="1654"/>
                </a:cubicBezTo>
                <a:cubicBezTo>
                  <a:pt x="2363" y="1654"/>
                  <a:pt x="2362" y="1652"/>
                  <a:pt x="2362" y="1651"/>
                </a:cubicBezTo>
                <a:cubicBezTo>
                  <a:pt x="2363" y="1650"/>
                  <a:pt x="2364" y="1648"/>
                  <a:pt x="2365" y="1649"/>
                </a:cubicBezTo>
                <a:cubicBezTo>
                  <a:pt x="2365" y="1650"/>
                  <a:pt x="2365" y="1651"/>
                  <a:pt x="2366" y="1651"/>
                </a:cubicBezTo>
                <a:cubicBezTo>
                  <a:pt x="2366" y="1651"/>
                  <a:pt x="2367" y="1651"/>
                  <a:pt x="2367" y="1651"/>
                </a:cubicBezTo>
                <a:cubicBezTo>
                  <a:pt x="2368" y="1650"/>
                  <a:pt x="2369" y="1647"/>
                  <a:pt x="2370" y="1648"/>
                </a:cubicBezTo>
                <a:cubicBezTo>
                  <a:pt x="2371" y="1648"/>
                  <a:pt x="2371" y="1649"/>
                  <a:pt x="2372" y="1649"/>
                </a:cubicBezTo>
                <a:cubicBezTo>
                  <a:pt x="2373" y="1648"/>
                  <a:pt x="2373" y="1644"/>
                  <a:pt x="2373" y="1643"/>
                </a:cubicBezTo>
                <a:cubicBezTo>
                  <a:pt x="2372" y="1642"/>
                  <a:pt x="2371" y="1641"/>
                  <a:pt x="2371" y="1639"/>
                </a:cubicBezTo>
                <a:cubicBezTo>
                  <a:pt x="2370" y="1638"/>
                  <a:pt x="2370" y="1637"/>
                  <a:pt x="2369" y="1635"/>
                </a:cubicBezTo>
                <a:cubicBezTo>
                  <a:pt x="2369" y="1635"/>
                  <a:pt x="2369" y="1634"/>
                  <a:pt x="2369" y="1633"/>
                </a:cubicBezTo>
                <a:cubicBezTo>
                  <a:pt x="2370" y="1633"/>
                  <a:pt x="2370" y="1633"/>
                  <a:pt x="2371" y="1632"/>
                </a:cubicBezTo>
                <a:cubicBezTo>
                  <a:pt x="2371" y="1632"/>
                  <a:pt x="2373" y="1628"/>
                  <a:pt x="2373" y="1631"/>
                </a:cubicBezTo>
                <a:cubicBezTo>
                  <a:pt x="2373" y="1632"/>
                  <a:pt x="2373" y="1632"/>
                  <a:pt x="2373" y="1633"/>
                </a:cubicBezTo>
                <a:cubicBezTo>
                  <a:pt x="2373" y="1633"/>
                  <a:pt x="2374" y="1634"/>
                  <a:pt x="2374" y="1634"/>
                </a:cubicBezTo>
                <a:cubicBezTo>
                  <a:pt x="2375" y="1635"/>
                  <a:pt x="2375" y="1636"/>
                  <a:pt x="2376" y="1636"/>
                </a:cubicBezTo>
                <a:cubicBezTo>
                  <a:pt x="2376" y="1637"/>
                  <a:pt x="2377" y="1637"/>
                  <a:pt x="2377" y="1637"/>
                </a:cubicBezTo>
                <a:cubicBezTo>
                  <a:pt x="2378" y="1638"/>
                  <a:pt x="2377" y="1640"/>
                  <a:pt x="2378" y="1641"/>
                </a:cubicBezTo>
                <a:cubicBezTo>
                  <a:pt x="2379" y="1642"/>
                  <a:pt x="2381" y="1641"/>
                  <a:pt x="2381" y="1643"/>
                </a:cubicBezTo>
                <a:cubicBezTo>
                  <a:pt x="2381" y="1644"/>
                  <a:pt x="2380" y="1644"/>
                  <a:pt x="2381" y="1645"/>
                </a:cubicBezTo>
                <a:cubicBezTo>
                  <a:pt x="2381" y="1645"/>
                  <a:pt x="2383" y="1645"/>
                  <a:pt x="2383" y="1645"/>
                </a:cubicBezTo>
                <a:cubicBezTo>
                  <a:pt x="2385" y="1645"/>
                  <a:pt x="2385" y="1646"/>
                  <a:pt x="2386" y="1647"/>
                </a:cubicBezTo>
                <a:cubicBezTo>
                  <a:pt x="2388" y="1647"/>
                  <a:pt x="2388" y="1645"/>
                  <a:pt x="2389" y="1644"/>
                </a:cubicBezTo>
                <a:cubicBezTo>
                  <a:pt x="2390" y="1644"/>
                  <a:pt x="2390" y="1643"/>
                  <a:pt x="2389" y="1643"/>
                </a:cubicBezTo>
                <a:cubicBezTo>
                  <a:pt x="2389" y="1642"/>
                  <a:pt x="2388" y="1643"/>
                  <a:pt x="2388" y="1643"/>
                </a:cubicBezTo>
                <a:cubicBezTo>
                  <a:pt x="2386" y="1643"/>
                  <a:pt x="2384" y="1642"/>
                  <a:pt x="2386" y="1641"/>
                </a:cubicBezTo>
                <a:cubicBezTo>
                  <a:pt x="2387" y="1640"/>
                  <a:pt x="2388" y="1638"/>
                  <a:pt x="2390" y="1640"/>
                </a:cubicBezTo>
                <a:cubicBezTo>
                  <a:pt x="2391" y="1641"/>
                  <a:pt x="2390" y="1642"/>
                  <a:pt x="2392" y="1642"/>
                </a:cubicBezTo>
                <a:cubicBezTo>
                  <a:pt x="2393" y="1643"/>
                  <a:pt x="2394" y="1642"/>
                  <a:pt x="2394" y="1641"/>
                </a:cubicBezTo>
                <a:cubicBezTo>
                  <a:pt x="2394" y="1640"/>
                  <a:pt x="2393" y="1640"/>
                  <a:pt x="2393" y="1639"/>
                </a:cubicBezTo>
                <a:cubicBezTo>
                  <a:pt x="2393" y="1637"/>
                  <a:pt x="2394" y="1637"/>
                  <a:pt x="2395" y="1637"/>
                </a:cubicBezTo>
                <a:cubicBezTo>
                  <a:pt x="2395" y="1636"/>
                  <a:pt x="2396" y="1635"/>
                  <a:pt x="2397" y="1635"/>
                </a:cubicBezTo>
                <a:cubicBezTo>
                  <a:pt x="2398" y="1636"/>
                  <a:pt x="2395" y="1637"/>
                  <a:pt x="2396" y="1638"/>
                </a:cubicBezTo>
                <a:cubicBezTo>
                  <a:pt x="2396" y="1639"/>
                  <a:pt x="2397" y="1639"/>
                  <a:pt x="2397" y="1639"/>
                </a:cubicBezTo>
                <a:cubicBezTo>
                  <a:pt x="2398" y="1640"/>
                  <a:pt x="2398" y="1640"/>
                  <a:pt x="2398" y="1641"/>
                </a:cubicBezTo>
                <a:cubicBezTo>
                  <a:pt x="2400" y="1642"/>
                  <a:pt x="2401" y="1639"/>
                  <a:pt x="2401" y="1638"/>
                </a:cubicBezTo>
                <a:cubicBezTo>
                  <a:pt x="2402" y="1638"/>
                  <a:pt x="2402" y="1637"/>
                  <a:pt x="2403" y="1637"/>
                </a:cubicBezTo>
                <a:cubicBezTo>
                  <a:pt x="2403" y="1636"/>
                  <a:pt x="2404" y="1636"/>
                  <a:pt x="2405" y="1636"/>
                </a:cubicBezTo>
                <a:cubicBezTo>
                  <a:pt x="2406" y="1635"/>
                  <a:pt x="2407" y="1632"/>
                  <a:pt x="2408" y="1635"/>
                </a:cubicBezTo>
                <a:cubicBezTo>
                  <a:pt x="2408" y="1635"/>
                  <a:pt x="2408" y="1636"/>
                  <a:pt x="2409" y="1637"/>
                </a:cubicBezTo>
                <a:cubicBezTo>
                  <a:pt x="2409" y="1637"/>
                  <a:pt x="2410" y="1636"/>
                  <a:pt x="2411" y="1637"/>
                </a:cubicBezTo>
                <a:cubicBezTo>
                  <a:pt x="2411" y="1637"/>
                  <a:pt x="2411" y="1638"/>
                  <a:pt x="2412" y="1638"/>
                </a:cubicBezTo>
                <a:cubicBezTo>
                  <a:pt x="2412" y="1638"/>
                  <a:pt x="2413" y="1638"/>
                  <a:pt x="2413" y="1637"/>
                </a:cubicBezTo>
                <a:cubicBezTo>
                  <a:pt x="2413" y="1636"/>
                  <a:pt x="2412" y="1636"/>
                  <a:pt x="2412" y="1635"/>
                </a:cubicBezTo>
                <a:cubicBezTo>
                  <a:pt x="2412" y="1635"/>
                  <a:pt x="2412" y="1635"/>
                  <a:pt x="2412" y="1634"/>
                </a:cubicBezTo>
                <a:cubicBezTo>
                  <a:pt x="2412" y="1634"/>
                  <a:pt x="2412" y="1634"/>
                  <a:pt x="2412" y="1634"/>
                </a:cubicBezTo>
                <a:cubicBezTo>
                  <a:pt x="2411" y="1632"/>
                  <a:pt x="2414" y="1633"/>
                  <a:pt x="2415" y="1633"/>
                </a:cubicBezTo>
                <a:cubicBezTo>
                  <a:pt x="2415" y="1634"/>
                  <a:pt x="2415" y="1634"/>
                  <a:pt x="2415" y="1635"/>
                </a:cubicBezTo>
                <a:cubicBezTo>
                  <a:pt x="2416" y="1636"/>
                  <a:pt x="2418" y="1637"/>
                  <a:pt x="2419" y="1636"/>
                </a:cubicBezTo>
                <a:cubicBezTo>
                  <a:pt x="2420" y="1636"/>
                  <a:pt x="2421" y="1633"/>
                  <a:pt x="2422" y="1633"/>
                </a:cubicBezTo>
                <a:cubicBezTo>
                  <a:pt x="2423" y="1632"/>
                  <a:pt x="2423" y="1633"/>
                  <a:pt x="2424" y="1634"/>
                </a:cubicBezTo>
                <a:cubicBezTo>
                  <a:pt x="2424" y="1634"/>
                  <a:pt x="2425" y="1634"/>
                  <a:pt x="2426" y="1633"/>
                </a:cubicBezTo>
                <a:cubicBezTo>
                  <a:pt x="2427" y="1633"/>
                  <a:pt x="2428" y="1633"/>
                  <a:pt x="2430" y="1633"/>
                </a:cubicBezTo>
                <a:cubicBezTo>
                  <a:pt x="2431" y="1633"/>
                  <a:pt x="2432" y="1632"/>
                  <a:pt x="2432" y="1630"/>
                </a:cubicBezTo>
                <a:cubicBezTo>
                  <a:pt x="2432" y="1629"/>
                  <a:pt x="2431" y="1627"/>
                  <a:pt x="2433" y="1626"/>
                </a:cubicBezTo>
                <a:cubicBezTo>
                  <a:pt x="2433" y="1626"/>
                  <a:pt x="2434" y="1626"/>
                  <a:pt x="2435" y="1626"/>
                </a:cubicBezTo>
                <a:cubicBezTo>
                  <a:pt x="2435" y="1626"/>
                  <a:pt x="2436" y="1627"/>
                  <a:pt x="2437" y="1626"/>
                </a:cubicBezTo>
                <a:cubicBezTo>
                  <a:pt x="2438" y="1625"/>
                  <a:pt x="2436" y="1625"/>
                  <a:pt x="2436" y="1624"/>
                </a:cubicBezTo>
                <a:cubicBezTo>
                  <a:pt x="2435" y="1624"/>
                  <a:pt x="2434" y="1624"/>
                  <a:pt x="2433" y="1624"/>
                </a:cubicBezTo>
                <a:cubicBezTo>
                  <a:pt x="2432" y="1622"/>
                  <a:pt x="2435" y="1624"/>
                  <a:pt x="2436" y="1624"/>
                </a:cubicBezTo>
                <a:cubicBezTo>
                  <a:pt x="2438" y="1623"/>
                  <a:pt x="2438" y="1622"/>
                  <a:pt x="2438" y="1620"/>
                </a:cubicBezTo>
                <a:cubicBezTo>
                  <a:pt x="2438" y="1619"/>
                  <a:pt x="2440" y="1617"/>
                  <a:pt x="2441" y="1618"/>
                </a:cubicBezTo>
                <a:cubicBezTo>
                  <a:pt x="2443" y="1619"/>
                  <a:pt x="2442" y="1621"/>
                  <a:pt x="2444" y="1619"/>
                </a:cubicBezTo>
                <a:cubicBezTo>
                  <a:pt x="2445" y="1618"/>
                  <a:pt x="2446" y="1618"/>
                  <a:pt x="2448" y="1617"/>
                </a:cubicBezTo>
                <a:cubicBezTo>
                  <a:pt x="2449" y="1616"/>
                  <a:pt x="2450" y="1615"/>
                  <a:pt x="2450" y="1614"/>
                </a:cubicBezTo>
                <a:cubicBezTo>
                  <a:pt x="2450" y="1613"/>
                  <a:pt x="2450" y="1612"/>
                  <a:pt x="2451" y="1612"/>
                </a:cubicBezTo>
                <a:cubicBezTo>
                  <a:pt x="2452" y="1612"/>
                  <a:pt x="2451" y="1613"/>
                  <a:pt x="2452" y="1613"/>
                </a:cubicBezTo>
                <a:cubicBezTo>
                  <a:pt x="2452" y="1614"/>
                  <a:pt x="2452" y="1614"/>
                  <a:pt x="2452" y="1615"/>
                </a:cubicBezTo>
                <a:cubicBezTo>
                  <a:pt x="2453" y="1616"/>
                  <a:pt x="2453" y="1617"/>
                  <a:pt x="2454" y="1616"/>
                </a:cubicBezTo>
                <a:cubicBezTo>
                  <a:pt x="2454" y="1616"/>
                  <a:pt x="2454" y="1614"/>
                  <a:pt x="2455" y="1613"/>
                </a:cubicBezTo>
                <a:cubicBezTo>
                  <a:pt x="2455" y="1613"/>
                  <a:pt x="2456" y="1612"/>
                  <a:pt x="2457" y="1611"/>
                </a:cubicBezTo>
                <a:cubicBezTo>
                  <a:pt x="2458" y="1611"/>
                  <a:pt x="2459" y="1610"/>
                  <a:pt x="2460" y="1609"/>
                </a:cubicBezTo>
                <a:cubicBezTo>
                  <a:pt x="2460" y="1608"/>
                  <a:pt x="2460" y="1608"/>
                  <a:pt x="2460" y="1607"/>
                </a:cubicBezTo>
                <a:cubicBezTo>
                  <a:pt x="2461" y="1606"/>
                  <a:pt x="2463" y="1605"/>
                  <a:pt x="2463" y="1604"/>
                </a:cubicBezTo>
                <a:cubicBezTo>
                  <a:pt x="2463" y="1603"/>
                  <a:pt x="2462" y="1603"/>
                  <a:pt x="2462" y="1603"/>
                </a:cubicBezTo>
                <a:cubicBezTo>
                  <a:pt x="2461" y="1602"/>
                  <a:pt x="2462" y="1601"/>
                  <a:pt x="2461" y="1601"/>
                </a:cubicBezTo>
                <a:cubicBezTo>
                  <a:pt x="2461" y="1602"/>
                  <a:pt x="2460" y="1602"/>
                  <a:pt x="2459" y="1602"/>
                </a:cubicBezTo>
                <a:cubicBezTo>
                  <a:pt x="2458" y="1602"/>
                  <a:pt x="2458" y="1603"/>
                  <a:pt x="2458" y="1602"/>
                </a:cubicBezTo>
                <a:cubicBezTo>
                  <a:pt x="2457" y="1601"/>
                  <a:pt x="2458" y="1600"/>
                  <a:pt x="2458" y="1601"/>
                </a:cubicBezTo>
                <a:cubicBezTo>
                  <a:pt x="2459" y="1601"/>
                  <a:pt x="2459" y="1602"/>
                  <a:pt x="2460" y="1601"/>
                </a:cubicBezTo>
                <a:cubicBezTo>
                  <a:pt x="2460" y="1601"/>
                  <a:pt x="2460" y="1600"/>
                  <a:pt x="2461" y="1600"/>
                </a:cubicBezTo>
                <a:cubicBezTo>
                  <a:pt x="2461" y="1599"/>
                  <a:pt x="2462" y="1599"/>
                  <a:pt x="2463" y="1599"/>
                </a:cubicBezTo>
                <a:cubicBezTo>
                  <a:pt x="2464" y="1600"/>
                  <a:pt x="2463" y="1603"/>
                  <a:pt x="2464" y="1601"/>
                </a:cubicBezTo>
                <a:cubicBezTo>
                  <a:pt x="2465" y="1601"/>
                  <a:pt x="2466" y="1600"/>
                  <a:pt x="2465" y="1599"/>
                </a:cubicBezTo>
                <a:cubicBezTo>
                  <a:pt x="2465" y="1599"/>
                  <a:pt x="2463" y="1599"/>
                  <a:pt x="2462" y="1599"/>
                </a:cubicBezTo>
                <a:cubicBezTo>
                  <a:pt x="2462" y="1599"/>
                  <a:pt x="2462" y="1598"/>
                  <a:pt x="2463" y="1598"/>
                </a:cubicBezTo>
                <a:cubicBezTo>
                  <a:pt x="2463" y="1597"/>
                  <a:pt x="2463" y="1598"/>
                  <a:pt x="2464" y="1598"/>
                </a:cubicBezTo>
                <a:cubicBezTo>
                  <a:pt x="2464" y="1598"/>
                  <a:pt x="2464" y="1598"/>
                  <a:pt x="2464" y="1597"/>
                </a:cubicBezTo>
                <a:cubicBezTo>
                  <a:pt x="2465" y="1597"/>
                  <a:pt x="2465" y="1597"/>
                  <a:pt x="2466" y="1598"/>
                </a:cubicBezTo>
                <a:cubicBezTo>
                  <a:pt x="2466" y="1598"/>
                  <a:pt x="2467" y="1598"/>
                  <a:pt x="2467" y="1598"/>
                </a:cubicBezTo>
                <a:cubicBezTo>
                  <a:pt x="2468" y="1599"/>
                  <a:pt x="2469" y="1599"/>
                  <a:pt x="2469" y="1598"/>
                </a:cubicBezTo>
                <a:cubicBezTo>
                  <a:pt x="2469" y="1598"/>
                  <a:pt x="2469" y="1597"/>
                  <a:pt x="2469" y="1596"/>
                </a:cubicBezTo>
                <a:cubicBezTo>
                  <a:pt x="2470" y="1596"/>
                  <a:pt x="2471" y="1596"/>
                  <a:pt x="2471" y="1597"/>
                </a:cubicBezTo>
                <a:cubicBezTo>
                  <a:pt x="2471" y="1597"/>
                  <a:pt x="2471" y="1597"/>
                  <a:pt x="2471" y="1598"/>
                </a:cubicBezTo>
                <a:cubicBezTo>
                  <a:pt x="2471" y="1598"/>
                  <a:pt x="2471" y="1598"/>
                  <a:pt x="2472" y="1598"/>
                </a:cubicBezTo>
                <a:cubicBezTo>
                  <a:pt x="2473" y="1600"/>
                  <a:pt x="2473" y="1598"/>
                  <a:pt x="2474" y="1597"/>
                </a:cubicBezTo>
                <a:cubicBezTo>
                  <a:pt x="2474" y="1597"/>
                  <a:pt x="2477" y="1595"/>
                  <a:pt x="2476" y="1595"/>
                </a:cubicBezTo>
                <a:cubicBezTo>
                  <a:pt x="2475" y="1595"/>
                  <a:pt x="2475" y="1596"/>
                  <a:pt x="2474" y="1595"/>
                </a:cubicBezTo>
                <a:cubicBezTo>
                  <a:pt x="2473" y="1594"/>
                  <a:pt x="2474" y="1594"/>
                  <a:pt x="2475" y="1594"/>
                </a:cubicBezTo>
                <a:cubicBezTo>
                  <a:pt x="2475" y="1593"/>
                  <a:pt x="2476" y="1593"/>
                  <a:pt x="2476" y="1593"/>
                </a:cubicBezTo>
                <a:cubicBezTo>
                  <a:pt x="2477" y="1593"/>
                  <a:pt x="2477" y="1593"/>
                  <a:pt x="2477" y="1592"/>
                </a:cubicBezTo>
                <a:cubicBezTo>
                  <a:pt x="2478" y="1592"/>
                  <a:pt x="2478" y="1592"/>
                  <a:pt x="2478" y="1592"/>
                </a:cubicBezTo>
                <a:cubicBezTo>
                  <a:pt x="2479" y="1592"/>
                  <a:pt x="2479" y="1593"/>
                  <a:pt x="2480" y="1592"/>
                </a:cubicBezTo>
                <a:cubicBezTo>
                  <a:pt x="2481" y="1592"/>
                  <a:pt x="2480" y="1592"/>
                  <a:pt x="2480" y="1591"/>
                </a:cubicBezTo>
                <a:cubicBezTo>
                  <a:pt x="2479" y="1590"/>
                  <a:pt x="2480" y="1590"/>
                  <a:pt x="2480" y="1589"/>
                </a:cubicBezTo>
                <a:cubicBezTo>
                  <a:pt x="2480" y="1588"/>
                  <a:pt x="2479" y="1588"/>
                  <a:pt x="2479" y="1588"/>
                </a:cubicBezTo>
                <a:cubicBezTo>
                  <a:pt x="2478" y="1586"/>
                  <a:pt x="2479" y="1585"/>
                  <a:pt x="2480" y="1585"/>
                </a:cubicBezTo>
                <a:cubicBezTo>
                  <a:pt x="2481" y="1585"/>
                  <a:pt x="2482" y="1586"/>
                  <a:pt x="2483" y="1586"/>
                </a:cubicBezTo>
                <a:cubicBezTo>
                  <a:pt x="2484" y="1586"/>
                  <a:pt x="2485" y="1585"/>
                  <a:pt x="2486" y="1585"/>
                </a:cubicBezTo>
                <a:cubicBezTo>
                  <a:pt x="2487" y="1585"/>
                  <a:pt x="2487" y="1585"/>
                  <a:pt x="2487" y="1584"/>
                </a:cubicBezTo>
                <a:cubicBezTo>
                  <a:pt x="2487" y="1583"/>
                  <a:pt x="2487" y="1583"/>
                  <a:pt x="2486" y="1583"/>
                </a:cubicBezTo>
                <a:cubicBezTo>
                  <a:pt x="2486" y="1583"/>
                  <a:pt x="2485" y="1583"/>
                  <a:pt x="2484" y="1583"/>
                </a:cubicBezTo>
                <a:cubicBezTo>
                  <a:pt x="2484" y="1582"/>
                  <a:pt x="2484" y="1582"/>
                  <a:pt x="2484" y="1581"/>
                </a:cubicBezTo>
                <a:cubicBezTo>
                  <a:pt x="2485" y="1581"/>
                  <a:pt x="2485" y="1580"/>
                  <a:pt x="2485" y="1579"/>
                </a:cubicBezTo>
                <a:cubicBezTo>
                  <a:pt x="2485" y="1579"/>
                  <a:pt x="2486" y="1578"/>
                  <a:pt x="2486" y="1578"/>
                </a:cubicBezTo>
                <a:cubicBezTo>
                  <a:pt x="2487" y="1576"/>
                  <a:pt x="2488" y="1578"/>
                  <a:pt x="2489" y="1579"/>
                </a:cubicBezTo>
                <a:cubicBezTo>
                  <a:pt x="2489" y="1579"/>
                  <a:pt x="2490" y="1580"/>
                  <a:pt x="2490" y="1580"/>
                </a:cubicBezTo>
                <a:cubicBezTo>
                  <a:pt x="2491" y="1580"/>
                  <a:pt x="2491" y="1581"/>
                  <a:pt x="2492" y="1581"/>
                </a:cubicBezTo>
                <a:cubicBezTo>
                  <a:pt x="2493" y="1582"/>
                  <a:pt x="2493" y="1581"/>
                  <a:pt x="2494" y="1580"/>
                </a:cubicBezTo>
                <a:cubicBezTo>
                  <a:pt x="2495" y="1580"/>
                  <a:pt x="2498" y="1580"/>
                  <a:pt x="2497" y="1578"/>
                </a:cubicBezTo>
                <a:cubicBezTo>
                  <a:pt x="2497" y="1578"/>
                  <a:pt x="2496" y="1577"/>
                  <a:pt x="2496" y="1577"/>
                </a:cubicBezTo>
                <a:cubicBezTo>
                  <a:pt x="2496" y="1576"/>
                  <a:pt x="2496" y="1575"/>
                  <a:pt x="2495" y="1575"/>
                </a:cubicBezTo>
                <a:cubicBezTo>
                  <a:pt x="2494" y="1575"/>
                  <a:pt x="2494" y="1576"/>
                  <a:pt x="2494" y="1577"/>
                </a:cubicBezTo>
                <a:cubicBezTo>
                  <a:pt x="2495" y="1578"/>
                  <a:pt x="2495" y="1578"/>
                  <a:pt x="2495" y="1579"/>
                </a:cubicBezTo>
                <a:cubicBezTo>
                  <a:pt x="2494" y="1580"/>
                  <a:pt x="2493" y="1582"/>
                  <a:pt x="2492" y="1580"/>
                </a:cubicBezTo>
                <a:cubicBezTo>
                  <a:pt x="2492" y="1580"/>
                  <a:pt x="2493" y="1579"/>
                  <a:pt x="2492" y="1578"/>
                </a:cubicBezTo>
                <a:cubicBezTo>
                  <a:pt x="2492" y="1578"/>
                  <a:pt x="2491" y="1577"/>
                  <a:pt x="2491" y="1577"/>
                </a:cubicBezTo>
                <a:cubicBezTo>
                  <a:pt x="2490" y="1575"/>
                  <a:pt x="2492" y="1575"/>
                  <a:pt x="2492" y="1573"/>
                </a:cubicBezTo>
                <a:cubicBezTo>
                  <a:pt x="2492" y="1573"/>
                  <a:pt x="2492" y="1572"/>
                  <a:pt x="2492" y="1571"/>
                </a:cubicBezTo>
                <a:cubicBezTo>
                  <a:pt x="2492" y="1571"/>
                  <a:pt x="2493" y="1571"/>
                  <a:pt x="2493" y="1570"/>
                </a:cubicBezTo>
                <a:cubicBezTo>
                  <a:pt x="2494" y="1570"/>
                  <a:pt x="2494" y="1569"/>
                  <a:pt x="2494" y="1569"/>
                </a:cubicBezTo>
                <a:cubicBezTo>
                  <a:pt x="2494" y="1568"/>
                  <a:pt x="2493" y="1568"/>
                  <a:pt x="2493" y="1568"/>
                </a:cubicBezTo>
                <a:cubicBezTo>
                  <a:pt x="2492" y="1569"/>
                  <a:pt x="2490" y="1569"/>
                  <a:pt x="2489" y="1569"/>
                </a:cubicBezTo>
                <a:cubicBezTo>
                  <a:pt x="2488" y="1569"/>
                  <a:pt x="2487" y="1570"/>
                  <a:pt x="2487" y="1569"/>
                </a:cubicBezTo>
                <a:cubicBezTo>
                  <a:pt x="2488" y="1569"/>
                  <a:pt x="2490" y="1569"/>
                  <a:pt x="2490" y="1568"/>
                </a:cubicBezTo>
                <a:cubicBezTo>
                  <a:pt x="2491" y="1567"/>
                  <a:pt x="2491" y="1567"/>
                  <a:pt x="2491" y="1566"/>
                </a:cubicBezTo>
                <a:cubicBezTo>
                  <a:pt x="2492" y="1566"/>
                  <a:pt x="2492" y="1565"/>
                  <a:pt x="2492" y="1565"/>
                </a:cubicBezTo>
                <a:cubicBezTo>
                  <a:pt x="2493" y="1564"/>
                  <a:pt x="2493" y="1563"/>
                  <a:pt x="2494" y="1563"/>
                </a:cubicBezTo>
                <a:cubicBezTo>
                  <a:pt x="2494" y="1563"/>
                  <a:pt x="2495" y="1563"/>
                  <a:pt x="2495" y="1562"/>
                </a:cubicBezTo>
                <a:cubicBezTo>
                  <a:pt x="2496" y="1562"/>
                  <a:pt x="2496" y="1561"/>
                  <a:pt x="2497" y="1561"/>
                </a:cubicBezTo>
                <a:cubicBezTo>
                  <a:pt x="2497" y="1561"/>
                  <a:pt x="2498" y="1561"/>
                  <a:pt x="2498" y="1561"/>
                </a:cubicBezTo>
                <a:cubicBezTo>
                  <a:pt x="2499" y="1560"/>
                  <a:pt x="2498" y="1560"/>
                  <a:pt x="2497" y="1560"/>
                </a:cubicBezTo>
                <a:cubicBezTo>
                  <a:pt x="2497" y="1560"/>
                  <a:pt x="2496" y="1559"/>
                  <a:pt x="2496" y="1559"/>
                </a:cubicBezTo>
                <a:cubicBezTo>
                  <a:pt x="2495" y="1559"/>
                  <a:pt x="2495" y="1560"/>
                  <a:pt x="2495" y="1561"/>
                </a:cubicBezTo>
                <a:cubicBezTo>
                  <a:pt x="2495" y="1561"/>
                  <a:pt x="2494" y="1562"/>
                  <a:pt x="2493" y="1561"/>
                </a:cubicBezTo>
                <a:cubicBezTo>
                  <a:pt x="2493" y="1561"/>
                  <a:pt x="2493" y="1560"/>
                  <a:pt x="2493" y="1560"/>
                </a:cubicBezTo>
                <a:cubicBezTo>
                  <a:pt x="2493" y="1560"/>
                  <a:pt x="2493" y="1560"/>
                  <a:pt x="2493" y="1559"/>
                </a:cubicBezTo>
                <a:cubicBezTo>
                  <a:pt x="2492" y="1559"/>
                  <a:pt x="2492" y="1558"/>
                  <a:pt x="2493" y="1558"/>
                </a:cubicBezTo>
                <a:cubicBezTo>
                  <a:pt x="2493" y="1558"/>
                  <a:pt x="2495" y="1558"/>
                  <a:pt x="2495" y="1557"/>
                </a:cubicBezTo>
                <a:cubicBezTo>
                  <a:pt x="2495" y="1557"/>
                  <a:pt x="2494" y="1557"/>
                  <a:pt x="2493" y="1556"/>
                </a:cubicBezTo>
                <a:cubicBezTo>
                  <a:pt x="2493" y="1556"/>
                  <a:pt x="2493" y="1556"/>
                  <a:pt x="2492" y="1555"/>
                </a:cubicBezTo>
                <a:cubicBezTo>
                  <a:pt x="2492" y="1555"/>
                  <a:pt x="2491" y="1555"/>
                  <a:pt x="2491" y="1554"/>
                </a:cubicBezTo>
                <a:cubicBezTo>
                  <a:pt x="2491" y="1552"/>
                  <a:pt x="2492" y="1553"/>
                  <a:pt x="2494" y="1552"/>
                </a:cubicBezTo>
                <a:cubicBezTo>
                  <a:pt x="2494" y="1552"/>
                  <a:pt x="2495" y="1551"/>
                  <a:pt x="2495" y="1551"/>
                </a:cubicBezTo>
                <a:cubicBezTo>
                  <a:pt x="2496" y="1552"/>
                  <a:pt x="2496" y="1552"/>
                  <a:pt x="2497" y="1553"/>
                </a:cubicBezTo>
                <a:cubicBezTo>
                  <a:pt x="2498" y="1553"/>
                  <a:pt x="2499" y="1551"/>
                  <a:pt x="2500" y="1552"/>
                </a:cubicBezTo>
                <a:cubicBezTo>
                  <a:pt x="2501" y="1552"/>
                  <a:pt x="2501" y="1555"/>
                  <a:pt x="2503" y="1554"/>
                </a:cubicBezTo>
                <a:cubicBezTo>
                  <a:pt x="2503" y="1553"/>
                  <a:pt x="2502" y="1553"/>
                  <a:pt x="2502" y="1553"/>
                </a:cubicBezTo>
                <a:cubicBezTo>
                  <a:pt x="2502" y="1552"/>
                  <a:pt x="2502" y="1551"/>
                  <a:pt x="2502" y="1551"/>
                </a:cubicBezTo>
                <a:cubicBezTo>
                  <a:pt x="2503" y="1550"/>
                  <a:pt x="2503" y="1550"/>
                  <a:pt x="2504" y="1550"/>
                </a:cubicBezTo>
                <a:cubicBezTo>
                  <a:pt x="2504" y="1549"/>
                  <a:pt x="2505" y="1548"/>
                  <a:pt x="2505" y="1548"/>
                </a:cubicBezTo>
                <a:cubicBezTo>
                  <a:pt x="2505" y="1547"/>
                  <a:pt x="2505" y="1546"/>
                  <a:pt x="2506" y="1546"/>
                </a:cubicBezTo>
                <a:cubicBezTo>
                  <a:pt x="2506" y="1545"/>
                  <a:pt x="2507" y="1545"/>
                  <a:pt x="2507" y="1544"/>
                </a:cubicBezTo>
                <a:cubicBezTo>
                  <a:pt x="2508" y="1544"/>
                  <a:pt x="2508" y="1543"/>
                  <a:pt x="2509" y="1542"/>
                </a:cubicBezTo>
                <a:cubicBezTo>
                  <a:pt x="2510" y="1542"/>
                  <a:pt x="2511" y="1541"/>
                  <a:pt x="2511" y="1541"/>
                </a:cubicBezTo>
                <a:cubicBezTo>
                  <a:pt x="2511" y="1540"/>
                  <a:pt x="2512" y="1539"/>
                  <a:pt x="2512" y="1539"/>
                </a:cubicBezTo>
                <a:cubicBezTo>
                  <a:pt x="2513" y="1538"/>
                  <a:pt x="2513" y="1537"/>
                  <a:pt x="2513" y="1535"/>
                </a:cubicBezTo>
                <a:cubicBezTo>
                  <a:pt x="2513" y="1534"/>
                  <a:pt x="2514" y="1532"/>
                  <a:pt x="2515" y="1531"/>
                </a:cubicBezTo>
                <a:cubicBezTo>
                  <a:pt x="2516" y="1530"/>
                  <a:pt x="2516" y="1530"/>
                  <a:pt x="2516" y="1529"/>
                </a:cubicBezTo>
                <a:cubicBezTo>
                  <a:pt x="2517" y="1528"/>
                  <a:pt x="2516" y="1527"/>
                  <a:pt x="2517" y="1526"/>
                </a:cubicBezTo>
                <a:cubicBezTo>
                  <a:pt x="2517" y="1525"/>
                  <a:pt x="2518" y="1525"/>
                  <a:pt x="2519" y="1524"/>
                </a:cubicBezTo>
                <a:cubicBezTo>
                  <a:pt x="2520" y="1524"/>
                  <a:pt x="2521" y="1522"/>
                  <a:pt x="2521" y="1522"/>
                </a:cubicBezTo>
                <a:cubicBezTo>
                  <a:pt x="2522" y="1521"/>
                  <a:pt x="2522" y="1518"/>
                  <a:pt x="2523" y="1518"/>
                </a:cubicBezTo>
                <a:cubicBezTo>
                  <a:pt x="2524" y="1519"/>
                  <a:pt x="2524" y="1519"/>
                  <a:pt x="2524" y="1520"/>
                </a:cubicBezTo>
                <a:cubicBezTo>
                  <a:pt x="2525" y="1520"/>
                  <a:pt x="2525" y="1520"/>
                  <a:pt x="2526" y="1521"/>
                </a:cubicBezTo>
                <a:cubicBezTo>
                  <a:pt x="2526" y="1521"/>
                  <a:pt x="2526" y="1524"/>
                  <a:pt x="2527" y="1523"/>
                </a:cubicBezTo>
                <a:cubicBezTo>
                  <a:pt x="2529" y="1522"/>
                  <a:pt x="2528" y="1521"/>
                  <a:pt x="2529" y="1520"/>
                </a:cubicBezTo>
                <a:cubicBezTo>
                  <a:pt x="2530" y="1520"/>
                  <a:pt x="2531" y="1520"/>
                  <a:pt x="2532" y="1520"/>
                </a:cubicBezTo>
                <a:cubicBezTo>
                  <a:pt x="2533" y="1519"/>
                  <a:pt x="2532" y="1518"/>
                  <a:pt x="2531" y="1517"/>
                </a:cubicBezTo>
                <a:cubicBezTo>
                  <a:pt x="2531" y="1517"/>
                  <a:pt x="2531" y="1516"/>
                  <a:pt x="2531" y="1516"/>
                </a:cubicBezTo>
                <a:cubicBezTo>
                  <a:pt x="2530" y="1515"/>
                  <a:pt x="2531" y="1514"/>
                  <a:pt x="2531" y="1514"/>
                </a:cubicBezTo>
                <a:cubicBezTo>
                  <a:pt x="2531" y="1513"/>
                  <a:pt x="2530" y="1513"/>
                  <a:pt x="2530" y="1512"/>
                </a:cubicBezTo>
                <a:cubicBezTo>
                  <a:pt x="2528" y="1510"/>
                  <a:pt x="2531" y="1510"/>
                  <a:pt x="2532" y="1510"/>
                </a:cubicBezTo>
                <a:cubicBezTo>
                  <a:pt x="2532" y="1509"/>
                  <a:pt x="2532" y="1508"/>
                  <a:pt x="2532" y="1508"/>
                </a:cubicBezTo>
                <a:cubicBezTo>
                  <a:pt x="2532" y="1507"/>
                  <a:pt x="2531" y="1507"/>
                  <a:pt x="2531" y="1506"/>
                </a:cubicBezTo>
                <a:cubicBezTo>
                  <a:pt x="2531" y="1505"/>
                  <a:pt x="2533" y="1506"/>
                  <a:pt x="2533" y="1506"/>
                </a:cubicBezTo>
                <a:cubicBezTo>
                  <a:pt x="2534" y="1506"/>
                  <a:pt x="2533" y="1505"/>
                  <a:pt x="2533" y="1505"/>
                </a:cubicBezTo>
                <a:cubicBezTo>
                  <a:pt x="2532" y="1504"/>
                  <a:pt x="2532" y="1502"/>
                  <a:pt x="2530" y="1502"/>
                </a:cubicBezTo>
                <a:cubicBezTo>
                  <a:pt x="2530" y="1502"/>
                  <a:pt x="2529" y="1502"/>
                  <a:pt x="2529" y="1501"/>
                </a:cubicBezTo>
                <a:cubicBezTo>
                  <a:pt x="2528" y="1501"/>
                  <a:pt x="2529" y="1500"/>
                  <a:pt x="2529" y="1500"/>
                </a:cubicBezTo>
                <a:cubicBezTo>
                  <a:pt x="2530" y="1500"/>
                  <a:pt x="2530" y="1500"/>
                  <a:pt x="2530" y="1499"/>
                </a:cubicBezTo>
                <a:cubicBezTo>
                  <a:pt x="2531" y="1499"/>
                  <a:pt x="2531" y="1499"/>
                  <a:pt x="2531" y="1498"/>
                </a:cubicBezTo>
                <a:cubicBezTo>
                  <a:pt x="2532" y="1498"/>
                  <a:pt x="2532" y="1499"/>
                  <a:pt x="2533" y="1499"/>
                </a:cubicBezTo>
                <a:cubicBezTo>
                  <a:pt x="2534" y="1501"/>
                  <a:pt x="2534" y="1500"/>
                  <a:pt x="2535" y="1499"/>
                </a:cubicBezTo>
                <a:cubicBezTo>
                  <a:pt x="2535" y="1498"/>
                  <a:pt x="2536" y="1498"/>
                  <a:pt x="2537" y="1498"/>
                </a:cubicBezTo>
                <a:cubicBezTo>
                  <a:pt x="2537" y="1498"/>
                  <a:pt x="2538" y="1499"/>
                  <a:pt x="2538" y="1498"/>
                </a:cubicBezTo>
                <a:cubicBezTo>
                  <a:pt x="2538" y="1497"/>
                  <a:pt x="2539" y="1496"/>
                  <a:pt x="2539" y="1496"/>
                </a:cubicBezTo>
                <a:cubicBezTo>
                  <a:pt x="2539" y="1495"/>
                  <a:pt x="2539" y="1493"/>
                  <a:pt x="2539" y="1492"/>
                </a:cubicBezTo>
                <a:cubicBezTo>
                  <a:pt x="2539" y="1490"/>
                  <a:pt x="2537" y="1491"/>
                  <a:pt x="2536" y="1491"/>
                </a:cubicBezTo>
                <a:cubicBezTo>
                  <a:pt x="2535" y="1492"/>
                  <a:pt x="2535" y="1492"/>
                  <a:pt x="2535" y="1493"/>
                </a:cubicBezTo>
                <a:cubicBezTo>
                  <a:pt x="2535" y="1493"/>
                  <a:pt x="2536" y="1494"/>
                  <a:pt x="2535" y="1494"/>
                </a:cubicBezTo>
                <a:cubicBezTo>
                  <a:pt x="2534" y="1494"/>
                  <a:pt x="2534" y="1493"/>
                  <a:pt x="2533" y="1493"/>
                </a:cubicBezTo>
                <a:cubicBezTo>
                  <a:pt x="2532" y="1493"/>
                  <a:pt x="2532" y="1494"/>
                  <a:pt x="2531" y="1494"/>
                </a:cubicBezTo>
                <a:cubicBezTo>
                  <a:pt x="2530" y="1494"/>
                  <a:pt x="2531" y="1493"/>
                  <a:pt x="2531" y="1493"/>
                </a:cubicBezTo>
                <a:cubicBezTo>
                  <a:pt x="2532" y="1493"/>
                  <a:pt x="2532" y="1493"/>
                  <a:pt x="2533" y="1492"/>
                </a:cubicBezTo>
                <a:cubicBezTo>
                  <a:pt x="2534" y="1492"/>
                  <a:pt x="2535" y="1491"/>
                  <a:pt x="2536" y="1491"/>
                </a:cubicBezTo>
                <a:cubicBezTo>
                  <a:pt x="2537" y="1490"/>
                  <a:pt x="2538" y="1489"/>
                  <a:pt x="2539" y="1488"/>
                </a:cubicBezTo>
                <a:cubicBezTo>
                  <a:pt x="2539" y="1487"/>
                  <a:pt x="2540" y="1487"/>
                  <a:pt x="2541" y="1486"/>
                </a:cubicBezTo>
                <a:cubicBezTo>
                  <a:pt x="2543" y="1484"/>
                  <a:pt x="2540" y="1485"/>
                  <a:pt x="2539" y="1485"/>
                </a:cubicBezTo>
                <a:cubicBezTo>
                  <a:pt x="2539" y="1486"/>
                  <a:pt x="2538" y="1486"/>
                  <a:pt x="2537" y="1485"/>
                </a:cubicBezTo>
                <a:cubicBezTo>
                  <a:pt x="2537" y="1485"/>
                  <a:pt x="2536" y="1485"/>
                  <a:pt x="2536" y="1485"/>
                </a:cubicBezTo>
                <a:cubicBezTo>
                  <a:pt x="2535" y="1484"/>
                  <a:pt x="2535" y="1484"/>
                  <a:pt x="2534" y="1483"/>
                </a:cubicBezTo>
                <a:cubicBezTo>
                  <a:pt x="2533" y="1483"/>
                  <a:pt x="2532" y="1483"/>
                  <a:pt x="2531" y="1482"/>
                </a:cubicBezTo>
                <a:cubicBezTo>
                  <a:pt x="2531" y="1481"/>
                  <a:pt x="2530" y="1480"/>
                  <a:pt x="2529" y="1480"/>
                </a:cubicBezTo>
                <a:cubicBezTo>
                  <a:pt x="2528" y="1479"/>
                  <a:pt x="2528" y="1478"/>
                  <a:pt x="2527" y="1478"/>
                </a:cubicBezTo>
                <a:cubicBezTo>
                  <a:pt x="2526" y="1477"/>
                  <a:pt x="2526" y="1476"/>
                  <a:pt x="2525" y="1476"/>
                </a:cubicBezTo>
                <a:cubicBezTo>
                  <a:pt x="2524" y="1476"/>
                  <a:pt x="2523" y="1476"/>
                  <a:pt x="2522" y="1477"/>
                </a:cubicBezTo>
                <a:cubicBezTo>
                  <a:pt x="2521" y="1477"/>
                  <a:pt x="2521" y="1478"/>
                  <a:pt x="2520" y="1478"/>
                </a:cubicBezTo>
                <a:cubicBezTo>
                  <a:pt x="2519" y="1479"/>
                  <a:pt x="2519" y="1479"/>
                  <a:pt x="2518" y="1479"/>
                </a:cubicBezTo>
                <a:cubicBezTo>
                  <a:pt x="2518" y="1479"/>
                  <a:pt x="2517" y="1479"/>
                  <a:pt x="2517" y="1480"/>
                </a:cubicBezTo>
                <a:cubicBezTo>
                  <a:pt x="2516" y="1480"/>
                  <a:pt x="2515" y="1480"/>
                  <a:pt x="2514" y="1480"/>
                </a:cubicBezTo>
                <a:cubicBezTo>
                  <a:pt x="2512" y="1480"/>
                  <a:pt x="2512" y="1478"/>
                  <a:pt x="2511" y="1477"/>
                </a:cubicBezTo>
                <a:cubicBezTo>
                  <a:pt x="2511" y="1477"/>
                  <a:pt x="2510" y="1476"/>
                  <a:pt x="2510" y="1476"/>
                </a:cubicBezTo>
                <a:cubicBezTo>
                  <a:pt x="2508" y="1476"/>
                  <a:pt x="2508" y="1478"/>
                  <a:pt x="2507" y="1477"/>
                </a:cubicBezTo>
                <a:cubicBezTo>
                  <a:pt x="2507" y="1477"/>
                  <a:pt x="2508" y="1476"/>
                  <a:pt x="2509" y="1476"/>
                </a:cubicBezTo>
                <a:cubicBezTo>
                  <a:pt x="2510" y="1476"/>
                  <a:pt x="2510" y="1476"/>
                  <a:pt x="2511" y="1476"/>
                </a:cubicBezTo>
                <a:cubicBezTo>
                  <a:pt x="2512" y="1476"/>
                  <a:pt x="2512" y="1476"/>
                  <a:pt x="2512" y="1476"/>
                </a:cubicBezTo>
                <a:cubicBezTo>
                  <a:pt x="2514" y="1475"/>
                  <a:pt x="2516" y="1477"/>
                  <a:pt x="2517" y="1476"/>
                </a:cubicBezTo>
                <a:cubicBezTo>
                  <a:pt x="2519" y="1475"/>
                  <a:pt x="2519" y="1473"/>
                  <a:pt x="2520" y="1472"/>
                </a:cubicBezTo>
                <a:cubicBezTo>
                  <a:pt x="2521" y="1472"/>
                  <a:pt x="2521" y="1472"/>
                  <a:pt x="2522" y="1471"/>
                </a:cubicBezTo>
                <a:cubicBezTo>
                  <a:pt x="2523" y="1471"/>
                  <a:pt x="2523" y="1470"/>
                  <a:pt x="2524" y="1470"/>
                </a:cubicBezTo>
                <a:cubicBezTo>
                  <a:pt x="2524" y="1468"/>
                  <a:pt x="2526" y="1468"/>
                  <a:pt x="2527" y="1467"/>
                </a:cubicBezTo>
                <a:cubicBezTo>
                  <a:pt x="2529" y="1467"/>
                  <a:pt x="2530" y="1466"/>
                  <a:pt x="2531" y="1465"/>
                </a:cubicBezTo>
                <a:cubicBezTo>
                  <a:pt x="2533" y="1465"/>
                  <a:pt x="2538" y="1465"/>
                  <a:pt x="2537" y="1462"/>
                </a:cubicBezTo>
                <a:cubicBezTo>
                  <a:pt x="2537" y="1459"/>
                  <a:pt x="2535" y="1458"/>
                  <a:pt x="2533" y="1456"/>
                </a:cubicBezTo>
                <a:cubicBezTo>
                  <a:pt x="2533" y="1455"/>
                  <a:pt x="2532" y="1454"/>
                  <a:pt x="2532" y="1454"/>
                </a:cubicBezTo>
                <a:cubicBezTo>
                  <a:pt x="2531" y="1453"/>
                  <a:pt x="2529" y="1452"/>
                  <a:pt x="2528" y="1451"/>
                </a:cubicBezTo>
                <a:cubicBezTo>
                  <a:pt x="2526" y="1450"/>
                  <a:pt x="2525" y="1449"/>
                  <a:pt x="2524" y="1448"/>
                </a:cubicBezTo>
                <a:cubicBezTo>
                  <a:pt x="2523" y="1447"/>
                  <a:pt x="2523" y="1446"/>
                  <a:pt x="2521" y="1446"/>
                </a:cubicBezTo>
                <a:cubicBezTo>
                  <a:pt x="2520" y="1445"/>
                  <a:pt x="2518" y="1446"/>
                  <a:pt x="2517" y="1445"/>
                </a:cubicBezTo>
                <a:cubicBezTo>
                  <a:pt x="2516" y="1444"/>
                  <a:pt x="2515" y="1444"/>
                  <a:pt x="2514" y="1442"/>
                </a:cubicBezTo>
                <a:cubicBezTo>
                  <a:pt x="2514" y="1441"/>
                  <a:pt x="2514" y="1440"/>
                  <a:pt x="2512" y="1440"/>
                </a:cubicBezTo>
                <a:cubicBezTo>
                  <a:pt x="2511" y="1439"/>
                  <a:pt x="2510" y="1439"/>
                  <a:pt x="2508" y="1440"/>
                </a:cubicBezTo>
                <a:cubicBezTo>
                  <a:pt x="2507" y="1441"/>
                  <a:pt x="2506" y="1442"/>
                  <a:pt x="2505" y="1441"/>
                </a:cubicBezTo>
                <a:cubicBezTo>
                  <a:pt x="2503" y="1441"/>
                  <a:pt x="2502" y="1440"/>
                  <a:pt x="2501" y="1440"/>
                </a:cubicBezTo>
                <a:cubicBezTo>
                  <a:pt x="2499" y="1440"/>
                  <a:pt x="2498" y="1439"/>
                  <a:pt x="2497" y="1438"/>
                </a:cubicBezTo>
                <a:cubicBezTo>
                  <a:pt x="2496" y="1437"/>
                  <a:pt x="2495" y="1437"/>
                  <a:pt x="2494" y="1436"/>
                </a:cubicBezTo>
                <a:cubicBezTo>
                  <a:pt x="2493" y="1436"/>
                  <a:pt x="2493" y="1435"/>
                  <a:pt x="2493" y="1435"/>
                </a:cubicBezTo>
                <a:cubicBezTo>
                  <a:pt x="2494" y="1434"/>
                  <a:pt x="2494" y="1433"/>
                  <a:pt x="2494" y="1432"/>
                </a:cubicBezTo>
                <a:cubicBezTo>
                  <a:pt x="2494" y="1432"/>
                  <a:pt x="2494" y="1432"/>
                  <a:pt x="2494" y="1432"/>
                </a:cubicBezTo>
                <a:cubicBezTo>
                  <a:pt x="2495" y="1432"/>
                  <a:pt x="2495" y="1434"/>
                  <a:pt x="2495" y="1434"/>
                </a:cubicBezTo>
                <a:cubicBezTo>
                  <a:pt x="2495" y="1434"/>
                  <a:pt x="2496" y="1434"/>
                  <a:pt x="2497" y="1434"/>
                </a:cubicBezTo>
                <a:cubicBezTo>
                  <a:pt x="2498" y="1435"/>
                  <a:pt x="2498" y="1436"/>
                  <a:pt x="2498" y="1438"/>
                </a:cubicBezTo>
                <a:cubicBezTo>
                  <a:pt x="2499" y="1439"/>
                  <a:pt x="2500" y="1440"/>
                  <a:pt x="2501" y="1440"/>
                </a:cubicBezTo>
                <a:cubicBezTo>
                  <a:pt x="2501" y="1440"/>
                  <a:pt x="2502" y="1440"/>
                  <a:pt x="2503" y="1440"/>
                </a:cubicBezTo>
                <a:cubicBezTo>
                  <a:pt x="2503" y="1440"/>
                  <a:pt x="2504" y="1441"/>
                  <a:pt x="2505" y="1441"/>
                </a:cubicBezTo>
                <a:cubicBezTo>
                  <a:pt x="2508" y="1442"/>
                  <a:pt x="2508" y="1437"/>
                  <a:pt x="2511" y="1438"/>
                </a:cubicBezTo>
                <a:cubicBezTo>
                  <a:pt x="2512" y="1438"/>
                  <a:pt x="2512" y="1439"/>
                  <a:pt x="2513" y="1439"/>
                </a:cubicBezTo>
                <a:cubicBezTo>
                  <a:pt x="2513" y="1439"/>
                  <a:pt x="2514" y="1439"/>
                  <a:pt x="2515" y="1439"/>
                </a:cubicBezTo>
                <a:cubicBezTo>
                  <a:pt x="2516" y="1440"/>
                  <a:pt x="2517" y="1441"/>
                  <a:pt x="2517" y="1442"/>
                </a:cubicBezTo>
                <a:cubicBezTo>
                  <a:pt x="2518" y="1443"/>
                  <a:pt x="2519" y="1444"/>
                  <a:pt x="2520" y="1444"/>
                </a:cubicBezTo>
                <a:cubicBezTo>
                  <a:pt x="2522" y="1444"/>
                  <a:pt x="2523" y="1444"/>
                  <a:pt x="2524" y="1443"/>
                </a:cubicBezTo>
                <a:cubicBezTo>
                  <a:pt x="2525" y="1443"/>
                  <a:pt x="2526" y="1444"/>
                  <a:pt x="2526" y="1444"/>
                </a:cubicBezTo>
                <a:cubicBezTo>
                  <a:pt x="2527" y="1444"/>
                  <a:pt x="2528" y="1443"/>
                  <a:pt x="2528" y="1443"/>
                </a:cubicBezTo>
                <a:cubicBezTo>
                  <a:pt x="2529" y="1444"/>
                  <a:pt x="2530" y="1444"/>
                  <a:pt x="2530" y="1445"/>
                </a:cubicBezTo>
                <a:cubicBezTo>
                  <a:pt x="2531" y="1445"/>
                  <a:pt x="2532" y="1445"/>
                  <a:pt x="2532" y="1445"/>
                </a:cubicBezTo>
                <a:cubicBezTo>
                  <a:pt x="2534" y="1445"/>
                  <a:pt x="2536" y="1447"/>
                  <a:pt x="2538" y="1446"/>
                </a:cubicBezTo>
                <a:cubicBezTo>
                  <a:pt x="2538" y="1445"/>
                  <a:pt x="2537" y="1445"/>
                  <a:pt x="2537" y="1444"/>
                </a:cubicBezTo>
                <a:cubicBezTo>
                  <a:pt x="2537" y="1444"/>
                  <a:pt x="2537" y="1443"/>
                  <a:pt x="2537" y="1443"/>
                </a:cubicBezTo>
                <a:cubicBezTo>
                  <a:pt x="2536" y="1442"/>
                  <a:pt x="2536" y="1442"/>
                  <a:pt x="2536" y="1441"/>
                </a:cubicBezTo>
                <a:cubicBezTo>
                  <a:pt x="2536" y="1440"/>
                  <a:pt x="2535" y="1440"/>
                  <a:pt x="2535" y="1440"/>
                </a:cubicBezTo>
                <a:cubicBezTo>
                  <a:pt x="2535" y="1439"/>
                  <a:pt x="2534" y="1439"/>
                  <a:pt x="2533" y="1439"/>
                </a:cubicBezTo>
                <a:cubicBezTo>
                  <a:pt x="2532" y="1438"/>
                  <a:pt x="2531" y="1438"/>
                  <a:pt x="2530" y="1438"/>
                </a:cubicBezTo>
                <a:cubicBezTo>
                  <a:pt x="2529" y="1437"/>
                  <a:pt x="2528" y="1437"/>
                  <a:pt x="2527" y="1436"/>
                </a:cubicBezTo>
                <a:cubicBezTo>
                  <a:pt x="2526" y="1435"/>
                  <a:pt x="2527" y="1433"/>
                  <a:pt x="2526" y="1431"/>
                </a:cubicBezTo>
                <a:cubicBezTo>
                  <a:pt x="2526" y="1430"/>
                  <a:pt x="2525" y="1429"/>
                  <a:pt x="2523" y="1429"/>
                </a:cubicBezTo>
                <a:cubicBezTo>
                  <a:pt x="2522" y="1428"/>
                  <a:pt x="2519" y="1427"/>
                  <a:pt x="2518" y="1426"/>
                </a:cubicBezTo>
                <a:cubicBezTo>
                  <a:pt x="2517" y="1424"/>
                  <a:pt x="2518" y="1423"/>
                  <a:pt x="2518" y="1421"/>
                </a:cubicBezTo>
                <a:cubicBezTo>
                  <a:pt x="2518" y="1419"/>
                  <a:pt x="2518" y="1418"/>
                  <a:pt x="2517" y="1416"/>
                </a:cubicBezTo>
                <a:cubicBezTo>
                  <a:pt x="2516" y="1415"/>
                  <a:pt x="2516" y="1414"/>
                  <a:pt x="2515" y="1413"/>
                </a:cubicBezTo>
                <a:cubicBezTo>
                  <a:pt x="2515" y="1413"/>
                  <a:pt x="2514" y="1412"/>
                  <a:pt x="2514" y="1411"/>
                </a:cubicBezTo>
                <a:cubicBezTo>
                  <a:pt x="2513" y="1409"/>
                  <a:pt x="2513" y="1407"/>
                  <a:pt x="2512" y="1405"/>
                </a:cubicBezTo>
                <a:cubicBezTo>
                  <a:pt x="2511" y="1402"/>
                  <a:pt x="2509" y="1399"/>
                  <a:pt x="2509" y="1396"/>
                </a:cubicBezTo>
                <a:cubicBezTo>
                  <a:pt x="2508" y="1393"/>
                  <a:pt x="2507" y="1390"/>
                  <a:pt x="2504" y="1388"/>
                </a:cubicBezTo>
                <a:cubicBezTo>
                  <a:pt x="2503" y="1387"/>
                  <a:pt x="2502" y="1387"/>
                  <a:pt x="2500" y="1386"/>
                </a:cubicBezTo>
                <a:cubicBezTo>
                  <a:pt x="2499" y="1386"/>
                  <a:pt x="2498" y="1386"/>
                  <a:pt x="2497" y="1385"/>
                </a:cubicBezTo>
                <a:cubicBezTo>
                  <a:pt x="2496" y="1384"/>
                  <a:pt x="2495" y="1383"/>
                  <a:pt x="2494" y="1382"/>
                </a:cubicBezTo>
                <a:cubicBezTo>
                  <a:pt x="2493" y="1381"/>
                  <a:pt x="2492" y="1380"/>
                  <a:pt x="2491" y="1380"/>
                </a:cubicBezTo>
                <a:cubicBezTo>
                  <a:pt x="2490" y="1379"/>
                  <a:pt x="2489" y="1378"/>
                  <a:pt x="2488" y="1378"/>
                </a:cubicBezTo>
                <a:cubicBezTo>
                  <a:pt x="2487" y="1378"/>
                  <a:pt x="2486" y="1378"/>
                  <a:pt x="2486" y="1378"/>
                </a:cubicBezTo>
                <a:cubicBezTo>
                  <a:pt x="2485" y="1379"/>
                  <a:pt x="2485" y="1380"/>
                  <a:pt x="2484" y="1379"/>
                </a:cubicBezTo>
                <a:cubicBezTo>
                  <a:pt x="2483" y="1379"/>
                  <a:pt x="2484" y="1376"/>
                  <a:pt x="2484" y="1376"/>
                </a:cubicBezTo>
                <a:cubicBezTo>
                  <a:pt x="2485" y="1375"/>
                  <a:pt x="2484" y="1374"/>
                  <a:pt x="2485" y="1374"/>
                </a:cubicBezTo>
                <a:cubicBezTo>
                  <a:pt x="2485" y="1373"/>
                  <a:pt x="2486" y="1372"/>
                  <a:pt x="2486" y="1372"/>
                </a:cubicBezTo>
                <a:cubicBezTo>
                  <a:pt x="2487" y="1371"/>
                  <a:pt x="2487" y="1371"/>
                  <a:pt x="2487" y="1370"/>
                </a:cubicBezTo>
                <a:cubicBezTo>
                  <a:pt x="2488" y="1368"/>
                  <a:pt x="2489" y="1367"/>
                  <a:pt x="2490" y="1365"/>
                </a:cubicBezTo>
                <a:cubicBezTo>
                  <a:pt x="2491" y="1364"/>
                  <a:pt x="2492" y="1362"/>
                  <a:pt x="2494" y="1361"/>
                </a:cubicBezTo>
                <a:cubicBezTo>
                  <a:pt x="2495" y="1360"/>
                  <a:pt x="2497" y="1361"/>
                  <a:pt x="2498" y="1360"/>
                </a:cubicBezTo>
                <a:cubicBezTo>
                  <a:pt x="2499" y="1359"/>
                  <a:pt x="2500" y="1358"/>
                  <a:pt x="2501" y="1356"/>
                </a:cubicBezTo>
                <a:cubicBezTo>
                  <a:pt x="2502" y="1354"/>
                  <a:pt x="2503" y="1354"/>
                  <a:pt x="2505" y="1353"/>
                </a:cubicBezTo>
                <a:cubicBezTo>
                  <a:pt x="2505" y="1353"/>
                  <a:pt x="2506" y="1352"/>
                  <a:pt x="2506" y="1351"/>
                </a:cubicBezTo>
                <a:cubicBezTo>
                  <a:pt x="2506" y="1351"/>
                  <a:pt x="2505" y="1350"/>
                  <a:pt x="2504" y="1350"/>
                </a:cubicBezTo>
                <a:cubicBezTo>
                  <a:pt x="2504" y="1350"/>
                  <a:pt x="2504" y="1349"/>
                  <a:pt x="2503" y="1349"/>
                </a:cubicBezTo>
                <a:cubicBezTo>
                  <a:pt x="2503" y="1348"/>
                  <a:pt x="2502" y="1348"/>
                  <a:pt x="2502" y="1348"/>
                </a:cubicBezTo>
                <a:cubicBezTo>
                  <a:pt x="2502" y="1347"/>
                  <a:pt x="2503" y="1347"/>
                  <a:pt x="2503" y="1346"/>
                </a:cubicBezTo>
                <a:cubicBezTo>
                  <a:pt x="2503" y="1346"/>
                  <a:pt x="2504" y="1346"/>
                  <a:pt x="2504" y="1346"/>
                </a:cubicBezTo>
                <a:cubicBezTo>
                  <a:pt x="2504" y="1346"/>
                  <a:pt x="2505" y="1346"/>
                  <a:pt x="2505" y="1346"/>
                </a:cubicBezTo>
                <a:cubicBezTo>
                  <a:pt x="2506" y="1345"/>
                  <a:pt x="2507" y="1347"/>
                  <a:pt x="2507" y="1348"/>
                </a:cubicBezTo>
                <a:cubicBezTo>
                  <a:pt x="2507" y="1349"/>
                  <a:pt x="2506" y="1350"/>
                  <a:pt x="2507" y="1350"/>
                </a:cubicBezTo>
                <a:cubicBezTo>
                  <a:pt x="2508" y="1351"/>
                  <a:pt x="2509" y="1350"/>
                  <a:pt x="2509" y="1349"/>
                </a:cubicBezTo>
                <a:cubicBezTo>
                  <a:pt x="2511" y="1349"/>
                  <a:pt x="2512" y="1349"/>
                  <a:pt x="2513" y="1348"/>
                </a:cubicBezTo>
                <a:cubicBezTo>
                  <a:pt x="2515" y="1347"/>
                  <a:pt x="2512" y="1346"/>
                  <a:pt x="2513" y="1344"/>
                </a:cubicBezTo>
                <a:cubicBezTo>
                  <a:pt x="2514" y="1343"/>
                  <a:pt x="2516" y="1343"/>
                  <a:pt x="2517" y="1342"/>
                </a:cubicBezTo>
                <a:cubicBezTo>
                  <a:pt x="2518" y="1341"/>
                  <a:pt x="2519" y="1340"/>
                  <a:pt x="2518" y="1339"/>
                </a:cubicBezTo>
                <a:cubicBezTo>
                  <a:pt x="2518" y="1338"/>
                  <a:pt x="2517" y="1338"/>
                  <a:pt x="2516" y="1338"/>
                </a:cubicBezTo>
                <a:cubicBezTo>
                  <a:pt x="2516" y="1337"/>
                  <a:pt x="2516" y="1336"/>
                  <a:pt x="2517" y="1336"/>
                </a:cubicBezTo>
                <a:cubicBezTo>
                  <a:pt x="2518" y="1337"/>
                  <a:pt x="2517" y="1337"/>
                  <a:pt x="2518" y="1338"/>
                </a:cubicBezTo>
                <a:cubicBezTo>
                  <a:pt x="2519" y="1338"/>
                  <a:pt x="2520" y="1337"/>
                  <a:pt x="2521" y="1337"/>
                </a:cubicBezTo>
                <a:cubicBezTo>
                  <a:pt x="2524" y="1336"/>
                  <a:pt x="2527" y="1334"/>
                  <a:pt x="2530" y="1332"/>
                </a:cubicBezTo>
                <a:cubicBezTo>
                  <a:pt x="2532" y="1331"/>
                  <a:pt x="2533" y="1332"/>
                  <a:pt x="2535" y="1331"/>
                </a:cubicBezTo>
                <a:cubicBezTo>
                  <a:pt x="2536" y="1331"/>
                  <a:pt x="2538" y="1330"/>
                  <a:pt x="2539" y="1329"/>
                </a:cubicBezTo>
                <a:cubicBezTo>
                  <a:pt x="2540" y="1329"/>
                  <a:pt x="2542" y="1328"/>
                  <a:pt x="2543" y="1330"/>
                </a:cubicBezTo>
                <a:cubicBezTo>
                  <a:pt x="2543" y="1330"/>
                  <a:pt x="2543" y="1331"/>
                  <a:pt x="2543" y="1332"/>
                </a:cubicBezTo>
                <a:cubicBezTo>
                  <a:pt x="2543" y="1332"/>
                  <a:pt x="2544" y="1333"/>
                  <a:pt x="2545" y="1333"/>
                </a:cubicBezTo>
                <a:cubicBezTo>
                  <a:pt x="2546" y="1333"/>
                  <a:pt x="2547" y="1332"/>
                  <a:pt x="2549" y="1331"/>
                </a:cubicBezTo>
                <a:cubicBezTo>
                  <a:pt x="2549" y="1330"/>
                  <a:pt x="2552" y="1329"/>
                  <a:pt x="2551" y="1328"/>
                </a:cubicBezTo>
                <a:cubicBezTo>
                  <a:pt x="2550" y="1327"/>
                  <a:pt x="2549" y="1328"/>
                  <a:pt x="2549" y="1328"/>
                </a:cubicBezTo>
                <a:cubicBezTo>
                  <a:pt x="2548" y="1328"/>
                  <a:pt x="2549" y="1327"/>
                  <a:pt x="2550" y="1326"/>
                </a:cubicBezTo>
                <a:cubicBezTo>
                  <a:pt x="2550" y="1326"/>
                  <a:pt x="2551" y="1325"/>
                  <a:pt x="2552" y="1324"/>
                </a:cubicBezTo>
                <a:cubicBezTo>
                  <a:pt x="2552" y="1323"/>
                  <a:pt x="2552" y="1323"/>
                  <a:pt x="2553" y="1322"/>
                </a:cubicBezTo>
                <a:cubicBezTo>
                  <a:pt x="2553" y="1321"/>
                  <a:pt x="2554" y="1320"/>
                  <a:pt x="2553" y="1319"/>
                </a:cubicBezTo>
                <a:cubicBezTo>
                  <a:pt x="2553" y="1319"/>
                  <a:pt x="2553" y="1319"/>
                  <a:pt x="2552" y="1319"/>
                </a:cubicBezTo>
                <a:cubicBezTo>
                  <a:pt x="2552" y="1319"/>
                  <a:pt x="2551" y="1319"/>
                  <a:pt x="2551" y="1319"/>
                </a:cubicBezTo>
                <a:cubicBezTo>
                  <a:pt x="2549" y="1319"/>
                  <a:pt x="2547" y="1319"/>
                  <a:pt x="2545" y="1318"/>
                </a:cubicBezTo>
                <a:cubicBezTo>
                  <a:pt x="2544" y="1318"/>
                  <a:pt x="2544" y="1318"/>
                  <a:pt x="2543" y="1317"/>
                </a:cubicBezTo>
                <a:cubicBezTo>
                  <a:pt x="2542" y="1317"/>
                  <a:pt x="2542" y="1316"/>
                  <a:pt x="2541" y="1316"/>
                </a:cubicBezTo>
                <a:cubicBezTo>
                  <a:pt x="2541" y="1316"/>
                  <a:pt x="2540" y="1315"/>
                  <a:pt x="2539" y="1316"/>
                </a:cubicBezTo>
                <a:cubicBezTo>
                  <a:pt x="2539" y="1317"/>
                  <a:pt x="2539" y="1318"/>
                  <a:pt x="2538" y="1318"/>
                </a:cubicBezTo>
                <a:cubicBezTo>
                  <a:pt x="2538" y="1319"/>
                  <a:pt x="2535" y="1318"/>
                  <a:pt x="2534" y="1318"/>
                </a:cubicBezTo>
                <a:cubicBezTo>
                  <a:pt x="2533" y="1318"/>
                  <a:pt x="2531" y="1318"/>
                  <a:pt x="2529" y="1318"/>
                </a:cubicBezTo>
                <a:cubicBezTo>
                  <a:pt x="2528" y="1318"/>
                  <a:pt x="2527" y="1317"/>
                  <a:pt x="2525" y="1317"/>
                </a:cubicBezTo>
                <a:cubicBezTo>
                  <a:pt x="2524" y="1316"/>
                  <a:pt x="2523" y="1315"/>
                  <a:pt x="2522" y="1314"/>
                </a:cubicBezTo>
                <a:cubicBezTo>
                  <a:pt x="2521" y="1314"/>
                  <a:pt x="2520" y="1313"/>
                  <a:pt x="2518" y="1312"/>
                </a:cubicBezTo>
                <a:cubicBezTo>
                  <a:pt x="2517" y="1312"/>
                  <a:pt x="2516" y="1310"/>
                  <a:pt x="2515" y="1310"/>
                </a:cubicBezTo>
                <a:cubicBezTo>
                  <a:pt x="2514" y="1309"/>
                  <a:pt x="2512" y="1310"/>
                  <a:pt x="2511" y="1311"/>
                </a:cubicBezTo>
                <a:cubicBezTo>
                  <a:pt x="2510" y="1312"/>
                  <a:pt x="2508" y="1311"/>
                  <a:pt x="2507" y="1312"/>
                </a:cubicBezTo>
                <a:cubicBezTo>
                  <a:pt x="2505" y="1313"/>
                  <a:pt x="2504" y="1314"/>
                  <a:pt x="2504" y="1315"/>
                </a:cubicBezTo>
                <a:cubicBezTo>
                  <a:pt x="2504" y="1319"/>
                  <a:pt x="2500" y="1320"/>
                  <a:pt x="2497" y="1321"/>
                </a:cubicBezTo>
                <a:cubicBezTo>
                  <a:pt x="2495" y="1323"/>
                  <a:pt x="2493" y="1326"/>
                  <a:pt x="2490" y="1325"/>
                </a:cubicBezTo>
                <a:cubicBezTo>
                  <a:pt x="2489" y="1325"/>
                  <a:pt x="2489" y="1325"/>
                  <a:pt x="2489" y="1325"/>
                </a:cubicBezTo>
                <a:cubicBezTo>
                  <a:pt x="2488" y="1325"/>
                  <a:pt x="2488" y="1325"/>
                  <a:pt x="2487" y="1325"/>
                </a:cubicBezTo>
                <a:cubicBezTo>
                  <a:pt x="2486" y="1324"/>
                  <a:pt x="2486" y="1324"/>
                  <a:pt x="2485" y="1323"/>
                </a:cubicBezTo>
                <a:cubicBezTo>
                  <a:pt x="2484" y="1323"/>
                  <a:pt x="2482" y="1323"/>
                  <a:pt x="2481" y="1322"/>
                </a:cubicBezTo>
                <a:cubicBezTo>
                  <a:pt x="2480" y="1322"/>
                  <a:pt x="2480" y="1320"/>
                  <a:pt x="2480" y="1319"/>
                </a:cubicBezTo>
                <a:cubicBezTo>
                  <a:pt x="2481" y="1317"/>
                  <a:pt x="2481" y="1316"/>
                  <a:pt x="2481" y="1314"/>
                </a:cubicBezTo>
                <a:cubicBezTo>
                  <a:pt x="2482" y="1314"/>
                  <a:pt x="2482" y="1313"/>
                  <a:pt x="2482" y="1312"/>
                </a:cubicBezTo>
                <a:cubicBezTo>
                  <a:pt x="2482" y="1312"/>
                  <a:pt x="2482" y="1311"/>
                  <a:pt x="2482" y="1310"/>
                </a:cubicBezTo>
                <a:cubicBezTo>
                  <a:pt x="2482" y="1309"/>
                  <a:pt x="2482" y="1308"/>
                  <a:pt x="2481" y="1306"/>
                </a:cubicBezTo>
                <a:cubicBezTo>
                  <a:pt x="2480" y="1305"/>
                  <a:pt x="2480" y="1304"/>
                  <a:pt x="2479" y="1303"/>
                </a:cubicBezTo>
                <a:cubicBezTo>
                  <a:pt x="2478" y="1302"/>
                  <a:pt x="2476" y="1301"/>
                  <a:pt x="2475" y="1301"/>
                </a:cubicBezTo>
                <a:cubicBezTo>
                  <a:pt x="2473" y="1301"/>
                  <a:pt x="2473" y="1302"/>
                  <a:pt x="2473" y="1303"/>
                </a:cubicBezTo>
                <a:cubicBezTo>
                  <a:pt x="2473" y="1304"/>
                  <a:pt x="2473" y="1306"/>
                  <a:pt x="2471" y="1305"/>
                </a:cubicBezTo>
                <a:cubicBezTo>
                  <a:pt x="2470" y="1304"/>
                  <a:pt x="2470" y="1303"/>
                  <a:pt x="2469" y="1302"/>
                </a:cubicBezTo>
                <a:cubicBezTo>
                  <a:pt x="2468" y="1302"/>
                  <a:pt x="2467" y="1302"/>
                  <a:pt x="2466" y="1302"/>
                </a:cubicBezTo>
                <a:cubicBezTo>
                  <a:pt x="2464" y="1302"/>
                  <a:pt x="2463" y="1302"/>
                  <a:pt x="2462" y="1301"/>
                </a:cubicBezTo>
                <a:cubicBezTo>
                  <a:pt x="2460" y="1300"/>
                  <a:pt x="2457" y="1299"/>
                  <a:pt x="2455" y="1297"/>
                </a:cubicBezTo>
                <a:cubicBezTo>
                  <a:pt x="2453" y="1295"/>
                  <a:pt x="2452" y="1292"/>
                  <a:pt x="2452" y="1289"/>
                </a:cubicBezTo>
                <a:cubicBezTo>
                  <a:pt x="2453" y="1287"/>
                  <a:pt x="2454" y="1286"/>
                  <a:pt x="2454" y="1284"/>
                </a:cubicBezTo>
                <a:cubicBezTo>
                  <a:pt x="2455" y="1283"/>
                  <a:pt x="2455" y="1281"/>
                  <a:pt x="2456" y="1280"/>
                </a:cubicBezTo>
                <a:cubicBezTo>
                  <a:pt x="2457" y="1279"/>
                  <a:pt x="2458" y="1278"/>
                  <a:pt x="2460" y="1279"/>
                </a:cubicBezTo>
                <a:cubicBezTo>
                  <a:pt x="2462" y="1280"/>
                  <a:pt x="2464" y="1282"/>
                  <a:pt x="2467" y="1282"/>
                </a:cubicBezTo>
                <a:cubicBezTo>
                  <a:pt x="2469" y="1282"/>
                  <a:pt x="2470" y="1282"/>
                  <a:pt x="2471" y="1281"/>
                </a:cubicBezTo>
                <a:cubicBezTo>
                  <a:pt x="2473" y="1281"/>
                  <a:pt x="2474" y="1281"/>
                  <a:pt x="2476" y="1281"/>
                </a:cubicBezTo>
                <a:cubicBezTo>
                  <a:pt x="2479" y="1280"/>
                  <a:pt x="2482" y="1278"/>
                  <a:pt x="2483" y="1275"/>
                </a:cubicBezTo>
                <a:cubicBezTo>
                  <a:pt x="2484" y="1274"/>
                  <a:pt x="2485" y="1274"/>
                  <a:pt x="2485" y="1273"/>
                </a:cubicBezTo>
                <a:cubicBezTo>
                  <a:pt x="2486" y="1272"/>
                  <a:pt x="2486" y="1270"/>
                  <a:pt x="2487" y="1269"/>
                </a:cubicBezTo>
                <a:cubicBezTo>
                  <a:pt x="2487" y="1268"/>
                  <a:pt x="2488" y="1266"/>
                  <a:pt x="2489" y="1265"/>
                </a:cubicBezTo>
                <a:cubicBezTo>
                  <a:pt x="2490" y="1264"/>
                  <a:pt x="2491" y="1263"/>
                  <a:pt x="2493" y="1262"/>
                </a:cubicBezTo>
                <a:cubicBezTo>
                  <a:pt x="2494" y="1261"/>
                  <a:pt x="2496" y="1260"/>
                  <a:pt x="2498" y="1260"/>
                </a:cubicBezTo>
                <a:cubicBezTo>
                  <a:pt x="2499" y="1260"/>
                  <a:pt x="2501" y="1259"/>
                  <a:pt x="2502" y="1258"/>
                </a:cubicBezTo>
                <a:cubicBezTo>
                  <a:pt x="2504" y="1257"/>
                  <a:pt x="2505" y="1256"/>
                  <a:pt x="2506" y="1255"/>
                </a:cubicBezTo>
                <a:cubicBezTo>
                  <a:pt x="2507" y="1254"/>
                  <a:pt x="2509" y="1254"/>
                  <a:pt x="2510" y="1253"/>
                </a:cubicBezTo>
                <a:cubicBezTo>
                  <a:pt x="2511" y="1252"/>
                  <a:pt x="2512" y="1251"/>
                  <a:pt x="2513" y="1250"/>
                </a:cubicBezTo>
                <a:cubicBezTo>
                  <a:pt x="2514" y="1248"/>
                  <a:pt x="2515" y="1246"/>
                  <a:pt x="2517" y="1245"/>
                </a:cubicBezTo>
                <a:cubicBezTo>
                  <a:pt x="2518" y="1244"/>
                  <a:pt x="2519" y="1242"/>
                  <a:pt x="2520" y="1241"/>
                </a:cubicBezTo>
                <a:cubicBezTo>
                  <a:pt x="2521" y="1240"/>
                  <a:pt x="2522" y="1240"/>
                  <a:pt x="2524" y="1240"/>
                </a:cubicBezTo>
                <a:cubicBezTo>
                  <a:pt x="2525" y="1240"/>
                  <a:pt x="2527" y="1240"/>
                  <a:pt x="2528" y="1240"/>
                </a:cubicBezTo>
                <a:cubicBezTo>
                  <a:pt x="2529" y="1241"/>
                  <a:pt x="2531" y="1240"/>
                  <a:pt x="2532" y="1240"/>
                </a:cubicBezTo>
                <a:cubicBezTo>
                  <a:pt x="2533" y="1240"/>
                  <a:pt x="2534" y="1240"/>
                  <a:pt x="2534" y="1239"/>
                </a:cubicBezTo>
                <a:cubicBezTo>
                  <a:pt x="2535" y="1238"/>
                  <a:pt x="2536" y="1237"/>
                  <a:pt x="2536" y="1238"/>
                </a:cubicBezTo>
                <a:cubicBezTo>
                  <a:pt x="2537" y="1239"/>
                  <a:pt x="2534" y="1239"/>
                  <a:pt x="2536" y="1240"/>
                </a:cubicBezTo>
                <a:cubicBezTo>
                  <a:pt x="2537" y="1241"/>
                  <a:pt x="2537" y="1241"/>
                  <a:pt x="2538" y="1241"/>
                </a:cubicBezTo>
                <a:cubicBezTo>
                  <a:pt x="2539" y="1242"/>
                  <a:pt x="2539" y="1242"/>
                  <a:pt x="2540" y="1243"/>
                </a:cubicBezTo>
                <a:cubicBezTo>
                  <a:pt x="2541" y="1243"/>
                  <a:pt x="2542" y="1243"/>
                  <a:pt x="2542" y="1245"/>
                </a:cubicBezTo>
                <a:cubicBezTo>
                  <a:pt x="2543" y="1246"/>
                  <a:pt x="2545" y="1246"/>
                  <a:pt x="2545" y="1247"/>
                </a:cubicBezTo>
                <a:cubicBezTo>
                  <a:pt x="2545" y="1249"/>
                  <a:pt x="2544" y="1250"/>
                  <a:pt x="2543" y="1251"/>
                </a:cubicBezTo>
                <a:cubicBezTo>
                  <a:pt x="2541" y="1252"/>
                  <a:pt x="2541" y="1253"/>
                  <a:pt x="2540" y="1254"/>
                </a:cubicBezTo>
                <a:cubicBezTo>
                  <a:pt x="2539" y="1256"/>
                  <a:pt x="2538" y="1257"/>
                  <a:pt x="2537" y="1258"/>
                </a:cubicBezTo>
                <a:cubicBezTo>
                  <a:pt x="2536" y="1259"/>
                  <a:pt x="2535" y="1260"/>
                  <a:pt x="2535" y="1261"/>
                </a:cubicBezTo>
                <a:cubicBezTo>
                  <a:pt x="2534" y="1261"/>
                  <a:pt x="2532" y="1262"/>
                  <a:pt x="2531" y="1262"/>
                </a:cubicBezTo>
                <a:cubicBezTo>
                  <a:pt x="2530" y="1262"/>
                  <a:pt x="2530" y="1262"/>
                  <a:pt x="2529" y="1263"/>
                </a:cubicBezTo>
                <a:cubicBezTo>
                  <a:pt x="2529" y="1264"/>
                  <a:pt x="2528" y="1264"/>
                  <a:pt x="2528" y="1265"/>
                </a:cubicBezTo>
                <a:cubicBezTo>
                  <a:pt x="2528" y="1267"/>
                  <a:pt x="2529" y="1268"/>
                  <a:pt x="2527" y="1269"/>
                </a:cubicBezTo>
                <a:cubicBezTo>
                  <a:pt x="2527" y="1269"/>
                  <a:pt x="2524" y="1269"/>
                  <a:pt x="2524" y="1271"/>
                </a:cubicBezTo>
                <a:cubicBezTo>
                  <a:pt x="2524" y="1272"/>
                  <a:pt x="2527" y="1271"/>
                  <a:pt x="2528" y="1272"/>
                </a:cubicBezTo>
                <a:cubicBezTo>
                  <a:pt x="2529" y="1273"/>
                  <a:pt x="2529" y="1274"/>
                  <a:pt x="2531" y="1274"/>
                </a:cubicBezTo>
                <a:cubicBezTo>
                  <a:pt x="2531" y="1274"/>
                  <a:pt x="2535" y="1273"/>
                  <a:pt x="2534" y="1275"/>
                </a:cubicBezTo>
                <a:cubicBezTo>
                  <a:pt x="2533" y="1276"/>
                  <a:pt x="2531" y="1276"/>
                  <a:pt x="2532" y="1278"/>
                </a:cubicBezTo>
                <a:cubicBezTo>
                  <a:pt x="2532" y="1279"/>
                  <a:pt x="2533" y="1279"/>
                  <a:pt x="2532" y="1280"/>
                </a:cubicBezTo>
                <a:cubicBezTo>
                  <a:pt x="2532" y="1281"/>
                  <a:pt x="2531" y="1281"/>
                  <a:pt x="2530" y="1281"/>
                </a:cubicBezTo>
                <a:cubicBezTo>
                  <a:pt x="2528" y="1281"/>
                  <a:pt x="2528" y="1281"/>
                  <a:pt x="2526" y="1282"/>
                </a:cubicBezTo>
                <a:cubicBezTo>
                  <a:pt x="2525" y="1283"/>
                  <a:pt x="2524" y="1284"/>
                  <a:pt x="2523" y="1284"/>
                </a:cubicBezTo>
                <a:cubicBezTo>
                  <a:pt x="2523" y="1284"/>
                  <a:pt x="2522" y="1284"/>
                  <a:pt x="2521" y="1285"/>
                </a:cubicBezTo>
                <a:cubicBezTo>
                  <a:pt x="2521" y="1285"/>
                  <a:pt x="2522" y="1286"/>
                  <a:pt x="2522" y="1286"/>
                </a:cubicBezTo>
                <a:cubicBezTo>
                  <a:pt x="2523" y="1287"/>
                  <a:pt x="2523" y="1289"/>
                  <a:pt x="2524" y="1289"/>
                </a:cubicBezTo>
                <a:cubicBezTo>
                  <a:pt x="2526" y="1289"/>
                  <a:pt x="2527" y="1287"/>
                  <a:pt x="2528" y="1286"/>
                </a:cubicBezTo>
                <a:cubicBezTo>
                  <a:pt x="2531" y="1284"/>
                  <a:pt x="2535" y="1282"/>
                  <a:pt x="2538" y="1280"/>
                </a:cubicBezTo>
                <a:cubicBezTo>
                  <a:pt x="2539" y="1279"/>
                  <a:pt x="2541" y="1277"/>
                  <a:pt x="2543" y="1276"/>
                </a:cubicBezTo>
                <a:cubicBezTo>
                  <a:pt x="2545" y="1275"/>
                  <a:pt x="2546" y="1274"/>
                  <a:pt x="2548" y="1273"/>
                </a:cubicBezTo>
                <a:cubicBezTo>
                  <a:pt x="2551" y="1272"/>
                  <a:pt x="2554" y="1269"/>
                  <a:pt x="2557" y="1268"/>
                </a:cubicBezTo>
                <a:cubicBezTo>
                  <a:pt x="2558" y="1268"/>
                  <a:pt x="2559" y="1267"/>
                  <a:pt x="2560" y="1267"/>
                </a:cubicBezTo>
                <a:cubicBezTo>
                  <a:pt x="2561" y="1266"/>
                  <a:pt x="2562" y="1265"/>
                  <a:pt x="2563" y="1265"/>
                </a:cubicBezTo>
                <a:cubicBezTo>
                  <a:pt x="2564" y="1264"/>
                  <a:pt x="2566" y="1265"/>
                  <a:pt x="2567" y="1265"/>
                </a:cubicBezTo>
                <a:cubicBezTo>
                  <a:pt x="2569" y="1264"/>
                  <a:pt x="2571" y="1264"/>
                  <a:pt x="2573" y="1264"/>
                </a:cubicBezTo>
                <a:cubicBezTo>
                  <a:pt x="2574" y="1264"/>
                  <a:pt x="2576" y="1264"/>
                  <a:pt x="2577" y="1264"/>
                </a:cubicBezTo>
                <a:cubicBezTo>
                  <a:pt x="2579" y="1264"/>
                  <a:pt x="2581" y="1265"/>
                  <a:pt x="2582" y="1264"/>
                </a:cubicBezTo>
                <a:cubicBezTo>
                  <a:pt x="2582" y="1263"/>
                  <a:pt x="2582" y="1262"/>
                  <a:pt x="2583" y="1261"/>
                </a:cubicBezTo>
                <a:cubicBezTo>
                  <a:pt x="2584" y="1260"/>
                  <a:pt x="2585" y="1259"/>
                  <a:pt x="2586" y="1260"/>
                </a:cubicBezTo>
                <a:cubicBezTo>
                  <a:pt x="2586" y="1262"/>
                  <a:pt x="2583" y="1261"/>
                  <a:pt x="2584" y="1263"/>
                </a:cubicBezTo>
                <a:cubicBezTo>
                  <a:pt x="2584" y="1263"/>
                  <a:pt x="2585" y="1262"/>
                  <a:pt x="2586" y="1263"/>
                </a:cubicBezTo>
                <a:cubicBezTo>
                  <a:pt x="2586" y="1263"/>
                  <a:pt x="2586" y="1264"/>
                  <a:pt x="2587" y="1264"/>
                </a:cubicBezTo>
                <a:cubicBezTo>
                  <a:pt x="2588" y="1265"/>
                  <a:pt x="2589" y="1265"/>
                  <a:pt x="2590" y="1266"/>
                </a:cubicBezTo>
                <a:cubicBezTo>
                  <a:pt x="2590" y="1266"/>
                  <a:pt x="2591" y="1267"/>
                  <a:pt x="2591" y="1267"/>
                </a:cubicBezTo>
                <a:cubicBezTo>
                  <a:pt x="2591" y="1268"/>
                  <a:pt x="2591" y="1269"/>
                  <a:pt x="2592" y="1269"/>
                </a:cubicBezTo>
                <a:cubicBezTo>
                  <a:pt x="2592" y="1269"/>
                  <a:pt x="2592" y="1268"/>
                  <a:pt x="2593" y="1268"/>
                </a:cubicBezTo>
                <a:cubicBezTo>
                  <a:pt x="2593" y="1267"/>
                  <a:pt x="2594" y="1267"/>
                  <a:pt x="2594" y="1267"/>
                </a:cubicBezTo>
                <a:cubicBezTo>
                  <a:pt x="2594" y="1266"/>
                  <a:pt x="2594" y="1265"/>
                  <a:pt x="2595" y="1265"/>
                </a:cubicBezTo>
                <a:cubicBezTo>
                  <a:pt x="2596" y="1266"/>
                  <a:pt x="2595" y="1267"/>
                  <a:pt x="2596" y="1267"/>
                </a:cubicBezTo>
                <a:cubicBezTo>
                  <a:pt x="2596" y="1268"/>
                  <a:pt x="2597" y="1267"/>
                  <a:pt x="2598" y="1268"/>
                </a:cubicBezTo>
                <a:cubicBezTo>
                  <a:pt x="2598" y="1268"/>
                  <a:pt x="2599" y="1268"/>
                  <a:pt x="2599" y="1269"/>
                </a:cubicBezTo>
                <a:cubicBezTo>
                  <a:pt x="2600" y="1270"/>
                  <a:pt x="2601" y="1270"/>
                  <a:pt x="2603" y="1270"/>
                </a:cubicBezTo>
                <a:cubicBezTo>
                  <a:pt x="2604" y="1270"/>
                  <a:pt x="2607" y="1269"/>
                  <a:pt x="2607" y="1271"/>
                </a:cubicBezTo>
                <a:cubicBezTo>
                  <a:pt x="2607" y="1272"/>
                  <a:pt x="2605" y="1273"/>
                  <a:pt x="2605" y="1274"/>
                </a:cubicBezTo>
                <a:cubicBezTo>
                  <a:pt x="2605" y="1276"/>
                  <a:pt x="2605" y="1277"/>
                  <a:pt x="2605" y="1279"/>
                </a:cubicBezTo>
                <a:cubicBezTo>
                  <a:pt x="2604" y="1280"/>
                  <a:pt x="2603" y="1281"/>
                  <a:pt x="2602" y="1282"/>
                </a:cubicBezTo>
                <a:cubicBezTo>
                  <a:pt x="2602" y="1283"/>
                  <a:pt x="2602" y="1284"/>
                  <a:pt x="2602" y="1284"/>
                </a:cubicBezTo>
                <a:cubicBezTo>
                  <a:pt x="2602" y="1285"/>
                  <a:pt x="2602" y="1285"/>
                  <a:pt x="2602" y="1286"/>
                </a:cubicBezTo>
                <a:cubicBezTo>
                  <a:pt x="2602" y="1286"/>
                  <a:pt x="2602" y="1287"/>
                  <a:pt x="2603" y="1287"/>
                </a:cubicBezTo>
                <a:cubicBezTo>
                  <a:pt x="2603" y="1287"/>
                  <a:pt x="2603" y="1287"/>
                  <a:pt x="2603" y="1287"/>
                </a:cubicBezTo>
                <a:cubicBezTo>
                  <a:pt x="2604" y="1288"/>
                  <a:pt x="2604" y="1288"/>
                  <a:pt x="2604" y="1288"/>
                </a:cubicBezTo>
                <a:cubicBezTo>
                  <a:pt x="2605" y="1288"/>
                  <a:pt x="2605" y="1288"/>
                  <a:pt x="2606" y="1288"/>
                </a:cubicBezTo>
                <a:cubicBezTo>
                  <a:pt x="2606" y="1289"/>
                  <a:pt x="2607" y="1289"/>
                  <a:pt x="2606" y="1290"/>
                </a:cubicBezTo>
                <a:cubicBezTo>
                  <a:pt x="2605" y="1290"/>
                  <a:pt x="2605" y="1289"/>
                  <a:pt x="2604" y="1290"/>
                </a:cubicBezTo>
                <a:cubicBezTo>
                  <a:pt x="2604" y="1290"/>
                  <a:pt x="2603" y="1290"/>
                  <a:pt x="2603" y="1291"/>
                </a:cubicBezTo>
                <a:cubicBezTo>
                  <a:pt x="2602" y="1291"/>
                  <a:pt x="2602" y="1291"/>
                  <a:pt x="2601" y="1291"/>
                </a:cubicBezTo>
                <a:cubicBezTo>
                  <a:pt x="2600" y="1292"/>
                  <a:pt x="2599" y="1292"/>
                  <a:pt x="2599" y="1293"/>
                </a:cubicBezTo>
                <a:cubicBezTo>
                  <a:pt x="2598" y="1294"/>
                  <a:pt x="2599" y="1295"/>
                  <a:pt x="2598" y="1296"/>
                </a:cubicBezTo>
                <a:cubicBezTo>
                  <a:pt x="2598" y="1297"/>
                  <a:pt x="2597" y="1297"/>
                  <a:pt x="2597" y="1298"/>
                </a:cubicBezTo>
                <a:cubicBezTo>
                  <a:pt x="2597" y="1298"/>
                  <a:pt x="2597" y="1299"/>
                  <a:pt x="2596" y="1300"/>
                </a:cubicBezTo>
                <a:cubicBezTo>
                  <a:pt x="2596" y="1301"/>
                  <a:pt x="2595" y="1301"/>
                  <a:pt x="2593" y="1302"/>
                </a:cubicBezTo>
                <a:cubicBezTo>
                  <a:pt x="2593" y="1302"/>
                  <a:pt x="2592" y="1302"/>
                  <a:pt x="2592" y="1303"/>
                </a:cubicBezTo>
                <a:cubicBezTo>
                  <a:pt x="2592" y="1304"/>
                  <a:pt x="2594" y="1303"/>
                  <a:pt x="2594" y="1303"/>
                </a:cubicBezTo>
                <a:cubicBezTo>
                  <a:pt x="2595" y="1304"/>
                  <a:pt x="2595" y="1304"/>
                  <a:pt x="2596" y="1304"/>
                </a:cubicBezTo>
                <a:cubicBezTo>
                  <a:pt x="2596" y="1305"/>
                  <a:pt x="2597" y="1305"/>
                  <a:pt x="2597" y="1305"/>
                </a:cubicBezTo>
                <a:cubicBezTo>
                  <a:pt x="2598" y="1305"/>
                  <a:pt x="2599" y="1306"/>
                  <a:pt x="2599" y="1306"/>
                </a:cubicBezTo>
                <a:cubicBezTo>
                  <a:pt x="2599" y="1307"/>
                  <a:pt x="2598" y="1307"/>
                  <a:pt x="2599" y="1308"/>
                </a:cubicBezTo>
                <a:cubicBezTo>
                  <a:pt x="2599" y="1309"/>
                  <a:pt x="2600" y="1309"/>
                  <a:pt x="2601" y="1309"/>
                </a:cubicBezTo>
                <a:cubicBezTo>
                  <a:pt x="2601" y="1309"/>
                  <a:pt x="2602" y="1309"/>
                  <a:pt x="2602" y="1309"/>
                </a:cubicBezTo>
                <a:cubicBezTo>
                  <a:pt x="2605" y="1311"/>
                  <a:pt x="2605" y="1308"/>
                  <a:pt x="2607" y="1309"/>
                </a:cubicBezTo>
                <a:cubicBezTo>
                  <a:pt x="2608" y="1309"/>
                  <a:pt x="2608" y="1310"/>
                  <a:pt x="2607" y="1310"/>
                </a:cubicBezTo>
                <a:cubicBezTo>
                  <a:pt x="2607" y="1311"/>
                  <a:pt x="2606" y="1311"/>
                  <a:pt x="2606" y="1311"/>
                </a:cubicBezTo>
                <a:cubicBezTo>
                  <a:pt x="2606" y="1311"/>
                  <a:pt x="2605" y="1312"/>
                  <a:pt x="2605" y="1312"/>
                </a:cubicBezTo>
                <a:cubicBezTo>
                  <a:pt x="2605" y="1312"/>
                  <a:pt x="2605" y="1312"/>
                  <a:pt x="2604" y="1313"/>
                </a:cubicBezTo>
                <a:cubicBezTo>
                  <a:pt x="2604" y="1314"/>
                  <a:pt x="2607" y="1312"/>
                  <a:pt x="2607" y="1312"/>
                </a:cubicBezTo>
                <a:cubicBezTo>
                  <a:pt x="2608" y="1311"/>
                  <a:pt x="2609" y="1311"/>
                  <a:pt x="2609" y="1311"/>
                </a:cubicBezTo>
                <a:cubicBezTo>
                  <a:pt x="2610" y="1310"/>
                  <a:pt x="2610" y="1310"/>
                  <a:pt x="2611" y="1309"/>
                </a:cubicBezTo>
                <a:cubicBezTo>
                  <a:pt x="2611" y="1309"/>
                  <a:pt x="2611" y="1307"/>
                  <a:pt x="2612" y="1307"/>
                </a:cubicBezTo>
                <a:cubicBezTo>
                  <a:pt x="2613" y="1306"/>
                  <a:pt x="2613" y="1307"/>
                  <a:pt x="2614" y="1307"/>
                </a:cubicBezTo>
                <a:cubicBezTo>
                  <a:pt x="2614" y="1308"/>
                  <a:pt x="2614" y="1308"/>
                  <a:pt x="2615" y="1308"/>
                </a:cubicBezTo>
                <a:cubicBezTo>
                  <a:pt x="2616" y="1309"/>
                  <a:pt x="2617" y="1309"/>
                  <a:pt x="2619" y="1310"/>
                </a:cubicBezTo>
                <a:cubicBezTo>
                  <a:pt x="2619" y="1310"/>
                  <a:pt x="2619" y="1311"/>
                  <a:pt x="2619" y="1311"/>
                </a:cubicBezTo>
                <a:cubicBezTo>
                  <a:pt x="2621" y="1313"/>
                  <a:pt x="2622" y="1312"/>
                  <a:pt x="2623" y="1311"/>
                </a:cubicBezTo>
                <a:cubicBezTo>
                  <a:pt x="2624" y="1310"/>
                  <a:pt x="2624" y="1310"/>
                  <a:pt x="2625" y="1310"/>
                </a:cubicBezTo>
                <a:cubicBezTo>
                  <a:pt x="2625" y="1309"/>
                  <a:pt x="2626" y="1309"/>
                  <a:pt x="2627" y="1309"/>
                </a:cubicBezTo>
                <a:cubicBezTo>
                  <a:pt x="2627" y="1309"/>
                  <a:pt x="2627" y="1310"/>
                  <a:pt x="2628" y="1310"/>
                </a:cubicBezTo>
                <a:cubicBezTo>
                  <a:pt x="2629" y="1310"/>
                  <a:pt x="2629" y="1309"/>
                  <a:pt x="2630" y="1310"/>
                </a:cubicBezTo>
                <a:cubicBezTo>
                  <a:pt x="2631" y="1310"/>
                  <a:pt x="2632" y="1311"/>
                  <a:pt x="2632" y="1312"/>
                </a:cubicBezTo>
                <a:cubicBezTo>
                  <a:pt x="2632" y="1313"/>
                  <a:pt x="2632" y="1314"/>
                  <a:pt x="2631" y="1314"/>
                </a:cubicBezTo>
                <a:cubicBezTo>
                  <a:pt x="2631" y="1313"/>
                  <a:pt x="2631" y="1313"/>
                  <a:pt x="2631" y="1313"/>
                </a:cubicBezTo>
                <a:cubicBezTo>
                  <a:pt x="2631" y="1312"/>
                  <a:pt x="2631" y="1312"/>
                  <a:pt x="2630" y="1312"/>
                </a:cubicBezTo>
                <a:cubicBezTo>
                  <a:pt x="2630" y="1312"/>
                  <a:pt x="2630" y="1312"/>
                  <a:pt x="2630" y="1312"/>
                </a:cubicBezTo>
                <a:cubicBezTo>
                  <a:pt x="2630" y="1311"/>
                  <a:pt x="2629" y="1311"/>
                  <a:pt x="2629" y="1311"/>
                </a:cubicBezTo>
                <a:cubicBezTo>
                  <a:pt x="2628" y="1311"/>
                  <a:pt x="2628" y="1312"/>
                  <a:pt x="2628" y="1312"/>
                </a:cubicBezTo>
                <a:cubicBezTo>
                  <a:pt x="2627" y="1311"/>
                  <a:pt x="2627" y="1310"/>
                  <a:pt x="2627" y="1310"/>
                </a:cubicBezTo>
                <a:cubicBezTo>
                  <a:pt x="2626" y="1309"/>
                  <a:pt x="2626" y="1310"/>
                  <a:pt x="2626" y="1311"/>
                </a:cubicBezTo>
                <a:cubicBezTo>
                  <a:pt x="2626" y="1311"/>
                  <a:pt x="2626" y="1311"/>
                  <a:pt x="2626" y="1312"/>
                </a:cubicBezTo>
                <a:cubicBezTo>
                  <a:pt x="2626" y="1312"/>
                  <a:pt x="2626" y="1312"/>
                  <a:pt x="2625" y="1312"/>
                </a:cubicBezTo>
                <a:cubicBezTo>
                  <a:pt x="2625" y="1313"/>
                  <a:pt x="2625" y="1313"/>
                  <a:pt x="2626" y="1314"/>
                </a:cubicBezTo>
                <a:cubicBezTo>
                  <a:pt x="2626" y="1314"/>
                  <a:pt x="2626" y="1314"/>
                  <a:pt x="2626" y="1314"/>
                </a:cubicBezTo>
                <a:cubicBezTo>
                  <a:pt x="2626" y="1314"/>
                  <a:pt x="2626" y="1315"/>
                  <a:pt x="2627" y="1315"/>
                </a:cubicBezTo>
                <a:cubicBezTo>
                  <a:pt x="2627" y="1315"/>
                  <a:pt x="2627" y="1315"/>
                  <a:pt x="2628" y="1315"/>
                </a:cubicBezTo>
                <a:cubicBezTo>
                  <a:pt x="2629" y="1315"/>
                  <a:pt x="2628" y="1313"/>
                  <a:pt x="2629" y="1313"/>
                </a:cubicBezTo>
                <a:cubicBezTo>
                  <a:pt x="2629" y="1313"/>
                  <a:pt x="2629" y="1314"/>
                  <a:pt x="2629" y="1315"/>
                </a:cubicBezTo>
                <a:cubicBezTo>
                  <a:pt x="2630" y="1316"/>
                  <a:pt x="2631" y="1315"/>
                  <a:pt x="2631" y="1315"/>
                </a:cubicBezTo>
                <a:cubicBezTo>
                  <a:pt x="2632" y="1316"/>
                  <a:pt x="2631" y="1317"/>
                  <a:pt x="2631" y="1317"/>
                </a:cubicBezTo>
                <a:cubicBezTo>
                  <a:pt x="2631" y="1318"/>
                  <a:pt x="2632" y="1318"/>
                  <a:pt x="2632" y="1319"/>
                </a:cubicBezTo>
                <a:cubicBezTo>
                  <a:pt x="2633" y="1319"/>
                  <a:pt x="2633" y="1320"/>
                  <a:pt x="2633" y="1321"/>
                </a:cubicBezTo>
                <a:cubicBezTo>
                  <a:pt x="2634" y="1321"/>
                  <a:pt x="2634" y="1322"/>
                  <a:pt x="2634" y="1322"/>
                </a:cubicBezTo>
                <a:cubicBezTo>
                  <a:pt x="2634" y="1323"/>
                  <a:pt x="2633" y="1323"/>
                  <a:pt x="2633" y="1323"/>
                </a:cubicBezTo>
                <a:cubicBezTo>
                  <a:pt x="2632" y="1324"/>
                  <a:pt x="2632" y="1324"/>
                  <a:pt x="2632" y="1325"/>
                </a:cubicBezTo>
                <a:cubicBezTo>
                  <a:pt x="2631" y="1326"/>
                  <a:pt x="2633" y="1326"/>
                  <a:pt x="2633" y="1325"/>
                </a:cubicBezTo>
                <a:cubicBezTo>
                  <a:pt x="2634" y="1325"/>
                  <a:pt x="2634" y="1325"/>
                  <a:pt x="2634" y="1325"/>
                </a:cubicBezTo>
                <a:cubicBezTo>
                  <a:pt x="2634" y="1326"/>
                  <a:pt x="2634" y="1326"/>
                  <a:pt x="2633" y="1327"/>
                </a:cubicBezTo>
                <a:cubicBezTo>
                  <a:pt x="2633" y="1327"/>
                  <a:pt x="2633" y="1328"/>
                  <a:pt x="2634" y="1328"/>
                </a:cubicBezTo>
                <a:cubicBezTo>
                  <a:pt x="2634" y="1328"/>
                  <a:pt x="2634" y="1328"/>
                  <a:pt x="2635" y="1329"/>
                </a:cubicBezTo>
                <a:cubicBezTo>
                  <a:pt x="2635" y="1330"/>
                  <a:pt x="2636" y="1331"/>
                  <a:pt x="2635" y="1332"/>
                </a:cubicBezTo>
                <a:cubicBezTo>
                  <a:pt x="2634" y="1332"/>
                  <a:pt x="2635" y="1331"/>
                  <a:pt x="2634" y="1331"/>
                </a:cubicBezTo>
                <a:cubicBezTo>
                  <a:pt x="2634" y="1330"/>
                  <a:pt x="2634" y="1329"/>
                  <a:pt x="2633" y="1329"/>
                </a:cubicBezTo>
                <a:cubicBezTo>
                  <a:pt x="2632" y="1329"/>
                  <a:pt x="2631" y="1330"/>
                  <a:pt x="2630" y="1329"/>
                </a:cubicBezTo>
                <a:cubicBezTo>
                  <a:pt x="2630" y="1328"/>
                  <a:pt x="2630" y="1328"/>
                  <a:pt x="2629" y="1327"/>
                </a:cubicBezTo>
                <a:cubicBezTo>
                  <a:pt x="2628" y="1327"/>
                  <a:pt x="2628" y="1327"/>
                  <a:pt x="2628" y="1327"/>
                </a:cubicBezTo>
                <a:cubicBezTo>
                  <a:pt x="2628" y="1328"/>
                  <a:pt x="2628" y="1329"/>
                  <a:pt x="2628" y="1329"/>
                </a:cubicBezTo>
                <a:cubicBezTo>
                  <a:pt x="2627" y="1330"/>
                  <a:pt x="2627" y="1328"/>
                  <a:pt x="2627" y="1328"/>
                </a:cubicBezTo>
                <a:cubicBezTo>
                  <a:pt x="2625" y="1327"/>
                  <a:pt x="2624" y="1330"/>
                  <a:pt x="2623" y="1331"/>
                </a:cubicBezTo>
                <a:cubicBezTo>
                  <a:pt x="2622" y="1331"/>
                  <a:pt x="2620" y="1333"/>
                  <a:pt x="2621" y="1334"/>
                </a:cubicBezTo>
                <a:cubicBezTo>
                  <a:pt x="2621" y="1334"/>
                  <a:pt x="2622" y="1334"/>
                  <a:pt x="2623" y="1334"/>
                </a:cubicBezTo>
                <a:cubicBezTo>
                  <a:pt x="2624" y="1334"/>
                  <a:pt x="2624" y="1334"/>
                  <a:pt x="2625" y="1334"/>
                </a:cubicBezTo>
                <a:cubicBezTo>
                  <a:pt x="2626" y="1334"/>
                  <a:pt x="2626" y="1335"/>
                  <a:pt x="2626" y="1335"/>
                </a:cubicBezTo>
                <a:cubicBezTo>
                  <a:pt x="2627" y="1336"/>
                  <a:pt x="2628" y="1335"/>
                  <a:pt x="2628" y="1336"/>
                </a:cubicBezTo>
                <a:cubicBezTo>
                  <a:pt x="2628" y="1337"/>
                  <a:pt x="2628" y="1337"/>
                  <a:pt x="2627" y="1338"/>
                </a:cubicBezTo>
                <a:cubicBezTo>
                  <a:pt x="2627" y="1339"/>
                  <a:pt x="2627" y="1339"/>
                  <a:pt x="2628" y="1340"/>
                </a:cubicBezTo>
                <a:cubicBezTo>
                  <a:pt x="2628" y="1341"/>
                  <a:pt x="2628" y="1341"/>
                  <a:pt x="2628" y="1342"/>
                </a:cubicBezTo>
                <a:cubicBezTo>
                  <a:pt x="2628" y="1342"/>
                  <a:pt x="2628" y="1343"/>
                  <a:pt x="2628" y="1343"/>
                </a:cubicBezTo>
                <a:cubicBezTo>
                  <a:pt x="2628" y="1344"/>
                  <a:pt x="2629" y="1345"/>
                  <a:pt x="2628" y="1346"/>
                </a:cubicBezTo>
                <a:cubicBezTo>
                  <a:pt x="2628" y="1346"/>
                  <a:pt x="2628" y="1347"/>
                  <a:pt x="2628" y="1348"/>
                </a:cubicBezTo>
                <a:cubicBezTo>
                  <a:pt x="2628" y="1349"/>
                  <a:pt x="2628" y="1348"/>
                  <a:pt x="2629" y="1348"/>
                </a:cubicBezTo>
                <a:cubicBezTo>
                  <a:pt x="2630" y="1348"/>
                  <a:pt x="2630" y="1349"/>
                  <a:pt x="2631" y="1349"/>
                </a:cubicBezTo>
                <a:cubicBezTo>
                  <a:pt x="2632" y="1349"/>
                  <a:pt x="2635" y="1349"/>
                  <a:pt x="2634" y="1350"/>
                </a:cubicBezTo>
                <a:cubicBezTo>
                  <a:pt x="2633" y="1351"/>
                  <a:pt x="2632" y="1351"/>
                  <a:pt x="2632" y="1351"/>
                </a:cubicBezTo>
                <a:cubicBezTo>
                  <a:pt x="2631" y="1351"/>
                  <a:pt x="2631" y="1352"/>
                  <a:pt x="2631" y="1352"/>
                </a:cubicBezTo>
                <a:cubicBezTo>
                  <a:pt x="2630" y="1353"/>
                  <a:pt x="2630" y="1353"/>
                  <a:pt x="2631" y="1354"/>
                </a:cubicBezTo>
                <a:cubicBezTo>
                  <a:pt x="2631" y="1354"/>
                  <a:pt x="2632" y="1354"/>
                  <a:pt x="2632" y="1355"/>
                </a:cubicBezTo>
                <a:cubicBezTo>
                  <a:pt x="2632" y="1355"/>
                  <a:pt x="2632" y="1356"/>
                  <a:pt x="2632" y="1356"/>
                </a:cubicBezTo>
                <a:cubicBezTo>
                  <a:pt x="2631" y="1357"/>
                  <a:pt x="2631" y="1357"/>
                  <a:pt x="2630" y="1357"/>
                </a:cubicBezTo>
                <a:cubicBezTo>
                  <a:pt x="2630" y="1357"/>
                  <a:pt x="2629" y="1358"/>
                  <a:pt x="2629" y="1358"/>
                </a:cubicBezTo>
                <a:cubicBezTo>
                  <a:pt x="2629" y="1359"/>
                  <a:pt x="2628" y="1359"/>
                  <a:pt x="2628" y="1359"/>
                </a:cubicBezTo>
                <a:cubicBezTo>
                  <a:pt x="2627" y="1360"/>
                  <a:pt x="2627" y="1360"/>
                  <a:pt x="2628" y="1361"/>
                </a:cubicBezTo>
                <a:cubicBezTo>
                  <a:pt x="2628" y="1361"/>
                  <a:pt x="2629" y="1360"/>
                  <a:pt x="2630" y="1360"/>
                </a:cubicBezTo>
                <a:cubicBezTo>
                  <a:pt x="2630" y="1362"/>
                  <a:pt x="2628" y="1362"/>
                  <a:pt x="2628" y="1363"/>
                </a:cubicBezTo>
                <a:cubicBezTo>
                  <a:pt x="2627" y="1364"/>
                  <a:pt x="2627" y="1364"/>
                  <a:pt x="2627" y="1364"/>
                </a:cubicBezTo>
                <a:cubicBezTo>
                  <a:pt x="2626" y="1365"/>
                  <a:pt x="2623" y="1367"/>
                  <a:pt x="2624" y="1369"/>
                </a:cubicBezTo>
                <a:cubicBezTo>
                  <a:pt x="2625" y="1369"/>
                  <a:pt x="2625" y="1369"/>
                  <a:pt x="2625" y="1370"/>
                </a:cubicBezTo>
                <a:cubicBezTo>
                  <a:pt x="2626" y="1371"/>
                  <a:pt x="2625" y="1371"/>
                  <a:pt x="2624" y="1371"/>
                </a:cubicBezTo>
                <a:cubicBezTo>
                  <a:pt x="2624" y="1371"/>
                  <a:pt x="2624" y="1370"/>
                  <a:pt x="2623" y="1370"/>
                </a:cubicBezTo>
                <a:cubicBezTo>
                  <a:pt x="2622" y="1370"/>
                  <a:pt x="2623" y="1371"/>
                  <a:pt x="2624" y="1372"/>
                </a:cubicBezTo>
                <a:cubicBezTo>
                  <a:pt x="2624" y="1373"/>
                  <a:pt x="2623" y="1373"/>
                  <a:pt x="2623" y="1374"/>
                </a:cubicBezTo>
                <a:cubicBezTo>
                  <a:pt x="2624" y="1374"/>
                  <a:pt x="2624" y="1374"/>
                  <a:pt x="2625" y="1375"/>
                </a:cubicBezTo>
                <a:cubicBezTo>
                  <a:pt x="2626" y="1376"/>
                  <a:pt x="2624" y="1378"/>
                  <a:pt x="2626" y="1378"/>
                </a:cubicBezTo>
                <a:cubicBezTo>
                  <a:pt x="2627" y="1378"/>
                  <a:pt x="2628" y="1378"/>
                  <a:pt x="2628" y="1378"/>
                </a:cubicBezTo>
                <a:cubicBezTo>
                  <a:pt x="2629" y="1379"/>
                  <a:pt x="2628" y="1379"/>
                  <a:pt x="2627" y="1379"/>
                </a:cubicBezTo>
                <a:cubicBezTo>
                  <a:pt x="2627" y="1379"/>
                  <a:pt x="2625" y="1378"/>
                  <a:pt x="2626" y="1379"/>
                </a:cubicBezTo>
                <a:cubicBezTo>
                  <a:pt x="2626" y="1380"/>
                  <a:pt x="2627" y="1380"/>
                  <a:pt x="2628" y="1380"/>
                </a:cubicBezTo>
                <a:cubicBezTo>
                  <a:pt x="2628" y="1380"/>
                  <a:pt x="2628" y="1380"/>
                  <a:pt x="2628" y="1380"/>
                </a:cubicBezTo>
                <a:cubicBezTo>
                  <a:pt x="2628" y="1381"/>
                  <a:pt x="2629" y="1381"/>
                  <a:pt x="2629" y="1381"/>
                </a:cubicBezTo>
                <a:cubicBezTo>
                  <a:pt x="2630" y="1381"/>
                  <a:pt x="2630" y="1382"/>
                  <a:pt x="2629" y="1382"/>
                </a:cubicBezTo>
                <a:cubicBezTo>
                  <a:pt x="2628" y="1383"/>
                  <a:pt x="2627" y="1382"/>
                  <a:pt x="2627" y="1382"/>
                </a:cubicBezTo>
                <a:cubicBezTo>
                  <a:pt x="2626" y="1382"/>
                  <a:pt x="2626" y="1382"/>
                  <a:pt x="2625" y="1382"/>
                </a:cubicBezTo>
                <a:cubicBezTo>
                  <a:pt x="2625" y="1381"/>
                  <a:pt x="2624" y="1380"/>
                  <a:pt x="2624" y="1381"/>
                </a:cubicBezTo>
                <a:cubicBezTo>
                  <a:pt x="2623" y="1381"/>
                  <a:pt x="2624" y="1382"/>
                  <a:pt x="2624" y="1382"/>
                </a:cubicBezTo>
                <a:cubicBezTo>
                  <a:pt x="2624" y="1383"/>
                  <a:pt x="2623" y="1383"/>
                  <a:pt x="2623" y="1383"/>
                </a:cubicBezTo>
                <a:cubicBezTo>
                  <a:pt x="2622" y="1384"/>
                  <a:pt x="2622" y="1384"/>
                  <a:pt x="2622" y="1385"/>
                </a:cubicBezTo>
                <a:cubicBezTo>
                  <a:pt x="2621" y="1385"/>
                  <a:pt x="2619" y="1387"/>
                  <a:pt x="2620" y="1387"/>
                </a:cubicBezTo>
                <a:cubicBezTo>
                  <a:pt x="2621" y="1387"/>
                  <a:pt x="2621" y="1386"/>
                  <a:pt x="2622" y="1386"/>
                </a:cubicBezTo>
                <a:cubicBezTo>
                  <a:pt x="2622" y="1386"/>
                  <a:pt x="2622" y="1387"/>
                  <a:pt x="2623" y="1386"/>
                </a:cubicBezTo>
                <a:cubicBezTo>
                  <a:pt x="2623" y="1386"/>
                  <a:pt x="2623" y="1386"/>
                  <a:pt x="2624" y="1386"/>
                </a:cubicBezTo>
                <a:cubicBezTo>
                  <a:pt x="2624" y="1385"/>
                  <a:pt x="2625" y="1385"/>
                  <a:pt x="2625" y="1384"/>
                </a:cubicBezTo>
                <a:cubicBezTo>
                  <a:pt x="2625" y="1384"/>
                  <a:pt x="2624" y="1384"/>
                  <a:pt x="2624" y="1384"/>
                </a:cubicBezTo>
                <a:cubicBezTo>
                  <a:pt x="2624" y="1383"/>
                  <a:pt x="2625" y="1383"/>
                  <a:pt x="2625" y="1383"/>
                </a:cubicBezTo>
                <a:cubicBezTo>
                  <a:pt x="2626" y="1384"/>
                  <a:pt x="2625" y="1384"/>
                  <a:pt x="2625" y="1385"/>
                </a:cubicBezTo>
                <a:cubicBezTo>
                  <a:pt x="2625" y="1386"/>
                  <a:pt x="2626" y="1385"/>
                  <a:pt x="2627" y="1385"/>
                </a:cubicBezTo>
                <a:cubicBezTo>
                  <a:pt x="2628" y="1386"/>
                  <a:pt x="2627" y="1386"/>
                  <a:pt x="2627" y="1387"/>
                </a:cubicBezTo>
                <a:cubicBezTo>
                  <a:pt x="2627" y="1388"/>
                  <a:pt x="2627" y="1388"/>
                  <a:pt x="2628" y="1389"/>
                </a:cubicBezTo>
                <a:cubicBezTo>
                  <a:pt x="2628" y="1389"/>
                  <a:pt x="2628" y="1390"/>
                  <a:pt x="2629" y="1390"/>
                </a:cubicBezTo>
                <a:cubicBezTo>
                  <a:pt x="2630" y="1390"/>
                  <a:pt x="2630" y="1389"/>
                  <a:pt x="2630" y="1388"/>
                </a:cubicBezTo>
                <a:cubicBezTo>
                  <a:pt x="2630" y="1388"/>
                  <a:pt x="2630" y="1387"/>
                  <a:pt x="2631" y="1387"/>
                </a:cubicBezTo>
                <a:cubicBezTo>
                  <a:pt x="2631" y="1386"/>
                  <a:pt x="2632" y="1386"/>
                  <a:pt x="2632" y="1386"/>
                </a:cubicBezTo>
                <a:cubicBezTo>
                  <a:pt x="2632" y="1385"/>
                  <a:pt x="2632" y="1385"/>
                  <a:pt x="2633" y="1384"/>
                </a:cubicBezTo>
                <a:cubicBezTo>
                  <a:pt x="2633" y="1384"/>
                  <a:pt x="2634" y="1383"/>
                  <a:pt x="2634" y="1383"/>
                </a:cubicBezTo>
                <a:cubicBezTo>
                  <a:pt x="2635" y="1383"/>
                  <a:pt x="2636" y="1381"/>
                  <a:pt x="2637" y="1381"/>
                </a:cubicBezTo>
                <a:cubicBezTo>
                  <a:pt x="2638" y="1381"/>
                  <a:pt x="2639" y="1381"/>
                  <a:pt x="2639" y="1381"/>
                </a:cubicBezTo>
                <a:cubicBezTo>
                  <a:pt x="2640" y="1380"/>
                  <a:pt x="2640" y="1380"/>
                  <a:pt x="2640" y="1380"/>
                </a:cubicBezTo>
                <a:cubicBezTo>
                  <a:pt x="2641" y="1379"/>
                  <a:pt x="2642" y="1380"/>
                  <a:pt x="2642" y="1379"/>
                </a:cubicBezTo>
                <a:cubicBezTo>
                  <a:pt x="2643" y="1379"/>
                  <a:pt x="2643" y="1378"/>
                  <a:pt x="2644" y="1379"/>
                </a:cubicBezTo>
                <a:cubicBezTo>
                  <a:pt x="2644" y="1381"/>
                  <a:pt x="2642" y="1380"/>
                  <a:pt x="2642" y="1381"/>
                </a:cubicBezTo>
                <a:cubicBezTo>
                  <a:pt x="2641" y="1382"/>
                  <a:pt x="2641" y="1382"/>
                  <a:pt x="2641" y="1383"/>
                </a:cubicBezTo>
                <a:cubicBezTo>
                  <a:pt x="2640" y="1383"/>
                  <a:pt x="2640" y="1383"/>
                  <a:pt x="2640" y="1384"/>
                </a:cubicBezTo>
                <a:cubicBezTo>
                  <a:pt x="2641" y="1384"/>
                  <a:pt x="2641" y="1384"/>
                  <a:pt x="2642" y="1384"/>
                </a:cubicBezTo>
                <a:cubicBezTo>
                  <a:pt x="2643" y="1384"/>
                  <a:pt x="2643" y="1385"/>
                  <a:pt x="2643" y="1385"/>
                </a:cubicBezTo>
                <a:cubicBezTo>
                  <a:pt x="2644" y="1386"/>
                  <a:pt x="2646" y="1386"/>
                  <a:pt x="2646" y="1384"/>
                </a:cubicBezTo>
                <a:cubicBezTo>
                  <a:pt x="2647" y="1384"/>
                  <a:pt x="2647" y="1384"/>
                  <a:pt x="2648" y="1383"/>
                </a:cubicBezTo>
                <a:cubicBezTo>
                  <a:pt x="2648" y="1382"/>
                  <a:pt x="2649" y="1382"/>
                  <a:pt x="2648" y="1381"/>
                </a:cubicBezTo>
                <a:cubicBezTo>
                  <a:pt x="2648" y="1381"/>
                  <a:pt x="2647" y="1381"/>
                  <a:pt x="2647" y="1381"/>
                </a:cubicBezTo>
                <a:cubicBezTo>
                  <a:pt x="2647" y="1381"/>
                  <a:pt x="2647" y="1380"/>
                  <a:pt x="2647" y="1380"/>
                </a:cubicBezTo>
                <a:cubicBezTo>
                  <a:pt x="2647" y="1379"/>
                  <a:pt x="2647" y="1378"/>
                  <a:pt x="2647" y="1378"/>
                </a:cubicBezTo>
                <a:cubicBezTo>
                  <a:pt x="2647" y="1377"/>
                  <a:pt x="2647" y="1377"/>
                  <a:pt x="2648" y="1377"/>
                </a:cubicBezTo>
                <a:cubicBezTo>
                  <a:pt x="2649" y="1378"/>
                  <a:pt x="2648" y="1378"/>
                  <a:pt x="2648" y="1378"/>
                </a:cubicBezTo>
                <a:cubicBezTo>
                  <a:pt x="2648" y="1379"/>
                  <a:pt x="2649" y="1379"/>
                  <a:pt x="2649" y="1379"/>
                </a:cubicBezTo>
                <a:cubicBezTo>
                  <a:pt x="2649" y="1380"/>
                  <a:pt x="2648" y="1383"/>
                  <a:pt x="2650" y="1382"/>
                </a:cubicBezTo>
                <a:cubicBezTo>
                  <a:pt x="2651" y="1382"/>
                  <a:pt x="2651" y="1380"/>
                  <a:pt x="2652" y="1380"/>
                </a:cubicBezTo>
                <a:cubicBezTo>
                  <a:pt x="2653" y="1379"/>
                  <a:pt x="2654" y="1378"/>
                  <a:pt x="2654" y="1377"/>
                </a:cubicBezTo>
                <a:cubicBezTo>
                  <a:pt x="2653" y="1376"/>
                  <a:pt x="2653" y="1376"/>
                  <a:pt x="2653" y="1376"/>
                </a:cubicBezTo>
                <a:cubicBezTo>
                  <a:pt x="2652" y="1375"/>
                  <a:pt x="2653" y="1375"/>
                  <a:pt x="2654" y="1374"/>
                </a:cubicBezTo>
                <a:cubicBezTo>
                  <a:pt x="2655" y="1374"/>
                  <a:pt x="2655" y="1372"/>
                  <a:pt x="2657" y="1373"/>
                </a:cubicBezTo>
                <a:cubicBezTo>
                  <a:pt x="2658" y="1373"/>
                  <a:pt x="2658" y="1373"/>
                  <a:pt x="2659" y="1373"/>
                </a:cubicBezTo>
                <a:cubicBezTo>
                  <a:pt x="2659" y="1374"/>
                  <a:pt x="2659" y="1374"/>
                  <a:pt x="2660" y="1375"/>
                </a:cubicBezTo>
                <a:cubicBezTo>
                  <a:pt x="2661" y="1375"/>
                  <a:pt x="2661" y="1374"/>
                  <a:pt x="2662" y="1375"/>
                </a:cubicBezTo>
                <a:cubicBezTo>
                  <a:pt x="2662" y="1375"/>
                  <a:pt x="2662" y="1376"/>
                  <a:pt x="2663" y="1376"/>
                </a:cubicBezTo>
                <a:cubicBezTo>
                  <a:pt x="2664" y="1376"/>
                  <a:pt x="2664" y="1376"/>
                  <a:pt x="2665" y="1376"/>
                </a:cubicBezTo>
                <a:cubicBezTo>
                  <a:pt x="2665" y="1377"/>
                  <a:pt x="2665" y="1377"/>
                  <a:pt x="2666" y="1377"/>
                </a:cubicBezTo>
                <a:cubicBezTo>
                  <a:pt x="2667" y="1378"/>
                  <a:pt x="2666" y="1375"/>
                  <a:pt x="2666" y="1375"/>
                </a:cubicBezTo>
                <a:cubicBezTo>
                  <a:pt x="2666" y="1374"/>
                  <a:pt x="2667" y="1373"/>
                  <a:pt x="2667" y="1373"/>
                </a:cubicBezTo>
                <a:cubicBezTo>
                  <a:pt x="2668" y="1374"/>
                  <a:pt x="2668" y="1374"/>
                  <a:pt x="2669" y="1374"/>
                </a:cubicBezTo>
                <a:cubicBezTo>
                  <a:pt x="2669" y="1373"/>
                  <a:pt x="2669" y="1373"/>
                  <a:pt x="2669" y="1373"/>
                </a:cubicBezTo>
                <a:cubicBezTo>
                  <a:pt x="2670" y="1372"/>
                  <a:pt x="2671" y="1372"/>
                  <a:pt x="2671" y="1372"/>
                </a:cubicBezTo>
                <a:cubicBezTo>
                  <a:pt x="2670" y="1371"/>
                  <a:pt x="2669" y="1371"/>
                  <a:pt x="2669" y="1370"/>
                </a:cubicBezTo>
                <a:cubicBezTo>
                  <a:pt x="2669" y="1370"/>
                  <a:pt x="2670" y="1369"/>
                  <a:pt x="2671" y="1369"/>
                </a:cubicBezTo>
                <a:cubicBezTo>
                  <a:pt x="2671" y="1369"/>
                  <a:pt x="2671" y="1370"/>
                  <a:pt x="2671" y="1370"/>
                </a:cubicBezTo>
                <a:cubicBezTo>
                  <a:pt x="2672" y="1370"/>
                  <a:pt x="2672" y="1370"/>
                  <a:pt x="2673" y="1370"/>
                </a:cubicBezTo>
                <a:cubicBezTo>
                  <a:pt x="2673" y="1370"/>
                  <a:pt x="2674" y="1370"/>
                  <a:pt x="2675" y="1370"/>
                </a:cubicBezTo>
                <a:cubicBezTo>
                  <a:pt x="2676" y="1370"/>
                  <a:pt x="2676" y="1370"/>
                  <a:pt x="2676" y="1371"/>
                </a:cubicBezTo>
                <a:cubicBezTo>
                  <a:pt x="2677" y="1372"/>
                  <a:pt x="2677" y="1373"/>
                  <a:pt x="2679" y="1372"/>
                </a:cubicBezTo>
                <a:cubicBezTo>
                  <a:pt x="2679" y="1372"/>
                  <a:pt x="2679" y="1371"/>
                  <a:pt x="2680" y="1371"/>
                </a:cubicBezTo>
                <a:cubicBezTo>
                  <a:pt x="2680" y="1371"/>
                  <a:pt x="2681" y="1371"/>
                  <a:pt x="2681" y="1370"/>
                </a:cubicBezTo>
                <a:cubicBezTo>
                  <a:pt x="2682" y="1370"/>
                  <a:pt x="2682" y="1369"/>
                  <a:pt x="2683" y="1368"/>
                </a:cubicBezTo>
                <a:cubicBezTo>
                  <a:pt x="2683" y="1367"/>
                  <a:pt x="2683" y="1366"/>
                  <a:pt x="2684" y="1365"/>
                </a:cubicBezTo>
                <a:cubicBezTo>
                  <a:pt x="2685" y="1363"/>
                  <a:pt x="2685" y="1362"/>
                  <a:pt x="2685" y="1360"/>
                </a:cubicBezTo>
                <a:cubicBezTo>
                  <a:pt x="2686" y="1360"/>
                  <a:pt x="2686" y="1359"/>
                  <a:pt x="2686" y="1358"/>
                </a:cubicBezTo>
                <a:cubicBezTo>
                  <a:pt x="2687" y="1358"/>
                  <a:pt x="2686" y="1357"/>
                  <a:pt x="2687" y="1356"/>
                </a:cubicBezTo>
                <a:cubicBezTo>
                  <a:pt x="2687" y="1355"/>
                  <a:pt x="2688" y="1354"/>
                  <a:pt x="2688" y="1352"/>
                </a:cubicBezTo>
                <a:cubicBezTo>
                  <a:pt x="2688" y="1351"/>
                  <a:pt x="2688" y="1351"/>
                  <a:pt x="2689" y="1350"/>
                </a:cubicBezTo>
                <a:cubicBezTo>
                  <a:pt x="2689" y="1350"/>
                  <a:pt x="2689" y="1350"/>
                  <a:pt x="2689" y="1349"/>
                </a:cubicBezTo>
                <a:cubicBezTo>
                  <a:pt x="2688" y="1349"/>
                  <a:pt x="2688" y="1349"/>
                  <a:pt x="2687" y="1350"/>
                </a:cubicBezTo>
                <a:cubicBezTo>
                  <a:pt x="2684" y="1351"/>
                  <a:pt x="2686" y="1343"/>
                  <a:pt x="2686" y="1343"/>
                </a:cubicBezTo>
                <a:cubicBezTo>
                  <a:pt x="2686" y="1340"/>
                  <a:pt x="2685" y="1337"/>
                  <a:pt x="2685" y="1334"/>
                </a:cubicBezTo>
                <a:cubicBezTo>
                  <a:pt x="2685" y="1333"/>
                  <a:pt x="2685" y="1331"/>
                  <a:pt x="2685" y="1330"/>
                </a:cubicBezTo>
                <a:cubicBezTo>
                  <a:pt x="2685" y="1329"/>
                  <a:pt x="2684" y="1327"/>
                  <a:pt x="2684" y="1326"/>
                </a:cubicBezTo>
                <a:cubicBezTo>
                  <a:pt x="2684" y="1324"/>
                  <a:pt x="2684" y="1323"/>
                  <a:pt x="2683" y="1322"/>
                </a:cubicBezTo>
                <a:cubicBezTo>
                  <a:pt x="2682" y="1321"/>
                  <a:pt x="2682" y="1320"/>
                  <a:pt x="2681" y="1318"/>
                </a:cubicBezTo>
                <a:cubicBezTo>
                  <a:pt x="2680" y="1317"/>
                  <a:pt x="2680" y="1316"/>
                  <a:pt x="2679" y="1315"/>
                </a:cubicBezTo>
                <a:cubicBezTo>
                  <a:pt x="2678" y="1314"/>
                  <a:pt x="2677" y="1313"/>
                  <a:pt x="2677" y="1312"/>
                </a:cubicBezTo>
                <a:cubicBezTo>
                  <a:pt x="2676" y="1311"/>
                  <a:pt x="2676" y="1310"/>
                  <a:pt x="2676" y="1310"/>
                </a:cubicBezTo>
                <a:cubicBezTo>
                  <a:pt x="2676" y="1309"/>
                  <a:pt x="2675" y="1308"/>
                  <a:pt x="2674" y="1307"/>
                </a:cubicBezTo>
                <a:cubicBezTo>
                  <a:pt x="2674" y="1306"/>
                  <a:pt x="2673" y="1305"/>
                  <a:pt x="2672" y="1304"/>
                </a:cubicBezTo>
                <a:cubicBezTo>
                  <a:pt x="2672" y="1303"/>
                  <a:pt x="2671" y="1303"/>
                  <a:pt x="2670" y="1301"/>
                </a:cubicBezTo>
                <a:cubicBezTo>
                  <a:pt x="2670" y="1300"/>
                  <a:pt x="2670" y="1299"/>
                  <a:pt x="2669" y="1298"/>
                </a:cubicBezTo>
                <a:cubicBezTo>
                  <a:pt x="2669" y="1297"/>
                  <a:pt x="2668" y="1297"/>
                  <a:pt x="2668" y="1296"/>
                </a:cubicBezTo>
                <a:cubicBezTo>
                  <a:pt x="2667" y="1295"/>
                  <a:pt x="2666" y="1293"/>
                  <a:pt x="2665" y="1292"/>
                </a:cubicBezTo>
                <a:cubicBezTo>
                  <a:pt x="2664" y="1290"/>
                  <a:pt x="2663" y="1290"/>
                  <a:pt x="2662" y="1289"/>
                </a:cubicBezTo>
                <a:cubicBezTo>
                  <a:pt x="2660" y="1287"/>
                  <a:pt x="2659" y="1284"/>
                  <a:pt x="2657" y="1283"/>
                </a:cubicBezTo>
                <a:cubicBezTo>
                  <a:pt x="2655" y="1281"/>
                  <a:pt x="2653" y="1279"/>
                  <a:pt x="2650" y="1278"/>
                </a:cubicBezTo>
                <a:cubicBezTo>
                  <a:pt x="2650" y="1278"/>
                  <a:pt x="2649" y="1278"/>
                  <a:pt x="2648" y="1278"/>
                </a:cubicBezTo>
                <a:cubicBezTo>
                  <a:pt x="2647" y="1278"/>
                  <a:pt x="2647" y="1278"/>
                  <a:pt x="2646" y="1278"/>
                </a:cubicBezTo>
                <a:cubicBezTo>
                  <a:pt x="2646" y="1277"/>
                  <a:pt x="2645" y="1278"/>
                  <a:pt x="2645" y="1277"/>
                </a:cubicBezTo>
                <a:cubicBezTo>
                  <a:pt x="2645" y="1276"/>
                  <a:pt x="2646" y="1275"/>
                  <a:pt x="2646" y="1275"/>
                </a:cubicBezTo>
                <a:cubicBezTo>
                  <a:pt x="2647" y="1272"/>
                  <a:pt x="2648" y="1276"/>
                  <a:pt x="2648" y="1276"/>
                </a:cubicBezTo>
                <a:cubicBezTo>
                  <a:pt x="2650" y="1275"/>
                  <a:pt x="2648" y="1274"/>
                  <a:pt x="2648" y="1273"/>
                </a:cubicBezTo>
                <a:cubicBezTo>
                  <a:pt x="2648" y="1271"/>
                  <a:pt x="2650" y="1270"/>
                  <a:pt x="2649" y="1269"/>
                </a:cubicBezTo>
                <a:cubicBezTo>
                  <a:pt x="2649" y="1268"/>
                  <a:pt x="2648" y="1267"/>
                  <a:pt x="2649" y="1265"/>
                </a:cubicBezTo>
                <a:cubicBezTo>
                  <a:pt x="2650" y="1264"/>
                  <a:pt x="2651" y="1264"/>
                  <a:pt x="2652" y="1264"/>
                </a:cubicBezTo>
                <a:cubicBezTo>
                  <a:pt x="2653" y="1263"/>
                  <a:pt x="2654" y="1262"/>
                  <a:pt x="2654" y="1262"/>
                </a:cubicBezTo>
                <a:cubicBezTo>
                  <a:pt x="2655" y="1262"/>
                  <a:pt x="2656" y="1262"/>
                  <a:pt x="2657" y="1261"/>
                </a:cubicBezTo>
                <a:cubicBezTo>
                  <a:pt x="2658" y="1261"/>
                  <a:pt x="2660" y="1261"/>
                  <a:pt x="2661" y="1261"/>
                </a:cubicBezTo>
                <a:cubicBezTo>
                  <a:pt x="2664" y="1260"/>
                  <a:pt x="2666" y="1257"/>
                  <a:pt x="2669" y="1256"/>
                </a:cubicBezTo>
                <a:cubicBezTo>
                  <a:pt x="2671" y="1254"/>
                  <a:pt x="2673" y="1253"/>
                  <a:pt x="2675" y="1251"/>
                </a:cubicBezTo>
                <a:cubicBezTo>
                  <a:pt x="2676" y="1250"/>
                  <a:pt x="2677" y="1249"/>
                  <a:pt x="2679" y="1248"/>
                </a:cubicBezTo>
                <a:cubicBezTo>
                  <a:pt x="2681" y="1246"/>
                  <a:pt x="2683" y="1245"/>
                  <a:pt x="2685" y="1244"/>
                </a:cubicBezTo>
                <a:cubicBezTo>
                  <a:pt x="2687" y="1243"/>
                  <a:pt x="2688" y="1242"/>
                  <a:pt x="2689" y="1242"/>
                </a:cubicBezTo>
                <a:cubicBezTo>
                  <a:pt x="2690" y="1241"/>
                  <a:pt x="2691" y="1240"/>
                  <a:pt x="2692" y="1239"/>
                </a:cubicBezTo>
                <a:cubicBezTo>
                  <a:pt x="2693" y="1238"/>
                  <a:pt x="2692" y="1236"/>
                  <a:pt x="2692" y="1235"/>
                </a:cubicBezTo>
                <a:cubicBezTo>
                  <a:pt x="2691" y="1234"/>
                  <a:pt x="2691" y="1232"/>
                  <a:pt x="2692" y="1231"/>
                </a:cubicBezTo>
                <a:cubicBezTo>
                  <a:pt x="2692" y="1230"/>
                  <a:pt x="2693" y="1229"/>
                  <a:pt x="2693" y="1228"/>
                </a:cubicBezTo>
                <a:cubicBezTo>
                  <a:pt x="2693" y="1227"/>
                  <a:pt x="2693" y="1226"/>
                  <a:pt x="2693" y="1225"/>
                </a:cubicBezTo>
                <a:cubicBezTo>
                  <a:pt x="2693" y="1223"/>
                  <a:pt x="2694" y="1223"/>
                  <a:pt x="2694" y="1221"/>
                </a:cubicBezTo>
                <a:cubicBezTo>
                  <a:pt x="2694" y="1220"/>
                  <a:pt x="2694" y="1218"/>
                  <a:pt x="2695" y="1217"/>
                </a:cubicBezTo>
                <a:cubicBezTo>
                  <a:pt x="2696" y="1216"/>
                  <a:pt x="2697" y="1215"/>
                  <a:pt x="2698" y="1214"/>
                </a:cubicBezTo>
                <a:cubicBezTo>
                  <a:pt x="2698" y="1212"/>
                  <a:pt x="2699" y="1211"/>
                  <a:pt x="2700" y="1210"/>
                </a:cubicBezTo>
                <a:cubicBezTo>
                  <a:pt x="2701" y="1209"/>
                  <a:pt x="2703" y="1208"/>
                  <a:pt x="2704" y="1207"/>
                </a:cubicBezTo>
                <a:cubicBezTo>
                  <a:pt x="2705" y="1206"/>
                  <a:pt x="2706" y="1205"/>
                  <a:pt x="2707" y="1205"/>
                </a:cubicBezTo>
                <a:cubicBezTo>
                  <a:pt x="2708" y="1205"/>
                  <a:pt x="2709" y="1205"/>
                  <a:pt x="2710" y="1205"/>
                </a:cubicBezTo>
                <a:cubicBezTo>
                  <a:pt x="2710" y="1206"/>
                  <a:pt x="2710" y="1206"/>
                  <a:pt x="2711" y="1206"/>
                </a:cubicBezTo>
                <a:cubicBezTo>
                  <a:pt x="2712" y="1206"/>
                  <a:pt x="2712" y="1206"/>
                  <a:pt x="2712" y="1205"/>
                </a:cubicBezTo>
                <a:cubicBezTo>
                  <a:pt x="2713" y="1204"/>
                  <a:pt x="2713" y="1204"/>
                  <a:pt x="2713" y="1203"/>
                </a:cubicBezTo>
                <a:cubicBezTo>
                  <a:pt x="2714" y="1202"/>
                  <a:pt x="2714" y="1201"/>
                  <a:pt x="2713" y="1200"/>
                </a:cubicBezTo>
                <a:cubicBezTo>
                  <a:pt x="2713" y="1199"/>
                  <a:pt x="2713" y="1197"/>
                  <a:pt x="2714" y="1198"/>
                </a:cubicBezTo>
                <a:cubicBezTo>
                  <a:pt x="2714" y="1198"/>
                  <a:pt x="2714" y="1199"/>
                  <a:pt x="2715" y="1199"/>
                </a:cubicBezTo>
                <a:cubicBezTo>
                  <a:pt x="2716" y="1199"/>
                  <a:pt x="2716" y="1198"/>
                  <a:pt x="2716" y="1198"/>
                </a:cubicBezTo>
                <a:cubicBezTo>
                  <a:pt x="2717" y="1197"/>
                  <a:pt x="2719" y="1198"/>
                  <a:pt x="2719" y="1198"/>
                </a:cubicBezTo>
                <a:cubicBezTo>
                  <a:pt x="2720" y="1199"/>
                  <a:pt x="2720" y="1200"/>
                  <a:pt x="2721" y="1199"/>
                </a:cubicBezTo>
                <a:cubicBezTo>
                  <a:pt x="2722" y="1199"/>
                  <a:pt x="2722" y="1198"/>
                  <a:pt x="2722" y="1197"/>
                </a:cubicBezTo>
                <a:cubicBezTo>
                  <a:pt x="2722" y="1196"/>
                  <a:pt x="2724" y="1195"/>
                  <a:pt x="2725" y="1194"/>
                </a:cubicBezTo>
                <a:cubicBezTo>
                  <a:pt x="2725" y="1193"/>
                  <a:pt x="2725" y="1192"/>
                  <a:pt x="2726" y="1191"/>
                </a:cubicBezTo>
                <a:cubicBezTo>
                  <a:pt x="2727" y="1190"/>
                  <a:pt x="2728" y="1189"/>
                  <a:pt x="2729" y="1188"/>
                </a:cubicBezTo>
                <a:cubicBezTo>
                  <a:pt x="2729" y="1187"/>
                  <a:pt x="2729" y="1185"/>
                  <a:pt x="2730" y="1184"/>
                </a:cubicBezTo>
                <a:cubicBezTo>
                  <a:pt x="2731" y="1184"/>
                  <a:pt x="2732" y="1183"/>
                  <a:pt x="2732" y="1183"/>
                </a:cubicBezTo>
                <a:cubicBezTo>
                  <a:pt x="2733" y="1182"/>
                  <a:pt x="2733" y="1182"/>
                  <a:pt x="2734" y="1182"/>
                </a:cubicBezTo>
                <a:cubicBezTo>
                  <a:pt x="2734" y="1182"/>
                  <a:pt x="2735" y="1181"/>
                  <a:pt x="2735" y="1181"/>
                </a:cubicBezTo>
                <a:cubicBezTo>
                  <a:pt x="2736" y="1181"/>
                  <a:pt x="2737" y="1182"/>
                  <a:pt x="2736" y="1183"/>
                </a:cubicBezTo>
                <a:cubicBezTo>
                  <a:pt x="2736" y="1183"/>
                  <a:pt x="2735" y="1184"/>
                  <a:pt x="2735" y="1184"/>
                </a:cubicBezTo>
                <a:cubicBezTo>
                  <a:pt x="2735" y="1185"/>
                  <a:pt x="2734" y="1185"/>
                  <a:pt x="2734" y="1186"/>
                </a:cubicBezTo>
                <a:cubicBezTo>
                  <a:pt x="2733" y="1186"/>
                  <a:pt x="2732" y="1186"/>
                  <a:pt x="2733" y="1187"/>
                </a:cubicBezTo>
                <a:cubicBezTo>
                  <a:pt x="2734" y="1188"/>
                  <a:pt x="2735" y="1187"/>
                  <a:pt x="2735" y="1187"/>
                </a:cubicBezTo>
                <a:cubicBezTo>
                  <a:pt x="2737" y="1187"/>
                  <a:pt x="2738" y="1187"/>
                  <a:pt x="2739" y="1185"/>
                </a:cubicBezTo>
                <a:cubicBezTo>
                  <a:pt x="2740" y="1185"/>
                  <a:pt x="2741" y="1183"/>
                  <a:pt x="2742" y="1183"/>
                </a:cubicBezTo>
                <a:cubicBezTo>
                  <a:pt x="2742" y="1184"/>
                  <a:pt x="2742" y="1185"/>
                  <a:pt x="2742" y="1186"/>
                </a:cubicBezTo>
                <a:cubicBezTo>
                  <a:pt x="2741" y="1187"/>
                  <a:pt x="2741" y="1188"/>
                  <a:pt x="2741" y="1189"/>
                </a:cubicBezTo>
                <a:cubicBezTo>
                  <a:pt x="2741" y="1190"/>
                  <a:pt x="2742" y="1190"/>
                  <a:pt x="2742" y="1191"/>
                </a:cubicBezTo>
                <a:cubicBezTo>
                  <a:pt x="2742" y="1192"/>
                  <a:pt x="2742" y="1193"/>
                  <a:pt x="2743" y="1193"/>
                </a:cubicBezTo>
                <a:cubicBezTo>
                  <a:pt x="2744" y="1192"/>
                  <a:pt x="2744" y="1190"/>
                  <a:pt x="2745" y="1192"/>
                </a:cubicBezTo>
                <a:cubicBezTo>
                  <a:pt x="2746" y="1193"/>
                  <a:pt x="2747" y="1194"/>
                  <a:pt x="2748" y="1193"/>
                </a:cubicBezTo>
                <a:cubicBezTo>
                  <a:pt x="2749" y="1192"/>
                  <a:pt x="2750" y="1191"/>
                  <a:pt x="2752" y="1192"/>
                </a:cubicBezTo>
                <a:cubicBezTo>
                  <a:pt x="2752" y="1192"/>
                  <a:pt x="2753" y="1193"/>
                  <a:pt x="2753" y="1193"/>
                </a:cubicBezTo>
                <a:cubicBezTo>
                  <a:pt x="2754" y="1193"/>
                  <a:pt x="2754" y="1193"/>
                  <a:pt x="2755" y="1194"/>
                </a:cubicBezTo>
                <a:cubicBezTo>
                  <a:pt x="2755" y="1194"/>
                  <a:pt x="2755" y="1195"/>
                  <a:pt x="2756" y="1196"/>
                </a:cubicBezTo>
                <a:cubicBezTo>
                  <a:pt x="2756" y="1196"/>
                  <a:pt x="2757" y="1196"/>
                  <a:pt x="2757" y="1196"/>
                </a:cubicBezTo>
                <a:cubicBezTo>
                  <a:pt x="2757" y="1196"/>
                  <a:pt x="2757" y="1197"/>
                  <a:pt x="2758" y="1197"/>
                </a:cubicBezTo>
                <a:cubicBezTo>
                  <a:pt x="2758" y="1197"/>
                  <a:pt x="2759" y="1197"/>
                  <a:pt x="2759" y="1197"/>
                </a:cubicBezTo>
                <a:cubicBezTo>
                  <a:pt x="2761" y="1196"/>
                  <a:pt x="2761" y="1195"/>
                  <a:pt x="2763" y="1194"/>
                </a:cubicBezTo>
                <a:cubicBezTo>
                  <a:pt x="2764" y="1194"/>
                  <a:pt x="2766" y="1194"/>
                  <a:pt x="2767" y="1194"/>
                </a:cubicBezTo>
                <a:cubicBezTo>
                  <a:pt x="2769" y="1194"/>
                  <a:pt x="2770" y="1193"/>
                  <a:pt x="2772" y="1193"/>
                </a:cubicBezTo>
                <a:cubicBezTo>
                  <a:pt x="2773" y="1192"/>
                  <a:pt x="2773" y="1192"/>
                  <a:pt x="2774" y="1191"/>
                </a:cubicBezTo>
                <a:cubicBezTo>
                  <a:pt x="2777" y="1190"/>
                  <a:pt x="2779" y="1190"/>
                  <a:pt x="2781" y="1188"/>
                </a:cubicBezTo>
                <a:cubicBezTo>
                  <a:pt x="2783" y="1187"/>
                  <a:pt x="2784" y="1186"/>
                  <a:pt x="2786" y="1185"/>
                </a:cubicBezTo>
                <a:cubicBezTo>
                  <a:pt x="2787" y="1184"/>
                  <a:pt x="2788" y="1184"/>
                  <a:pt x="2788" y="1183"/>
                </a:cubicBezTo>
                <a:cubicBezTo>
                  <a:pt x="2789" y="1183"/>
                  <a:pt x="2790" y="1182"/>
                  <a:pt x="2791" y="1182"/>
                </a:cubicBezTo>
                <a:cubicBezTo>
                  <a:pt x="2792" y="1181"/>
                  <a:pt x="2793" y="1181"/>
                  <a:pt x="2793" y="1181"/>
                </a:cubicBezTo>
                <a:cubicBezTo>
                  <a:pt x="2795" y="1180"/>
                  <a:pt x="2796" y="1179"/>
                  <a:pt x="2798" y="1178"/>
                </a:cubicBezTo>
                <a:cubicBezTo>
                  <a:pt x="2799" y="1177"/>
                  <a:pt x="2800" y="1175"/>
                  <a:pt x="2801" y="1174"/>
                </a:cubicBezTo>
                <a:cubicBezTo>
                  <a:pt x="2803" y="1173"/>
                  <a:pt x="2804" y="1171"/>
                  <a:pt x="2805" y="1169"/>
                </a:cubicBezTo>
                <a:cubicBezTo>
                  <a:pt x="2806" y="1167"/>
                  <a:pt x="2807" y="1165"/>
                  <a:pt x="2809" y="1162"/>
                </a:cubicBezTo>
                <a:cubicBezTo>
                  <a:pt x="2809" y="1162"/>
                  <a:pt x="2809" y="1161"/>
                  <a:pt x="2810" y="1160"/>
                </a:cubicBezTo>
                <a:cubicBezTo>
                  <a:pt x="2811" y="1159"/>
                  <a:pt x="2812" y="1158"/>
                  <a:pt x="2813" y="1157"/>
                </a:cubicBezTo>
                <a:cubicBezTo>
                  <a:pt x="2815" y="1155"/>
                  <a:pt x="2817" y="1154"/>
                  <a:pt x="2819" y="1152"/>
                </a:cubicBezTo>
                <a:cubicBezTo>
                  <a:pt x="2821" y="1151"/>
                  <a:pt x="2822" y="1149"/>
                  <a:pt x="2823" y="1147"/>
                </a:cubicBezTo>
                <a:cubicBezTo>
                  <a:pt x="2824" y="1145"/>
                  <a:pt x="2825" y="1144"/>
                  <a:pt x="2827" y="1142"/>
                </a:cubicBezTo>
                <a:cubicBezTo>
                  <a:pt x="2830" y="1139"/>
                  <a:pt x="2834" y="1135"/>
                  <a:pt x="2837" y="1132"/>
                </a:cubicBezTo>
                <a:cubicBezTo>
                  <a:pt x="2839" y="1130"/>
                  <a:pt x="2841" y="1128"/>
                  <a:pt x="2843" y="1126"/>
                </a:cubicBezTo>
                <a:cubicBezTo>
                  <a:pt x="2844" y="1125"/>
                  <a:pt x="2845" y="1124"/>
                  <a:pt x="2846" y="1123"/>
                </a:cubicBezTo>
                <a:cubicBezTo>
                  <a:pt x="2846" y="1123"/>
                  <a:pt x="2846" y="1123"/>
                  <a:pt x="2847" y="1122"/>
                </a:cubicBezTo>
                <a:cubicBezTo>
                  <a:pt x="2848" y="1121"/>
                  <a:pt x="2850" y="1119"/>
                  <a:pt x="2851" y="1117"/>
                </a:cubicBezTo>
                <a:cubicBezTo>
                  <a:pt x="2852" y="1116"/>
                  <a:pt x="2853" y="1115"/>
                  <a:pt x="2855" y="1114"/>
                </a:cubicBezTo>
                <a:cubicBezTo>
                  <a:pt x="2856" y="1112"/>
                  <a:pt x="2857" y="1111"/>
                  <a:pt x="2859" y="1109"/>
                </a:cubicBezTo>
                <a:cubicBezTo>
                  <a:pt x="2859" y="1108"/>
                  <a:pt x="2860" y="1106"/>
                  <a:pt x="2861" y="1105"/>
                </a:cubicBezTo>
                <a:cubicBezTo>
                  <a:pt x="2862" y="1103"/>
                  <a:pt x="2863" y="1102"/>
                  <a:pt x="2864" y="1100"/>
                </a:cubicBezTo>
                <a:cubicBezTo>
                  <a:pt x="2864" y="1099"/>
                  <a:pt x="2864" y="1098"/>
                  <a:pt x="2865" y="1096"/>
                </a:cubicBezTo>
                <a:cubicBezTo>
                  <a:pt x="2865" y="1095"/>
                  <a:pt x="2865" y="1093"/>
                  <a:pt x="2865" y="1092"/>
                </a:cubicBezTo>
                <a:cubicBezTo>
                  <a:pt x="2867" y="1089"/>
                  <a:pt x="2870" y="1088"/>
                  <a:pt x="2872" y="1085"/>
                </a:cubicBezTo>
                <a:cubicBezTo>
                  <a:pt x="2872" y="1084"/>
                  <a:pt x="2873" y="1083"/>
                  <a:pt x="2874" y="1082"/>
                </a:cubicBezTo>
                <a:cubicBezTo>
                  <a:pt x="2876" y="1080"/>
                  <a:pt x="2877" y="1079"/>
                  <a:pt x="2878" y="1077"/>
                </a:cubicBezTo>
                <a:cubicBezTo>
                  <a:pt x="2880" y="1073"/>
                  <a:pt x="2881" y="1070"/>
                  <a:pt x="2885" y="1068"/>
                </a:cubicBezTo>
                <a:cubicBezTo>
                  <a:pt x="2886" y="1067"/>
                  <a:pt x="2888" y="1065"/>
                  <a:pt x="2889" y="1064"/>
                </a:cubicBezTo>
                <a:cubicBezTo>
                  <a:pt x="2890" y="1063"/>
                  <a:pt x="2892" y="1061"/>
                  <a:pt x="2893" y="1060"/>
                </a:cubicBezTo>
                <a:cubicBezTo>
                  <a:pt x="2894" y="1058"/>
                  <a:pt x="2895" y="1057"/>
                  <a:pt x="2896" y="1055"/>
                </a:cubicBezTo>
                <a:cubicBezTo>
                  <a:pt x="2897" y="1054"/>
                  <a:pt x="2897" y="1052"/>
                  <a:pt x="2898" y="1051"/>
                </a:cubicBezTo>
                <a:cubicBezTo>
                  <a:pt x="2898" y="1049"/>
                  <a:pt x="2899" y="1048"/>
                  <a:pt x="2900" y="1047"/>
                </a:cubicBezTo>
                <a:cubicBezTo>
                  <a:pt x="2901" y="1046"/>
                  <a:pt x="2901" y="1045"/>
                  <a:pt x="2901" y="1043"/>
                </a:cubicBezTo>
                <a:cubicBezTo>
                  <a:pt x="2901" y="1043"/>
                  <a:pt x="2902" y="1041"/>
                  <a:pt x="2901" y="1041"/>
                </a:cubicBezTo>
                <a:cubicBezTo>
                  <a:pt x="2901" y="1040"/>
                  <a:pt x="2901" y="1041"/>
                  <a:pt x="2900" y="1041"/>
                </a:cubicBezTo>
                <a:cubicBezTo>
                  <a:pt x="2900" y="1041"/>
                  <a:pt x="2900" y="1041"/>
                  <a:pt x="2900" y="1041"/>
                </a:cubicBezTo>
                <a:cubicBezTo>
                  <a:pt x="2899" y="1040"/>
                  <a:pt x="2900" y="1039"/>
                  <a:pt x="2900" y="1039"/>
                </a:cubicBezTo>
                <a:cubicBezTo>
                  <a:pt x="2900" y="1039"/>
                  <a:pt x="2901" y="1038"/>
                  <a:pt x="2901" y="1037"/>
                </a:cubicBezTo>
                <a:cubicBezTo>
                  <a:pt x="2901" y="1037"/>
                  <a:pt x="2901" y="1036"/>
                  <a:pt x="2902" y="1035"/>
                </a:cubicBezTo>
                <a:cubicBezTo>
                  <a:pt x="2902" y="1034"/>
                  <a:pt x="2903" y="1033"/>
                  <a:pt x="2904" y="1032"/>
                </a:cubicBezTo>
                <a:cubicBezTo>
                  <a:pt x="2904" y="1031"/>
                  <a:pt x="2904" y="1031"/>
                  <a:pt x="2904" y="1030"/>
                </a:cubicBezTo>
                <a:cubicBezTo>
                  <a:pt x="2904" y="1029"/>
                  <a:pt x="2905" y="1028"/>
                  <a:pt x="2905" y="1028"/>
                </a:cubicBezTo>
                <a:cubicBezTo>
                  <a:pt x="2905" y="1026"/>
                  <a:pt x="2905" y="1025"/>
                  <a:pt x="2905" y="1023"/>
                </a:cubicBezTo>
                <a:cubicBezTo>
                  <a:pt x="2905" y="1022"/>
                  <a:pt x="2904" y="1021"/>
                  <a:pt x="2903" y="1020"/>
                </a:cubicBezTo>
                <a:cubicBezTo>
                  <a:pt x="2902" y="1019"/>
                  <a:pt x="2903" y="1018"/>
                  <a:pt x="2903" y="1017"/>
                </a:cubicBezTo>
                <a:cubicBezTo>
                  <a:pt x="2904" y="1016"/>
                  <a:pt x="2905" y="1015"/>
                  <a:pt x="2906" y="1015"/>
                </a:cubicBezTo>
                <a:cubicBezTo>
                  <a:pt x="2906" y="1014"/>
                  <a:pt x="2908" y="1014"/>
                  <a:pt x="2907" y="1013"/>
                </a:cubicBezTo>
                <a:cubicBezTo>
                  <a:pt x="2906" y="1013"/>
                  <a:pt x="2906" y="1013"/>
                  <a:pt x="2905" y="1012"/>
                </a:cubicBezTo>
                <a:cubicBezTo>
                  <a:pt x="2905" y="1012"/>
                  <a:pt x="2905" y="1011"/>
                  <a:pt x="2905" y="1010"/>
                </a:cubicBezTo>
                <a:cubicBezTo>
                  <a:pt x="2905" y="1008"/>
                  <a:pt x="2905" y="1006"/>
                  <a:pt x="2904" y="1004"/>
                </a:cubicBezTo>
                <a:cubicBezTo>
                  <a:pt x="2904" y="1002"/>
                  <a:pt x="2904" y="1001"/>
                  <a:pt x="2904" y="1000"/>
                </a:cubicBezTo>
                <a:cubicBezTo>
                  <a:pt x="2904" y="998"/>
                  <a:pt x="2905" y="996"/>
                  <a:pt x="2905" y="994"/>
                </a:cubicBezTo>
                <a:cubicBezTo>
                  <a:pt x="2906" y="993"/>
                  <a:pt x="2907" y="991"/>
                  <a:pt x="2907" y="989"/>
                </a:cubicBezTo>
                <a:cubicBezTo>
                  <a:pt x="2908" y="988"/>
                  <a:pt x="2908" y="988"/>
                  <a:pt x="2907" y="987"/>
                </a:cubicBezTo>
                <a:cubicBezTo>
                  <a:pt x="2907" y="985"/>
                  <a:pt x="2907" y="983"/>
                  <a:pt x="2908" y="982"/>
                </a:cubicBezTo>
                <a:cubicBezTo>
                  <a:pt x="2909" y="981"/>
                  <a:pt x="2910" y="981"/>
                  <a:pt x="2911" y="980"/>
                </a:cubicBezTo>
                <a:cubicBezTo>
                  <a:pt x="2913" y="978"/>
                  <a:pt x="2910" y="978"/>
                  <a:pt x="2911" y="976"/>
                </a:cubicBezTo>
                <a:cubicBezTo>
                  <a:pt x="2911" y="975"/>
                  <a:pt x="2913" y="974"/>
                  <a:pt x="2914" y="973"/>
                </a:cubicBezTo>
                <a:cubicBezTo>
                  <a:pt x="2915" y="971"/>
                  <a:pt x="2916" y="970"/>
                  <a:pt x="2917" y="969"/>
                </a:cubicBezTo>
                <a:cubicBezTo>
                  <a:pt x="2919" y="968"/>
                  <a:pt x="2920" y="967"/>
                  <a:pt x="2922" y="966"/>
                </a:cubicBezTo>
                <a:cubicBezTo>
                  <a:pt x="2923" y="965"/>
                  <a:pt x="2922" y="964"/>
                  <a:pt x="2921" y="963"/>
                </a:cubicBezTo>
                <a:cubicBezTo>
                  <a:pt x="2920" y="962"/>
                  <a:pt x="2920" y="962"/>
                  <a:pt x="2921" y="961"/>
                </a:cubicBezTo>
                <a:cubicBezTo>
                  <a:pt x="2921" y="960"/>
                  <a:pt x="2923" y="960"/>
                  <a:pt x="2923" y="959"/>
                </a:cubicBezTo>
                <a:cubicBezTo>
                  <a:pt x="2924" y="958"/>
                  <a:pt x="2924" y="958"/>
                  <a:pt x="2923" y="957"/>
                </a:cubicBezTo>
                <a:cubicBezTo>
                  <a:pt x="2922" y="957"/>
                  <a:pt x="2921" y="958"/>
                  <a:pt x="2921" y="957"/>
                </a:cubicBezTo>
                <a:cubicBezTo>
                  <a:pt x="2920" y="957"/>
                  <a:pt x="2920" y="956"/>
                  <a:pt x="2920" y="956"/>
                </a:cubicBezTo>
                <a:cubicBezTo>
                  <a:pt x="2918" y="955"/>
                  <a:pt x="2917" y="955"/>
                  <a:pt x="2917" y="953"/>
                </a:cubicBezTo>
                <a:cubicBezTo>
                  <a:pt x="2917" y="952"/>
                  <a:pt x="2916" y="951"/>
                  <a:pt x="2917" y="951"/>
                </a:cubicBezTo>
                <a:cubicBezTo>
                  <a:pt x="2917" y="950"/>
                  <a:pt x="2918" y="951"/>
                  <a:pt x="2919" y="950"/>
                </a:cubicBezTo>
                <a:cubicBezTo>
                  <a:pt x="2919" y="949"/>
                  <a:pt x="2918" y="949"/>
                  <a:pt x="2918" y="948"/>
                </a:cubicBezTo>
                <a:cubicBezTo>
                  <a:pt x="2918" y="947"/>
                  <a:pt x="2919" y="946"/>
                  <a:pt x="2919" y="945"/>
                </a:cubicBezTo>
                <a:cubicBezTo>
                  <a:pt x="2919" y="944"/>
                  <a:pt x="2919" y="943"/>
                  <a:pt x="2919" y="942"/>
                </a:cubicBezTo>
                <a:cubicBezTo>
                  <a:pt x="2918" y="941"/>
                  <a:pt x="2918" y="940"/>
                  <a:pt x="2917" y="940"/>
                </a:cubicBezTo>
                <a:cubicBezTo>
                  <a:pt x="2916" y="940"/>
                  <a:pt x="2916" y="940"/>
                  <a:pt x="2915" y="940"/>
                </a:cubicBezTo>
                <a:cubicBezTo>
                  <a:pt x="2914" y="939"/>
                  <a:pt x="2912" y="938"/>
                  <a:pt x="2912" y="936"/>
                </a:cubicBezTo>
                <a:cubicBezTo>
                  <a:pt x="2913" y="934"/>
                  <a:pt x="2914" y="937"/>
                  <a:pt x="2915" y="937"/>
                </a:cubicBezTo>
                <a:cubicBezTo>
                  <a:pt x="2916" y="937"/>
                  <a:pt x="2916" y="937"/>
                  <a:pt x="2917" y="937"/>
                </a:cubicBezTo>
                <a:cubicBezTo>
                  <a:pt x="2918" y="937"/>
                  <a:pt x="2918" y="938"/>
                  <a:pt x="2918" y="938"/>
                </a:cubicBezTo>
                <a:cubicBezTo>
                  <a:pt x="2919" y="937"/>
                  <a:pt x="2919" y="936"/>
                  <a:pt x="2919" y="936"/>
                </a:cubicBezTo>
                <a:cubicBezTo>
                  <a:pt x="2920" y="935"/>
                  <a:pt x="2920" y="935"/>
                  <a:pt x="2921" y="935"/>
                </a:cubicBezTo>
                <a:cubicBezTo>
                  <a:pt x="2922" y="934"/>
                  <a:pt x="2922" y="932"/>
                  <a:pt x="2922" y="931"/>
                </a:cubicBezTo>
                <a:cubicBezTo>
                  <a:pt x="2921" y="930"/>
                  <a:pt x="2921" y="929"/>
                  <a:pt x="2920" y="928"/>
                </a:cubicBezTo>
                <a:cubicBezTo>
                  <a:pt x="2919" y="927"/>
                  <a:pt x="2918" y="926"/>
                  <a:pt x="2917" y="925"/>
                </a:cubicBezTo>
                <a:cubicBezTo>
                  <a:pt x="2915" y="925"/>
                  <a:pt x="2913" y="925"/>
                  <a:pt x="2912" y="924"/>
                </a:cubicBezTo>
                <a:cubicBezTo>
                  <a:pt x="2911" y="923"/>
                  <a:pt x="2910" y="922"/>
                  <a:pt x="2909" y="921"/>
                </a:cubicBezTo>
                <a:cubicBezTo>
                  <a:pt x="2908" y="920"/>
                  <a:pt x="2906" y="920"/>
                  <a:pt x="2905" y="919"/>
                </a:cubicBezTo>
                <a:cubicBezTo>
                  <a:pt x="2905" y="918"/>
                  <a:pt x="2904" y="918"/>
                  <a:pt x="2904" y="917"/>
                </a:cubicBezTo>
                <a:cubicBezTo>
                  <a:pt x="2903" y="917"/>
                  <a:pt x="2902" y="916"/>
                  <a:pt x="2902" y="916"/>
                </a:cubicBezTo>
                <a:cubicBezTo>
                  <a:pt x="2901" y="915"/>
                  <a:pt x="2900" y="914"/>
                  <a:pt x="2899" y="913"/>
                </a:cubicBezTo>
                <a:cubicBezTo>
                  <a:pt x="2897" y="912"/>
                  <a:pt x="2896" y="910"/>
                  <a:pt x="2896" y="909"/>
                </a:cubicBezTo>
                <a:cubicBezTo>
                  <a:pt x="2895" y="907"/>
                  <a:pt x="2894" y="906"/>
                  <a:pt x="2893" y="905"/>
                </a:cubicBezTo>
                <a:cubicBezTo>
                  <a:pt x="2892" y="904"/>
                  <a:pt x="2891" y="903"/>
                  <a:pt x="2890" y="902"/>
                </a:cubicBezTo>
                <a:cubicBezTo>
                  <a:pt x="2888" y="902"/>
                  <a:pt x="2886" y="902"/>
                  <a:pt x="2885" y="902"/>
                </a:cubicBezTo>
                <a:cubicBezTo>
                  <a:pt x="2882" y="902"/>
                  <a:pt x="2879" y="903"/>
                  <a:pt x="2875" y="903"/>
                </a:cubicBezTo>
                <a:cubicBezTo>
                  <a:pt x="2874" y="903"/>
                  <a:pt x="2873" y="903"/>
                  <a:pt x="2872" y="903"/>
                </a:cubicBezTo>
                <a:cubicBezTo>
                  <a:pt x="2871" y="902"/>
                  <a:pt x="2869" y="902"/>
                  <a:pt x="2868" y="903"/>
                </a:cubicBezTo>
                <a:cubicBezTo>
                  <a:pt x="2867" y="903"/>
                  <a:pt x="2868" y="903"/>
                  <a:pt x="2869" y="904"/>
                </a:cubicBezTo>
                <a:cubicBezTo>
                  <a:pt x="2869" y="904"/>
                  <a:pt x="2869" y="905"/>
                  <a:pt x="2869" y="905"/>
                </a:cubicBezTo>
                <a:cubicBezTo>
                  <a:pt x="2869" y="906"/>
                  <a:pt x="2869" y="906"/>
                  <a:pt x="2868" y="907"/>
                </a:cubicBezTo>
                <a:cubicBezTo>
                  <a:pt x="2868" y="908"/>
                  <a:pt x="2867" y="908"/>
                  <a:pt x="2869" y="908"/>
                </a:cubicBezTo>
                <a:cubicBezTo>
                  <a:pt x="2869" y="908"/>
                  <a:pt x="2870" y="908"/>
                  <a:pt x="2870" y="909"/>
                </a:cubicBezTo>
                <a:cubicBezTo>
                  <a:pt x="2870" y="910"/>
                  <a:pt x="2868" y="912"/>
                  <a:pt x="2868" y="913"/>
                </a:cubicBezTo>
                <a:cubicBezTo>
                  <a:pt x="2868" y="914"/>
                  <a:pt x="2868" y="916"/>
                  <a:pt x="2867" y="917"/>
                </a:cubicBezTo>
                <a:cubicBezTo>
                  <a:pt x="2866" y="918"/>
                  <a:pt x="2866" y="919"/>
                  <a:pt x="2865" y="920"/>
                </a:cubicBezTo>
                <a:cubicBezTo>
                  <a:pt x="2865" y="921"/>
                  <a:pt x="2864" y="922"/>
                  <a:pt x="2863" y="923"/>
                </a:cubicBezTo>
                <a:cubicBezTo>
                  <a:pt x="2862" y="923"/>
                  <a:pt x="2861" y="923"/>
                  <a:pt x="2861" y="923"/>
                </a:cubicBezTo>
                <a:cubicBezTo>
                  <a:pt x="2860" y="923"/>
                  <a:pt x="2859" y="924"/>
                  <a:pt x="2859" y="924"/>
                </a:cubicBezTo>
                <a:cubicBezTo>
                  <a:pt x="2859" y="923"/>
                  <a:pt x="2860" y="923"/>
                  <a:pt x="2860" y="922"/>
                </a:cubicBezTo>
                <a:cubicBezTo>
                  <a:pt x="2861" y="922"/>
                  <a:pt x="2861" y="921"/>
                  <a:pt x="2861" y="921"/>
                </a:cubicBezTo>
                <a:cubicBezTo>
                  <a:pt x="2862" y="919"/>
                  <a:pt x="2863" y="919"/>
                  <a:pt x="2864" y="917"/>
                </a:cubicBezTo>
                <a:cubicBezTo>
                  <a:pt x="2864" y="917"/>
                  <a:pt x="2865" y="917"/>
                  <a:pt x="2865" y="916"/>
                </a:cubicBezTo>
                <a:cubicBezTo>
                  <a:pt x="2865" y="915"/>
                  <a:pt x="2866" y="915"/>
                  <a:pt x="2866" y="914"/>
                </a:cubicBezTo>
                <a:cubicBezTo>
                  <a:pt x="2866" y="913"/>
                  <a:pt x="2867" y="911"/>
                  <a:pt x="2866" y="910"/>
                </a:cubicBezTo>
                <a:cubicBezTo>
                  <a:pt x="2865" y="910"/>
                  <a:pt x="2863" y="912"/>
                  <a:pt x="2862" y="912"/>
                </a:cubicBezTo>
                <a:cubicBezTo>
                  <a:pt x="2862" y="913"/>
                  <a:pt x="2861" y="913"/>
                  <a:pt x="2860" y="914"/>
                </a:cubicBezTo>
                <a:cubicBezTo>
                  <a:pt x="2859" y="914"/>
                  <a:pt x="2859" y="915"/>
                  <a:pt x="2858" y="916"/>
                </a:cubicBezTo>
                <a:cubicBezTo>
                  <a:pt x="2857" y="917"/>
                  <a:pt x="2857" y="917"/>
                  <a:pt x="2856" y="918"/>
                </a:cubicBezTo>
                <a:cubicBezTo>
                  <a:pt x="2855" y="918"/>
                  <a:pt x="2855" y="919"/>
                  <a:pt x="2854" y="920"/>
                </a:cubicBezTo>
                <a:cubicBezTo>
                  <a:pt x="2854" y="920"/>
                  <a:pt x="2853" y="920"/>
                  <a:pt x="2853" y="921"/>
                </a:cubicBezTo>
                <a:cubicBezTo>
                  <a:pt x="2851" y="921"/>
                  <a:pt x="2850" y="921"/>
                  <a:pt x="2849" y="922"/>
                </a:cubicBezTo>
                <a:cubicBezTo>
                  <a:pt x="2847" y="922"/>
                  <a:pt x="2846" y="923"/>
                  <a:pt x="2845" y="923"/>
                </a:cubicBezTo>
                <a:cubicBezTo>
                  <a:pt x="2844" y="923"/>
                  <a:pt x="2843" y="922"/>
                  <a:pt x="2842" y="922"/>
                </a:cubicBezTo>
                <a:cubicBezTo>
                  <a:pt x="2841" y="922"/>
                  <a:pt x="2840" y="922"/>
                  <a:pt x="2839" y="922"/>
                </a:cubicBezTo>
                <a:cubicBezTo>
                  <a:pt x="2839" y="922"/>
                  <a:pt x="2839" y="922"/>
                  <a:pt x="2839" y="922"/>
                </a:cubicBezTo>
                <a:cubicBezTo>
                  <a:pt x="2840" y="921"/>
                  <a:pt x="2840" y="921"/>
                  <a:pt x="2841" y="921"/>
                </a:cubicBezTo>
                <a:cubicBezTo>
                  <a:pt x="2841" y="920"/>
                  <a:pt x="2841" y="919"/>
                  <a:pt x="2842" y="919"/>
                </a:cubicBezTo>
                <a:cubicBezTo>
                  <a:pt x="2843" y="918"/>
                  <a:pt x="2845" y="920"/>
                  <a:pt x="2846" y="918"/>
                </a:cubicBezTo>
                <a:cubicBezTo>
                  <a:pt x="2846" y="917"/>
                  <a:pt x="2846" y="916"/>
                  <a:pt x="2846" y="916"/>
                </a:cubicBezTo>
                <a:cubicBezTo>
                  <a:pt x="2847" y="915"/>
                  <a:pt x="2847" y="915"/>
                  <a:pt x="2848" y="914"/>
                </a:cubicBezTo>
                <a:cubicBezTo>
                  <a:pt x="2849" y="914"/>
                  <a:pt x="2851" y="913"/>
                  <a:pt x="2851" y="912"/>
                </a:cubicBezTo>
                <a:cubicBezTo>
                  <a:pt x="2851" y="911"/>
                  <a:pt x="2850" y="912"/>
                  <a:pt x="2849" y="912"/>
                </a:cubicBezTo>
                <a:cubicBezTo>
                  <a:pt x="2848" y="912"/>
                  <a:pt x="2848" y="912"/>
                  <a:pt x="2847" y="911"/>
                </a:cubicBezTo>
                <a:cubicBezTo>
                  <a:pt x="2846" y="911"/>
                  <a:pt x="2846" y="910"/>
                  <a:pt x="2845" y="910"/>
                </a:cubicBezTo>
                <a:cubicBezTo>
                  <a:pt x="2845" y="910"/>
                  <a:pt x="2842" y="910"/>
                  <a:pt x="2842" y="909"/>
                </a:cubicBezTo>
                <a:cubicBezTo>
                  <a:pt x="2843" y="908"/>
                  <a:pt x="2844" y="909"/>
                  <a:pt x="2844" y="908"/>
                </a:cubicBezTo>
                <a:cubicBezTo>
                  <a:pt x="2845" y="908"/>
                  <a:pt x="2845" y="907"/>
                  <a:pt x="2845" y="906"/>
                </a:cubicBezTo>
                <a:cubicBezTo>
                  <a:pt x="2845" y="906"/>
                  <a:pt x="2846" y="905"/>
                  <a:pt x="2846" y="905"/>
                </a:cubicBezTo>
                <a:cubicBezTo>
                  <a:pt x="2846" y="904"/>
                  <a:pt x="2845" y="903"/>
                  <a:pt x="2845" y="903"/>
                </a:cubicBezTo>
                <a:cubicBezTo>
                  <a:pt x="2844" y="902"/>
                  <a:pt x="2842" y="902"/>
                  <a:pt x="2841" y="903"/>
                </a:cubicBezTo>
                <a:cubicBezTo>
                  <a:pt x="2841" y="903"/>
                  <a:pt x="2840" y="904"/>
                  <a:pt x="2840" y="904"/>
                </a:cubicBezTo>
                <a:cubicBezTo>
                  <a:pt x="2839" y="905"/>
                  <a:pt x="2838" y="905"/>
                  <a:pt x="2838" y="905"/>
                </a:cubicBezTo>
                <a:cubicBezTo>
                  <a:pt x="2837" y="905"/>
                  <a:pt x="2836" y="906"/>
                  <a:pt x="2836" y="906"/>
                </a:cubicBezTo>
                <a:cubicBezTo>
                  <a:pt x="2836" y="907"/>
                  <a:pt x="2837" y="907"/>
                  <a:pt x="2837" y="908"/>
                </a:cubicBezTo>
                <a:cubicBezTo>
                  <a:pt x="2838" y="908"/>
                  <a:pt x="2838" y="909"/>
                  <a:pt x="2839" y="909"/>
                </a:cubicBezTo>
                <a:cubicBezTo>
                  <a:pt x="2839" y="910"/>
                  <a:pt x="2840" y="910"/>
                  <a:pt x="2840" y="910"/>
                </a:cubicBezTo>
                <a:cubicBezTo>
                  <a:pt x="2840" y="911"/>
                  <a:pt x="2839" y="911"/>
                  <a:pt x="2838" y="912"/>
                </a:cubicBezTo>
                <a:cubicBezTo>
                  <a:pt x="2837" y="912"/>
                  <a:pt x="2837" y="913"/>
                  <a:pt x="2836" y="913"/>
                </a:cubicBezTo>
                <a:cubicBezTo>
                  <a:pt x="2836" y="914"/>
                  <a:pt x="2835" y="915"/>
                  <a:pt x="2834" y="915"/>
                </a:cubicBezTo>
                <a:cubicBezTo>
                  <a:pt x="2834" y="915"/>
                  <a:pt x="2833" y="915"/>
                  <a:pt x="2833" y="915"/>
                </a:cubicBezTo>
                <a:cubicBezTo>
                  <a:pt x="2833" y="915"/>
                  <a:pt x="2832" y="915"/>
                  <a:pt x="2832" y="915"/>
                </a:cubicBezTo>
                <a:cubicBezTo>
                  <a:pt x="2831" y="915"/>
                  <a:pt x="2830" y="915"/>
                  <a:pt x="2829" y="915"/>
                </a:cubicBezTo>
                <a:cubicBezTo>
                  <a:pt x="2828" y="915"/>
                  <a:pt x="2828" y="913"/>
                  <a:pt x="2829" y="912"/>
                </a:cubicBezTo>
                <a:cubicBezTo>
                  <a:pt x="2830" y="911"/>
                  <a:pt x="2830" y="910"/>
                  <a:pt x="2831" y="908"/>
                </a:cubicBezTo>
                <a:cubicBezTo>
                  <a:pt x="2831" y="907"/>
                  <a:pt x="2831" y="905"/>
                  <a:pt x="2831" y="904"/>
                </a:cubicBezTo>
                <a:cubicBezTo>
                  <a:pt x="2831" y="902"/>
                  <a:pt x="2830" y="901"/>
                  <a:pt x="2831" y="899"/>
                </a:cubicBezTo>
                <a:cubicBezTo>
                  <a:pt x="2831" y="899"/>
                  <a:pt x="2831" y="898"/>
                  <a:pt x="2831" y="898"/>
                </a:cubicBezTo>
                <a:cubicBezTo>
                  <a:pt x="2832" y="895"/>
                  <a:pt x="2831" y="894"/>
                  <a:pt x="2829" y="893"/>
                </a:cubicBezTo>
                <a:cubicBezTo>
                  <a:pt x="2828" y="892"/>
                  <a:pt x="2828" y="891"/>
                  <a:pt x="2826" y="891"/>
                </a:cubicBezTo>
                <a:cubicBezTo>
                  <a:pt x="2824" y="891"/>
                  <a:pt x="2823" y="891"/>
                  <a:pt x="2821" y="891"/>
                </a:cubicBezTo>
                <a:cubicBezTo>
                  <a:pt x="2819" y="892"/>
                  <a:pt x="2818" y="892"/>
                  <a:pt x="2816" y="892"/>
                </a:cubicBezTo>
                <a:cubicBezTo>
                  <a:pt x="2815" y="892"/>
                  <a:pt x="2813" y="892"/>
                  <a:pt x="2811" y="892"/>
                </a:cubicBezTo>
                <a:cubicBezTo>
                  <a:pt x="2810" y="891"/>
                  <a:pt x="2809" y="891"/>
                  <a:pt x="2807" y="891"/>
                </a:cubicBezTo>
                <a:cubicBezTo>
                  <a:pt x="2806" y="891"/>
                  <a:pt x="2804" y="891"/>
                  <a:pt x="2803" y="891"/>
                </a:cubicBezTo>
                <a:cubicBezTo>
                  <a:pt x="2801" y="891"/>
                  <a:pt x="2801" y="890"/>
                  <a:pt x="2800" y="889"/>
                </a:cubicBezTo>
                <a:cubicBezTo>
                  <a:pt x="2799" y="888"/>
                  <a:pt x="2798" y="887"/>
                  <a:pt x="2800" y="886"/>
                </a:cubicBezTo>
                <a:cubicBezTo>
                  <a:pt x="2800" y="885"/>
                  <a:pt x="2801" y="885"/>
                  <a:pt x="2802" y="885"/>
                </a:cubicBezTo>
                <a:cubicBezTo>
                  <a:pt x="2802" y="884"/>
                  <a:pt x="2802" y="884"/>
                  <a:pt x="2803" y="883"/>
                </a:cubicBezTo>
                <a:cubicBezTo>
                  <a:pt x="2804" y="882"/>
                  <a:pt x="2805" y="881"/>
                  <a:pt x="2807" y="880"/>
                </a:cubicBezTo>
                <a:cubicBezTo>
                  <a:pt x="2809" y="880"/>
                  <a:pt x="2810" y="879"/>
                  <a:pt x="2812" y="878"/>
                </a:cubicBezTo>
                <a:cubicBezTo>
                  <a:pt x="2813" y="878"/>
                  <a:pt x="2813" y="877"/>
                  <a:pt x="2814" y="876"/>
                </a:cubicBezTo>
                <a:cubicBezTo>
                  <a:pt x="2815" y="876"/>
                  <a:pt x="2815" y="876"/>
                  <a:pt x="2816" y="876"/>
                </a:cubicBezTo>
                <a:cubicBezTo>
                  <a:pt x="2816" y="876"/>
                  <a:pt x="2817" y="875"/>
                  <a:pt x="2818" y="875"/>
                </a:cubicBezTo>
                <a:cubicBezTo>
                  <a:pt x="2819" y="874"/>
                  <a:pt x="2820" y="874"/>
                  <a:pt x="2821" y="873"/>
                </a:cubicBezTo>
                <a:cubicBezTo>
                  <a:pt x="2821" y="872"/>
                  <a:pt x="2821" y="871"/>
                  <a:pt x="2822" y="871"/>
                </a:cubicBezTo>
                <a:cubicBezTo>
                  <a:pt x="2823" y="870"/>
                  <a:pt x="2823" y="869"/>
                  <a:pt x="2824" y="869"/>
                </a:cubicBezTo>
                <a:cubicBezTo>
                  <a:pt x="2826" y="867"/>
                  <a:pt x="2828" y="867"/>
                  <a:pt x="2830" y="866"/>
                </a:cubicBezTo>
                <a:cubicBezTo>
                  <a:pt x="2832" y="866"/>
                  <a:pt x="2833" y="865"/>
                  <a:pt x="2834" y="864"/>
                </a:cubicBezTo>
                <a:cubicBezTo>
                  <a:pt x="2835" y="863"/>
                  <a:pt x="2837" y="862"/>
                  <a:pt x="2838" y="861"/>
                </a:cubicBezTo>
                <a:cubicBezTo>
                  <a:pt x="2840" y="860"/>
                  <a:pt x="2841" y="859"/>
                  <a:pt x="2842" y="858"/>
                </a:cubicBezTo>
                <a:cubicBezTo>
                  <a:pt x="2844" y="858"/>
                  <a:pt x="2844" y="857"/>
                  <a:pt x="2846" y="856"/>
                </a:cubicBezTo>
                <a:cubicBezTo>
                  <a:pt x="2846" y="855"/>
                  <a:pt x="2847" y="855"/>
                  <a:pt x="2848" y="854"/>
                </a:cubicBezTo>
                <a:cubicBezTo>
                  <a:pt x="2849" y="853"/>
                  <a:pt x="2850" y="852"/>
                  <a:pt x="2851" y="851"/>
                </a:cubicBezTo>
                <a:cubicBezTo>
                  <a:pt x="2853" y="849"/>
                  <a:pt x="2856" y="847"/>
                  <a:pt x="2859" y="845"/>
                </a:cubicBezTo>
                <a:cubicBezTo>
                  <a:pt x="2859" y="844"/>
                  <a:pt x="2859" y="844"/>
                  <a:pt x="2859" y="843"/>
                </a:cubicBezTo>
                <a:cubicBezTo>
                  <a:pt x="2860" y="842"/>
                  <a:pt x="2859" y="843"/>
                  <a:pt x="2858" y="842"/>
                </a:cubicBezTo>
                <a:cubicBezTo>
                  <a:pt x="2857" y="841"/>
                  <a:pt x="2858" y="840"/>
                  <a:pt x="2859" y="838"/>
                </a:cubicBezTo>
                <a:cubicBezTo>
                  <a:pt x="2861" y="837"/>
                  <a:pt x="2861" y="836"/>
                  <a:pt x="2862" y="835"/>
                </a:cubicBezTo>
                <a:cubicBezTo>
                  <a:pt x="2864" y="833"/>
                  <a:pt x="2865" y="832"/>
                  <a:pt x="2866" y="831"/>
                </a:cubicBezTo>
                <a:cubicBezTo>
                  <a:pt x="2867" y="829"/>
                  <a:pt x="2869" y="828"/>
                  <a:pt x="2870" y="827"/>
                </a:cubicBezTo>
                <a:cubicBezTo>
                  <a:pt x="2872" y="826"/>
                  <a:pt x="2874" y="825"/>
                  <a:pt x="2875" y="823"/>
                </a:cubicBezTo>
                <a:cubicBezTo>
                  <a:pt x="2877" y="822"/>
                  <a:pt x="2879" y="821"/>
                  <a:pt x="2881" y="819"/>
                </a:cubicBezTo>
                <a:cubicBezTo>
                  <a:pt x="2882" y="818"/>
                  <a:pt x="2884" y="816"/>
                  <a:pt x="2885" y="814"/>
                </a:cubicBezTo>
                <a:cubicBezTo>
                  <a:pt x="2887" y="813"/>
                  <a:pt x="2889" y="812"/>
                  <a:pt x="2891" y="811"/>
                </a:cubicBezTo>
                <a:cubicBezTo>
                  <a:pt x="2893" y="810"/>
                  <a:pt x="2894" y="808"/>
                  <a:pt x="2896" y="807"/>
                </a:cubicBezTo>
                <a:cubicBezTo>
                  <a:pt x="2898" y="807"/>
                  <a:pt x="2900" y="806"/>
                  <a:pt x="2901" y="806"/>
                </a:cubicBezTo>
                <a:cubicBezTo>
                  <a:pt x="2904" y="805"/>
                  <a:pt x="2906" y="801"/>
                  <a:pt x="2907" y="798"/>
                </a:cubicBezTo>
                <a:cubicBezTo>
                  <a:pt x="2907" y="797"/>
                  <a:pt x="2908" y="795"/>
                  <a:pt x="2909" y="794"/>
                </a:cubicBezTo>
                <a:cubicBezTo>
                  <a:pt x="2909" y="792"/>
                  <a:pt x="2910" y="790"/>
                  <a:pt x="2912" y="789"/>
                </a:cubicBezTo>
                <a:cubicBezTo>
                  <a:pt x="2913" y="788"/>
                  <a:pt x="2915" y="786"/>
                  <a:pt x="2917" y="785"/>
                </a:cubicBezTo>
                <a:cubicBezTo>
                  <a:pt x="2919" y="784"/>
                  <a:pt x="2921" y="782"/>
                  <a:pt x="2922" y="781"/>
                </a:cubicBezTo>
                <a:cubicBezTo>
                  <a:pt x="2923" y="780"/>
                  <a:pt x="2924" y="779"/>
                  <a:pt x="2926" y="778"/>
                </a:cubicBezTo>
                <a:cubicBezTo>
                  <a:pt x="2927" y="777"/>
                  <a:pt x="2928" y="776"/>
                  <a:pt x="2929" y="775"/>
                </a:cubicBezTo>
                <a:cubicBezTo>
                  <a:pt x="2930" y="773"/>
                  <a:pt x="2932" y="772"/>
                  <a:pt x="2933" y="770"/>
                </a:cubicBezTo>
                <a:cubicBezTo>
                  <a:pt x="2935" y="769"/>
                  <a:pt x="2936" y="768"/>
                  <a:pt x="2938" y="767"/>
                </a:cubicBezTo>
                <a:cubicBezTo>
                  <a:pt x="2941" y="766"/>
                  <a:pt x="2943" y="764"/>
                  <a:pt x="2946" y="763"/>
                </a:cubicBezTo>
                <a:cubicBezTo>
                  <a:pt x="2948" y="763"/>
                  <a:pt x="2949" y="762"/>
                  <a:pt x="2951" y="762"/>
                </a:cubicBezTo>
                <a:cubicBezTo>
                  <a:pt x="2952" y="761"/>
                  <a:pt x="2953" y="760"/>
                  <a:pt x="2955" y="760"/>
                </a:cubicBezTo>
                <a:cubicBezTo>
                  <a:pt x="2956" y="760"/>
                  <a:pt x="2957" y="760"/>
                  <a:pt x="2959" y="760"/>
                </a:cubicBezTo>
                <a:cubicBezTo>
                  <a:pt x="2960" y="760"/>
                  <a:pt x="2961" y="761"/>
                  <a:pt x="2963" y="761"/>
                </a:cubicBezTo>
                <a:cubicBezTo>
                  <a:pt x="2964" y="761"/>
                  <a:pt x="2966" y="760"/>
                  <a:pt x="2967" y="760"/>
                </a:cubicBezTo>
                <a:cubicBezTo>
                  <a:pt x="2968" y="759"/>
                  <a:pt x="2970" y="759"/>
                  <a:pt x="2971" y="759"/>
                </a:cubicBezTo>
                <a:cubicBezTo>
                  <a:pt x="2973" y="759"/>
                  <a:pt x="2974" y="759"/>
                  <a:pt x="2976" y="759"/>
                </a:cubicBezTo>
                <a:cubicBezTo>
                  <a:pt x="2977" y="759"/>
                  <a:pt x="2978" y="759"/>
                  <a:pt x="2979" y="759"/>
                </a:cubicBezTo>
                <a:cubicBezTo>
                  <a:pt x="2980" y="759"/>
                  <a:pt x="2981" y="760"/>
                  <a:pt x="2983" y="760"/>
                </a:cubicBezTo>
                <a:cubicBezTo>
                  <a:pt x="2984" y="760"/>
                  <a:pt x="2985" y="759"/>
                  <a:pt x="2987" y="759"/>
                </a:cubicBezTo>
                <a:cubicBezTo>
                  <a:pt x="2988" y="759"/>
                  <a:pt x="2990" y="760"/>
                  <a:pt x="2991" y="760"/>
                </a:cubicBezTo>
                <a:cubicBezTo>
                  <a:pt x="2993" y="760"/>
                  <a:pt x="2995" y="759"/>
                  <a:pt x="2996" y="758"/>
                </a:cubicBezTo>
                <a:cubicBezTo>
                  <a:pt x="2998" y="758"/>
                  <a:pt x="2999" y="759"/>
                  <a:pt x="3001" y="759"/>
                </a:cubicBezTo>
                <a:cubicBezTo>
                  <a:pt x="3002" y="759"/>
                  <a:pt x="3004" y="758"/>
                  <a:pt x="3005" y="758"/>
                </a:cubicBezTo>
                <a:cubicBezTo>
                  <a:pt x="3007" y="758"/>
                  <a:pt x="3009" y="758"/>
                  <a:pt x="3010" y="759"/>
                </a:cubicBezTo>
                <a:cubicBezTo>
                  <a:pt x="3011" y="760"/>
                  <a:pt x="3010" y="761"/>
                  <a:pt x="3009" y="761"/>
                </a:cubicBezTo>
                <a:cubicBezTo>
                  <a:pt x="3009" y="762"/>
                  <a:pt x="3008" y="763"/>
                  <a:pt x="3008" y="763"/>
                </a:cubicBezTo>
                <a:cubicBezTo>
                  <a:pt x="3009" y="764"/>
                  <a:pt x="3009" y="764"/>
                  <a:pt x="3010" y="764"/>
                </a:cubicBezTo>
                <a:cubicBezTo>
                  <a:pt x="3012" y="764"/>
                  <a:pt x="3014" y="765"/>
                  <a:pt x="3016" y="765"/>
                </a:cubicBezTo>
                <a:cubicBezTo>
                  <a:pt x="3017" y="765"/>
                  <a:pt x="3019" y="765"/>
                  <a:pt x="3019" y="764"/>
                </a:cubicBezTo>
                <a:cubicBezTo>
                  <a:pt x="3020" y="762"/>
                  <a:pt x="3020" y="761"/>
                  <a:pt x="3021" y="760"/>
                </a:cubicBezTo>
                <a:cubicBezTo>
                  <a:pt x="3022" y="758"/>
                  <a:pt x="3023" y="757"/>
                  <a:pt x="3025" y="758"/>
                </a:cubicBezTo>
                <a:cubicBezTo>
                  <a:pt x="3026" y="758"/>
                  <a:pt x="3028" y="759"/>
                  <a:pt x="3030" y="759"/>
                </a:cubicBezTo>
                <a:cubicBezTo>
                  <a:pt x="3031" y="760"/>
                  <a:pt x="3033" y="760"/>
                  <a:pt x="3034" y="761"/>
                </a:cubicBezTo>
                <a:cubicBezTo>
                  <a:pt x="3035" y="762"/>
                  <a:pt x="3037" y="763"/>
                  <a:pt x="3038" y="763"/>
                </a:cubicBezTo>
                <a:cubicBezTo>
                  <a:pt x="3039" y="763"/>
                  <a:pt x="3040" y="763"/>
                  <a:pt x="3041" y="763"/>
                </a:cubicBezTo>
                <a:cubicBezTo>
                  <a:pt x="3043" y="764"/>
                  <a:pt x="3047" y="764"/>
                  <a:pt x="3049" y="763"/>
                </a:cubicBezTo>
                <a:cubicBezTo>
                  <a:pt x="3050" y="762"/>
                  <a:pt x="3052" y="761"/>
                  <a:pt x="3053" y="760"/>
                </a:cubicBezTo>
                <a:cubicBezTo>
                  <a:pt x="3057" y="758"/>
                  <a:pt x="3060" y="759"/>
                  <a:pt x="3063" y="761"/>
                </a:cubicBezTo>
                <a:cubicBezTo>
                  <a:pt x="3064" y="762"/>
                  <a:pt x="3065" y="763"/>
                  <a:pt x="3067" y="763"/>
                </a:cubicBezTo>
                <a:cubicBezTo>
                  <a:pt x="3068" y="763"/>
                  <a:pt x="3071" y="764"/>
                  <a:pt x="3071" y="762"/>
                </a:cubicBezTo>
                <a:cubicBezTo>
                  <a:pt x="3071" y="762"/>
                  <a:pt x="3070" y="761"/>
                  <a:pt x="3069" y="761"/>
                </a:cubicBezTo>
                <a:cubicBezTo>
                  <a:pt x="3069" y="760"/>
                  <a:pt x="3068" y="760"/>
                  <a:pt x="3068" y="759"/>
                </a:cubicBezTo>
                <a:cubicBezTo>
                  <a:pt x="3067" y="759"/>
                  <a:pt x="3066" y="759"/>
                  <a:pt x="3066" y="759"/>
                </a:cubicBezTo>
                <a:cubicBezTo>
                  <a:pt x="3065" y="758"/>
                  <a:pt x="3066" y="757"/>
                  <a:pt x="3067" y="757"/>
                </a:cubicBezTo>
                <a:cubicBezTo>
                  <a:pt x="3068" y="756"/>
                  <a:pt x="3070" y="756"/>
                  <a:pt x="3071" y="756"/>
                </a:cubicBezTo>
                <a:cubicBezTo>
                  <a:pt x="3072" y="756"/>
                  <a:pt x="3075" y="758"/>
                  <a:pt x="3075" y="757"/>
                </a:cubicBezTo>
                <a:cubicBezTo>
                  <a:pt x="3076" y="756"/>
                  <a:pt x="3075" y="756"/>
                  <a:pt x="3074" y="755"/>
                </a:cubicBezTo>
                <a:cubicBezTo>
                  <a:pt x="3074" y="755"/>
                  <a:pt x="3073" y="754"/>
                  <a:pt x="3073" y="753"/>
                </a:cubicBezTo>
                <a:cubicBezTo>
                  <a:pt x="3073" y="751"/>
                  <a:pt x="3075" y="751"/>
                  <a:pt x="3076" y="751"/>
                </a:cubicBezTo>
                <a:cubicBezTo>
                  <a:pt x="3077" y="751"/>
                  <a:pt x="3077" y="750"/>
                  <a:pt x="3078" y="749"/>
                </a:cubicBezTo>
                <a:cubicBezTo>
                  <a:pt x="3079" y="748"/>
                  <a:pt x="3080" y="748"/>
                  <a:pt x="3081" y="748"/>
                </a:cubicBezTo>
                <a:cubicBezTo>
                  <a:pt x="3082" y="748"/>
                  <a:pt x="3084" y="748"/>
                  <a:pt x="3085" y="748"/>
                </a:cubicBezTo>
                <a:cubicBezTo>
                  <a:pt x="3086" y="748"/>
                  <a:pt x="3086" y="749"/>
                  <a:pt x="3087" y="749"/>
                </a:cubicBezTo>
                <a:cubicBezTo>
                  <a:pt x="3089" y="750"/>
                  <a:pt x="3090" y="750"/>
                  <a:pt x="3092" y="751"/>
                </a:cubicBezTo>
                <a:cubicBezTo>
                  <a:pt x="3094" y="751"/>
                  <a:pt x="3095" y="752"/>
                  <a:pt x="3096" y="752"/>
                </a:cubicBezTo>
                <a:cubicBezTo>
                  <a:pt x="3098" y="753"/>
                  <a:pt x="3099" y="753"/>
                  <a:pt x="3101" y="753"/>
                </a:cubicBezTo>
                <a:cubicBezTo>
                  <a:pt x="3102" y="754"/>
                  <a:pt x="3102" y="755"/>
                  <a:pt x="3103" y="756"/>
                </a:cubicBezTo>
                <a:cubicBezTo>
                  <a:pt x="3104" y="758"/>
                  <a:pt x="3105" y="758"/>
                  <a:pt x="3107" y="758"/>
                </a:cubicBezTo>
                <a:cubicBezTo>
                  <a:pt x="3107" y="757"/>
                  <a:pt x="3108" y="757"/>
                  <a:pt x="3108" y="757"/>
                </a:cubicBezTo>
                <a:cubicBezTo>
                  <a:pt x="3109" y="756"/>
                  <a:pt x="3110" y="756"/>
                  <a:pt x="3110" y="755"/>
                </a:cubicBezTo>
                <a:cubicBezTo>
                  <a:pt x="3111" y="755"/>
                  <a:pt x="3111" y="754"/>
                  <a:pt x="3112" y="754"/>
                </a:cubicBezTo>
                <a:cubicBezTo>
                  <a:pt x="3112" y="754"/>
                  <a:pt x="3113" y="754"/>
                  <a:pt x="3114" y="754"/>
                </a:cubicBezTo>
                <a:cubicBezTo>
                  <a:pt x="3115" y="755"/>
                  <a:pt x="3116" y="756"/>
                  <a:pt x="3117" y="756"/>
                </a:cubicBezTo>
                <a:cubicBezTo>
                  <a:pt x="3118" y="756"/>
                  <a:pt x="3118" y="756"/>
                  <a:pt x="3119" y="756"/>
                </a:cubicBezTo>
                <a:cubicBezTo>
                  <a:pt x="3121" y="757"/>
                  <a:pt x="3122" y="757"/>
                  <a:pt x="3123" y="758"/>
                </a:cubicBezTo>
                <a:cubicBezTo>
                  <a:pt x="3124" y="759"/>
                  <a:pt x="3124" y="759"/>
                  <a:pt x="3124" y="760"/>
                </a:cubicBezTo>
                <a:cubicBezTo>
                  <a:pt x="3125" y="761"/>
                  <a:pt x="3125" y="761"/>
                  <a:pt x="3125" y="762"/>
                </a:cubicBezTo>
                <a:cubicBezTo>
                  <a:pt x="3126" y="763"/>
                  <a:pt x="3128" y="763"/>
                  <a:pt x="3129" y="763"/>
                </a:cubicBezTo>
                <a:cubicBezTo>
                  <a:pt x="3131" y="764"/>
                  <a:pt x="3133" y="763"/>
                  <a:pt x="3134" y="765"/>
                </a:cubicBezTo>
                <a:cubicBezTo>
                  <a:pt x="3134" y="765"/>
                  <a:pt x="3134" y="765"/>
                  <a:pt x="3133" y="765"/>
                </a:cubicBezTo>
                <a:cubicBezTo>
                  <a:pt x="3133" y="765"/>
                  <a:pt x="3133" y="765"/>
                  <a:pt x="3132" y="765"/>
                </a:cubicBezTo>
                <a:cubicBezTo>
                  <a:pt x="3132" y="765"/>
                  <a:pt x="3132" y="766"/>
                  <a:pt x="3132" y="766"/>
                </a:cubicBezTo>
                <a:cubicBezTo>
                  <a:pt x="3131" y="766"/>
                  <a:pt x="3130" y="766"/>
                  <a:pt x="3129" y="766"/>
                </a:cubicBezTo>
                <a:cubicBezTo>
                  <a:pt x="3127" y="766"/>
                  <a:pt x="3126" y="765"/>
                  <a:pt x="3124" y="765"/>
                </a:cubicBezTo>
                <a:cubicBezTo>
                  <a:pt x="3123" y="766"/>
                  <a:pt x="3122" y="766"/>
                  <a:pt x="3121" y="766"/>
                </a:cubicBezTo>
                <a:cubicBezTo>
                  <a:pt x="3120" y="766"/>
                  <a:pt x="3118" y="765"/>
                  <a:pt x="3117" y="766"/>
                </a:cubicBezTo>
                <a:cubicBezTo>
                  <a:pt x="3116" y="767"/>
                  <a:pt x="3116" y="767"/>
                  <a:pt x="3116" y="767"/>
                </a:cubicBezTo>
                <a:cubicBezTo>
                  <a:pt x="3115" y="768"/>
                  <a:pt x="3115" y="768"/>
                  <a:pt x="3114" y="768"/>
                </a:cubicBezTo>
                <a:cubicBezTo>
                  <a:pt x="3113" y="768"/>
                  <a:pt x="3112" y="768"/>
                  <a:pt x="3112" y="769"/>
                </a:cubicBezTo>
                <a:cubicBezTo>
                  <a:pt x="3112" y="769"/>
                  <a:pt x="3113" y="769"/>
                  <a:pt x="3114" y="770"/>
                </a:cubicBezTo>
                <a:cubicBezTo>
                  <a:pt x="3115" y="770"/>
                  <a:pt x="3115" y="772"/>
                  <a:pt x="3116" y="773"/>
                </a:cubicBezTo>
                <a:cubicBezTo>
                  <a:pt x="3117" y="774"/>
                  <a:pt x="3117" y="774"/>
                  <a:pt x="3117" y="775"/>
                </a:cubicBezTo>
                <a:cubicBezTo>
                  <a:pt x="3117" y="776"/>
                  <a:pt x="3117" y="776"/>
                  <a:pt x="3119" y="776"/>
                </a:cubicBezTo>
                <a:cubicBezTo>
                  <a:pt x="3119" y="775"/>
                  <a:pt x="3120" y="775"/>
                  <a:pt x="3121" y="774"/>
                </a:cubicBezTo>
                <a:cubicBezTo>
                  <a:pt x="3121" y="774"/>
                  <a:pt x="3122" y="774"/>
                  <a:pt x="3123" y="774"/>
                </a:cubicBezTo>
                <a:cubicBezTo>
                  <a:pt x="3125" y="774"/>
                  <a:pt x="3126" y="773"/>
                  <a:pt x="3128" y="772"/>
                </a:cubicBezTo>
                <a:cubicBezTo>
                  <a:pt x="3128" y="772"/>
                  <a:pt x="3129" y="772"/>
                  <a:pt x="3130" y="771"/>
                </a:cubicBezTo>
                <a:cubicBezTo>
                  <a:pt x="3130" y="771"/>
                  <a:pt x="3131" y="772"/>
                  <a:pt x="3132" y="771"/>
                </a:cubicBezTo>
                <a:cubicBezTo>
                  <a:pt x="3133" y="771"/>
                  <a:pt x="3135" y="770"/>
                  <a:pt x="3136" y="770"/>
                </a:cubicBezTo>
                <a:cubicBezTo>
                  <a:pt x="3138" y="769"/>
                  <a:pt x="3139" y="770"/>
                  <a:pt x="3141" y="771"/>
                </a:cubicBezTo>
                <a:cubicBezTo>
                  <a:pt x="3142" y="772"/>
                  <a:pt x="3143" y="772"/>
                  <a:pt x="3144" y="773"/>
                </a:cubicBezTo>
                <a:cubicBezTo>
                  <a:pt x="3145" y="774"/>
                  <a:pt x="3147" y="774"/>
                  <a:pt x="3148" y="773"/>
                </a:cubicBezTo>
                <a:cubicBezTo>
                  <a:pt x="3149" y="771"/>
                  <a:pt x="3149" y="770"/>
                  <a:pt x="3150" y="769"/>
                </a:cubicBezTo>
                <a:cubicBezTo>
                  <a:pt x="3151" y="767"/>
                  <a:pt x="3152" y="768"/>
                  <a:pt x="3154" y="768"/>
                </a:cubicBezTo>
                <a:cubicBezTo>
                  <a:pt x="3155" y="768"/>
                  <a:pt x="3156" y="768"/>
                  <a:pt x="3156" y="767"/>
                </a:cubicBezTo>
                <a:cubicBezTo>
                  <a:pt x="3156" y="766"/>
                  <a:pt x="3156" y="766"/>
                  <a:pt x="3156" y="765"/>
                </a:cubicBezTo>
                <a:cubicBezTo>
                  <a:pt x="3157" y="764"/>
                  <a:pt x="3160" y="764"/>
                  <a:pt x="3161" y="764"/>
                </a:cubicBezTo>
                <a:cubicBezTo>
                  <a:pt x="3161" y="765"/>
                  <a:pt x="3161" y="765"/>
                  <a:pt x="3162" y="765"/>
                </a:cubicBezTo>
                <a:cubicBezTo>
                  <a:pt x="3163" y="766"/>
                  <a:pt x="3164" y="766"/>
                  <a:pt x="3164" y="766"/>
                </a:cubicBezTo>
                <a:cubicBezTo>
                  <a:pt x="3166" y="767"/>
                  <a:pt x="3167" y="768"/>
                  <a:pt x="3168" y="769"/>
                </a:cubicBezTo>
                <a:cubicBezTo>
                  <a:pt x="3170" y="769"/>
                  <a:pt x="3171" y="769"/>
                  <a:pt x="3172" y="768"/>
                </a:cubicBezTo>
                <a:cubicBezTo>
                  <a:pt x="3173" y="767"/>
                  <a:pt x="3173" y="767"/>
                  <a:pt x="3174" y="766"/>
                </a:cubicBezTo>
                <a:cubicBezTo>
                  <a:pt x="3175" y="766"/>
                  <a:pt x="3175" y="766"/>
                  <a:pt x="3176" y="766"/>
                </a:cubicBezTo>
                <a:cubicBezTo>
                  <a:pt x="3178" y="765"/>
                  <a:pt x="3179" y="764"/>
                  <a:pt x="3180" y="764"/>
                </a:cubicBezTo>
                <a:cubicBezTo>
                  <a:pt x="3182" y="764"/>
                  <a:pt x="3183" y="764"/>
                  <a:pt x="3185" y="764"/>
                </a:cubicBezTo>
                <a:cubicBezTo>
                  <a:pt x="3186" y="765"/>
                  <a:pt x="3188" y="765"/>
                  <a:pt x="3189" y="765"/>
                </a:cubicBezTo>
                <a:cubicBezTo>
                  <a:pt x="3190" y="765"/>
                  <a:pt x="3191" y="765"/>
                  <a:pt x="3192" y="765"/>
                </a:cubicBezTo>
                <a:cubicBezTo>
                  <a:pt x="3192" y="765"/>
                  <a:pt x="3193" y="766"/>
                  <a:pt x="3193" y="766"/>
                </a:cubicBezTo>
                <a:cubicBezTo>
                  <a:pt x="3194" y="765"/>
                  <a:pt x="3193" y="764"/>
                  <a:pt x="3193" y="764"/>
                </a:cubicBezTo>
                <a:cubicBezTo>
                  <a:pt x="3193" y="763"/>
                  <a:pt x="3194" y="762"/>
                  <a:pt x="3194" y="761"/>
                </a:cubicBezTo>
                <a:cubicBezTo>
                  <a:pt x="3194" y="760"/>
                  <a:pt x="3193" y="759"/>
                  <a:pt x="3191" y="758"/>
                </a:cubicBezTo>
                <a:cubicBezTo>
                  <a:pt x="3190" y="758"/>
                  <a:pt x="3190" y="756"/>
                  <a:pt x="3188" y="756"/>
                </a:cubicBezTo>
                <a:cubicBezTo>
                  <a:pt x="3187" y="756"/>
                  <a:pt x="3185" y="756"/>
                  <a:pt x="3184" y="755"/>
                </a:cubicBezTo>
                <a:cubicBezTo>
                  <a:pt x="3183" y="755"/>
                  <a:pt x="3182" y="754"/>
                  <a:pt x="3180" y="755"/>
                </a:cubicBezTo>
                <a:cubicBezTo>
                  <a:pt x="3180" y="755"/>
                  <a:pt x="3179" y="755"/>
                  <a:pt x="3178" y="755"/>
                </a:cubicBezTo>
                <a:cubicBezTo>
                  <a:pt x="3177" y="755"/>
                  <a:pt x="3178" y="756"/>
                  <a:pt x="3178" y="756"/>
                </a:cubicBezTo>
                <a:cubicBezTo>
                  <a:pt x="3179" y="757"/>
                  <a:pt x="3179" y="758"/>
                  <a:pt x="3178" y="758"/>
                </a:cubicBezTo>
                <a:cubicBezTo>
                  <a:pt x="3178" y="757"/>
                  <a:pt x="3177" y="756"/>
                  <a:pt x="3176" y="756"/>
                </a:cubicBezTo>
                <a:cubicBezTo>
                  <a:pt x="3176" y="756"/>
                  <a:pt x="3176" y="757"/>
                  <a:pt x="3175" y="757"/>
                </a:cubicBezTo>
                <a:cubicBezTo>
                  <a:pt x="3175" y="758"/>
                  <a:pt x="3174" y="758"/>
                  <a:pt x="3173" y="758"/>
                </a:cubicBezTo>
                <a:cubicBezTo>
                  <a:pt x="3173" y="758"/>
                  <a:pt x="3173" y="756"/>
                  <a:pt x="3173" y="756"/>
                </a:cubicBezTo>
                <a:cubicBezTo>
                  <a:pt x="3173" y="755"/>
                  <a:pt x="3173" y="755"/>
                  <a:pt x="3174" y="755"/>
                </a:cubicBezTo>
                <a:cubicBezTo>
                  <a:pt x="3175" y="755"/>
                  <a:pt x="3175" y="755"/>
                  <a:pt x="3176" y="754"/>
                </a:cubicBezTo>
                <a:cubicBezTo>
                  <a:pt x="3176" y="753"/>
                  <a:pt x="3177" y="754"/>
                  <a:pt x="3177" y="752"/>
                </a:cubicBezTo>
                <a:cubicBezTo>
                  <a:pt x="3177" y="752"/>
                  <a:pt x="3176" y="751"/>
                  <a:pt x="3175" y="751"/>
                </a:cubicBezTo>
                <a:cubicBezTo>
                  <a:pt x="3175" y="750"/>
                  <a:pt x="3174" y="748"/>
                  <a:pt x="3175" y="747"/>
                </a:cubicBezTo>
                <a:cubicBezTo>
                  <a:pt x="3175" y="744"/>
                  <a:pt x="3177" y="745"/>
                  <a:pt x="3178" y="745"/>
                </a:cubicBezTo>
                <a:cubicBezTo>
                  <a:pt x="3180" y="745"/>
                  <a:pt x="3180" y="744"/>
                  <a:pt x="3180" y="743"/>
                </a:cubicBezTo>
                <a:cubicBezTo>
                  <a:pt x="3180" y="740"/>
                  <a:pt x="3183" y="739"/>
                  <a:pt x="3185" y="738"/>
                </a:cubicBezTo>
                <a:cubicBezTo>
                  <a:pt x="3186" y="737"/>
                  <a:pt x="3186" y="736"/>
                  <a:pt x="3187" y="736"/>
                </a:cubicBezTo>
                <a:cubicBezTo>
                  <a:pt x="3189" y="734"/>
                  <a:pt x="3191" y="733"/>
                  <a:pt x="3193" y="731"/>
                </a:cubicBezTo>
                <a:cubicBezTo>
                  <a:pt x="3196" y="728"/>
                  <a:pt x="3199" y="726"/>
                  <a:pt x="3202" y="723"/>
                </a:cubicBezTo>
                <a:cubicBezTo>
                  <a:pt x="3203" y="723"/>
                  <a:pt x="3204" y="722"/>
                  <a:pt x="3204" y="722"/>
                </a:cubicBezTo>
                <a:cubicBezTo>
                  <a:pt x="3205" y="721"/>
                  <a:pt x="3206" y="721"/>
                  <a:pt x="3207" y="720"/>
                </a:cubicBezTo>
                <a:cubicBezTo>
                  <a:pt x="3208" y="720"/>
                  <a:pt x="3209" y="718"/>
                  <a:pt x="3210" y="716"/>
                </a:cubicBezTo>
                <a:cubicBezTo>
                  <a:pt x="3211" y="714"/>
                  <a:pt x="3211" y="712"/>
                  <a:pt x="3213" y="711"/>
                </a:cubicBezTo>
                <a:cubicBezTo>
                  <a:pt x="3214" y="709"/>
                  <a:pt x="3216" y="709"/>
                  <a:pt x="3218" y="708"/>
                </a:cubicBezTo>
                <a:cubicBezTo>
                  <a:pt x="3221" y="707"/>
                  <a:pt x="3223" y="704"/>
                  <a:pt x="3222" y="701"/>
                </a:cubicBezTo>
                <a:cubicBezTo>
                  <a:pt x="3222" y="699"/>
                  <a:pt x="3222" y="698"/>
                  <a:pt x="3223" y="696"/>
                </a:cubicBezTo>
                <a:cubicBezTo>
                  <a:pt x="3224" y="695"/>
                  <a:pt x="3227" y="693"/>
                  <a:pt x="3229" y="693"/>
                </a:cubicBezTo>
                <a:cubicBezTo>
                  <a:pt x="3231" y="692"/>
                  <a:pt x="3233" y="692"/>
                  <a:pt x="3235" y="691"/>
                </a:cubicBezTo>
                <a:cubicBezTo>
                  <a:pt x="3237" y="691"/>
                  <a:pt x="3239" y="690"/>
                  <a:pt x="3241" y="689"/>
                </a:cubicBezTo>
                <a:cubicBezTo>
                  <a:pt x="3245" y="688"/>
                  <a:pt x="3249" y="687"/>
                  <a:pt x="3253" y="687"/>
                </a:cubicBezTo>
                <a:cubicBezTo>
                  <a:pt x="3254" y="687"/>
                  <a:pt x="3256" y="687"/>
                  <a:pt x="3258" y="687"/>
                </a:cubicBezTo>
                <a:cubicBezTo>
                  <a:pt x="3259" y="687"/>
                  <a:pt x="3261" y="687"/>
                  <a:pt x="3263" y="687"/>
                </a:cubicBezTo>
                <a:cubicBezTo>
                  <a:pt x="3264" y="687"/>
                  <a:pt x="3264" y="687"/>
                  <a:pt x="3265" y="686"/>
                </a:cubicBezTo>
                <a:cubicBezTo>
                  <a:pt x="3265" y="686"/>
                  <a:pt x="3266" y="685"/>
                  <a:pt x="3266" y="685"/>
                </a:cubicBezTo>
                <a:cubicBezTo>
                  <a:pt x="3267" y="684"/>
                  <a:pt x="3269" y="683"/>
                  <a:pt x="3270" y="683"/>
                </a:cubicBezTo>
                <a:cubicBezTo>
                  <a:pt x="3271" y="683"/>
                  <a:pt x="3273" y="684"/>
                  <a:pt x="3274" y="685"/>
                </a:cubicBezTo>
                <a:cubicBezTo>
                  <a:pt x="3274" y="686"/>
                  <a:pt x="3275" y="687"/>
                  <a:pt x="3275" y="687"/>
                </a:cubicBezTo>
                <a:cubicBezTo>
                  <a:pt x="3276" y="688"/>
                  <a:pt x="3276" y="688"/>
                  <a:pt x="3277" y="688"/>
                </a:cubicBezTo>
                <a:cubicBezTo>
                  <a:pt x="3278" y="689"/>
                  <a:pt x="3278" y="689"/>
                  <a:pt x="3278" y="690"/>
                </a:cubicBezTo>
                <a:cubicBezTo>
                  <a:pt x="3278" y="690"/>
                  <a:pt x="3279" y="691"/>
                  <a:pt x="3279" y="692"/>
                </a:cubicBezTo>
                <a:cubicBezTo>
                  <a:pt x="3280" y="692"/>
                  <a:pt x="3283" y="690"/>
                  <a:pt x="3283" y="690"/>
                </a:cubicBezTo>
                <a:cubicBezTo>
                  <a:pt x="3285" y="689"/>
                  <a:pt x="3286" y="688"/>
                  <a:pt x="3287" y="687"/>
                </a:cubicBezTo>
                <a:cubicBezTo>
                  <a:pt x="3289" y="686"/>
                  <a:pt x="3290" y="685"/>
                  <a:pt x="3291" y="685"/>
                </a:cubicBezTo>
                <a:cubicBezTo>
                  <a:pt x="3292" y="684"/>
                  <a:pt x="3294" y="683"/>
                  <a:pt x="3295" y="684"/>
                </a:cubicBezTo>
                <a:cubicBezTo>
                  <a:pt x="3296" y="685"/>
                  <a:pt x="3295" y="687"/>
                  <a:pt x="3294" y="688"/>
                </a:cubicBezTo>
                <a:cubicBezTo>
                  <a:pt x="3294" y="689"/>
                  <a:pt x="3293" y="689"/>
                  <a:pt x="3293" y="690"/>
                </a:cubicBezTo>
                <a:cubicBezTo>
                  <a:pt x="3292" y="691"/>
                  <a:pt x="3292" y="692"/>
                  <a:pt x="3292" y="692"/>
                </a:cubicBezTo>
                <a:cubicBezTo>
                  <a:pt x="3292" y="693"/>
                  <a:pt x="3293" y="694"/>
                  <a:pt x="3292" y="695"/>
                </a:cubicBezTo>
                <a:cubicBezTo>
                  <a:pt x="3291" y="695"/>
                  <a:pt x="3291" y="695"/>
                  <a:pt x="3290" y="695"/>
                </a:cubicBezTo>
                <a:cubicBezTo>
                  <a:pt x="3288" y="696"/>
                  <a:pt x="3289" y="698"/>
                  <a:pt x="3288" y="699"/>
                </a:cubicBezTo>
                <a:cubicBezTo>
                  <a:pt x="3288" y="699"/>
                  <a:pt x="3288" y="700"/>
                  <a:pt x="3288" y="700"/>
                </a:cubicBezTo>
                <a:cubicBezTo>
                  <a:pt x="3288" y="700"/>
                  <a:pt x="3287" y="700"/>
                  <a:pt x="3287" y="700"/>
                </a:cubicBezTo>
                <a:cubicBezTo>
                  <a:pt x="3287" y="701"/>
                  <a:pt x="3286" y="701"/>
                  <a:pt x="3286" y="702"/>
                </a:cubicBezTo>
                <a:cubicBezTo>
                  <a:pt x="3285" y="703"/>
                  <a:pt x="3283" y="702"/>
                  <a:pt x="3283" y="704"/>
                </a:cubicBezTo>
                <a:cubicBezTo>
                  <a:pt x="3283" y="705"/>
                  <a:pt x="3284" y="704"/>
                  <a:pt x="3285" y="704"/>
                </a:cubicBezTo>
                <a:cubicBezTo>
                  <a:pt x="3286" y="705"/>
                  <a:pt x="3287" y="705"/>
                  <a:pt x="3287" y="707"/>
                </a:cubicBezTo>
                <a:cubicBezTo>
                  <a:pt x="3287" y="708"/>
                  <a:pt x="3286" y="710"/>
                  <a:pt x="3285" y="711"/>
                </a:cubicBezTo>
                <a:cubicBezTo>
                  <a:pt x="3285" y="711"/>
                  <a:pt x="3283" y="713"/>
                  <a:pt x="3285" y="713"/>
                </a:cubicBezTo>
                <a:cubicBezTo>
                  <a:pt x="3286" y="714"/>
                  <a:pt x="3288" y="713"/>
                  <a:pt x="3289" y="713"/>
                </a:cubicBezTo>
                <a:cubicBezTo>
                  <a:pt x="3290" y="713"/>
                  <a:pt x="3292" y="713"/>
                  <a:pt x="3293" y="713"/>
                </a:cubicBezTo>
                <a:cubicBezTo>
                  <a:pt x="3294" y="714"/>
                  <a:pt x="3294" y="714"/>
                  <a:pt x="3294" y="715"/>
                </a:cubicBezTo>
                <a:cubicBezTo>
                  <a:pt x="3293" y="715"/>
                  <a:pt x="3292" y="715"/>
                  <a:pt x="3292" y="716"/>
                </a:cubicBezTo>
                <a:cubicBezTo>
                  <a:pt x="3291" y="716"/>
                  <a:pt x="3291" y="716"/>
                  <a:pt x="3291" y="717"/>
                </a:cubicBezTo>
                <a:cubicBezTo>
                  <a:pt x="3292" y="718"/>
                  <a:pt x="3293" y="718"/>
                  <a:pt x="3293" y="719"/>
                </a:cubicBezTo>
                <a:cubicBezTo>
                  <a:pt x="3292" y="720"/>
                  <a:pt x="3291" y="720"/>
                  <a:pt x="3291" y="721"/>
                </a:cubicBezTo>
                <a:cubicBezTo>
                  <a:pt x="3290" y="722"/>
                  <a:pt x="3290" y="724"/>
                  <a:pt x="3292" y="724"/>
                </a:cubicBezTo>
                <a:cubicBezTo>
                  <a:pt x="3294" y="723"/>
                  <a:pt x="3297" y="721"/>
                  <a:pt x="3300" y="721"/>
                </a:cubicBezTo>
                <a:cubicBezTo>
                  <a:pt x="3301" y="721"/>
                  <a:pt x="3303" y="721"/>
                  <a:pt x="3303" y="720"/>
                </a:cubicBezTo>
                <a:cubicBezTo>
                  <a:pt x="3304" y="718"/>
                  <a:pt x="3304" y="717"/>
                  <a:pt x="3305" y="715"/>
                </a:cubicBezTo>
                <a:cubicBezTo>
                  <a:pt x="3306" y="714"/>
                  <a:pt x="3308" y="714"/>
                  <a:pt x="3309" y="713"/>
                </a:cubicBezTo>
                <a:cubicBezTo>
                  <a:pt x="3310" y="712"/>
                  <a:pt x="3311" y="710"/>
                  <a:pt x="3313" y="709"/>
                </a:cubicBezTo>
                <a:cubicBezTo>
                  <a:pt x="3314" y="708"/>
                  <a:pt x="3316" y="708"/>
                  <a:pt x="3318" y="707"/>
                </a:cubicBezTo>
                <a:cubicBezTo>
                  <a:pt x="3319" y="706"/>
                  <a:pt x="3321" y="704"/>
                  <a:pt x="3322" y="703"/>
                </a:cubicBezTo>
                <a:cubicBezTo>
                  <a:pt x="3323" y="702"/>
                  <a:pt x="3324" y="701"/>
                  <a:pt x="3326" y="700"/>
                </a:cubicBezTo>
                <a:cubicBezTo>
                  <a:pt x="3327" y="699"/>
                  <a:pt x="3329" y="699"/>
                  <a:pt x="3330" y="698"/>
                </a:cubicBezTo>
                <a:cubicBezTo>
                  <a:pt x="3332" y="697"/>
                  <a:pt x="3333" y="695"/>
                  <a:pt x="3335" y="694"/>
                </a:cubicBezTo>
                <a:cubicBezTo>
                  <a:pt x="3336" y="693"/>
                  <a:pt x="3336" y="692"/>
                  <a:pt x="3338" y="693"/>
                </a:cubicBezTo>
                <a:cubicBezTo>
                  <a:pt x="3339" y="693"/>
                  <a:pt x="3339" y="693"/>
                  <a:pt x="3340" y="693"/>
                </a:cubicBezTo>
                <a:cubicBezTo>
                  <a:pt x="3341" y="694"/>
                  <a:pt x="3342" y="693"/>
                  <a:pt x="3342" y="692"/>
                </a:cubicBezTo>
                <a:cubicBezTo>
                  <a:pt x="3343" y="692"/>
                  <a:pt x="3344" y="691"/>
                  <a:pt x="3345" y="691"/>
                </a:cubicBezTo>
                <a:cubicBezTo>
                  <a:pt x="3346" y="690"/>
                  <a:pt x="3346" y="691"/>
                  <a:pt x="3346" y="692"/>
                </a:cubicBezTo>
                <a:cubicBezTo>
                  <a:pt x="3346" y="693"/>
                  <a:pt x="3347" y="694"/>
                  <a:pt x="3347" y="694"/>
                </a:cubicBezTo>
                <a:cubicBezTo>
                  <a:pt x="3347" y="695"/>
                  <a:pt x="3348" y="696"/>
                  <a:pt x="3349" y="695"/>
                </a:cubicBezTo>
                <a:cubicBezTo>
                  <a:pt x="3350" y="695"/>
                  <a:pt x="3350" y="694"/>
                  <a:pt x="3351" y="693"/>
                </a:cubicBezTo>
                <a:cubicBezTo>
                  <a:pt x="3352" y="693"/>
                  <a:pt x="3353" y="692"/>
                  <a:pt x="3353" y="691"/>
                </a:cubicBezTo>
                <a:cubicBezTo>
                  <a:pt x="3353" y="691"/>
                  <a:pt x="3353" y="690"/>
                  <a:pt x="3353" y="689"/>
                </a:cubicBezTo>
                <a:cubicBezTo>
                  <a:pt x="3354" y="688"/>
                  <a:pt x="3352" y="688"/>
                  <a:pt x="3351" y="689"/>
                </a:cubicBezTo>
                <a:cubicBezTo>
                  <a:pt x="3350" y="689"/>
                  <a:pt x="3348" y="689"/>
                  <a:pt x="3347" y="688"/>
                </a:cubicBezTo>
                <a:cubicBezTo>
                  <a:pt x="3347" y="687"/>
                  <a:pt x="3347" y="687"/>
                  <a:pt x="3347" y="687"/>
                </a:cubicBezTo>
                <a:cubicBezTo>
                  <a:pt x="3347" y="686"/>
                  <a:pt x="3347" y="686"/>
                  <a:pt x="3347" y="686"/>
                </a:cubicBezTo>
                <a:cubicBezTo>
                  <a:pt x="3347" y="686"/>
                  <a:pt x="3347" y="685"/>
                  <a:pt x="3347" y="685"/>
                </a:cubicBezTo>
                <a:cubicBezTo>
                  <a:pt x="3348" y="684"/>
                  <a:pt x="3349" y="683"/>
                  <a:pt x="3349" y="682"/>
                </a:cubicBezTo>
                <a:cubicBezTo>
                  <a:pt x="3350" y="681"/>
                  <a:pt x="3350" y="679"/>
                  <a:pt x="3350" y="678"/>
                </a:cubicBezTo>
                <a:cubicBezTo>
                  <a:pt x="3351" y="677"/>
                  <a:pt x="3351" y="677"/>
                  <a:pt x="3352" y="676"/>
                </a:cubicBezTo>
                <a:cubicBezTo>
                  <a:pt x="3352" y="675"/>
                  <a:pt x="3352" y="675"/>
                  <a:pt x="3353" y="674"/>
                </a:cubicBezTo>
                <a:cubicBezTo>
                  <a:pt x="3354" y="673"/>
                  <a:pt x="3354" y="672"/>
                  <a:pt x="3354" y="670"/>
                </a:cubicBezTo>
                <a:cubicBezTo>
                  <a:pt x="3353" y="669"/>
                  <a:pt x="3353" y="668"/>
                  <a:pt x="3353" y="666"/>
                </a:cubicBezTo>
                <a:cubicBezTo>
                  <a:pt x="3353" y="664"/>
                  <a:pt x="3355" y="665"/>
                  <a:pt x="3356" y="664"/>
                </a:cubicBezTo>
                <a:cubicBezTo>
                  <a:pt x="3358" y="664"/>
                  <a:pt x="3359" y="664"/>
                  <a:pt x="3361" y="663"/>
                </a:cubicBezTo>
                <a:cubicBezTo>
                  <a:pt x="3362" y="662"/>
                  <a:pt x="3363" y="662"/>
                  <a:pt x="3365" y="662"/>
                </a:cubicBezTo>
                <a:cubicBezTo>
                  <a:pt x="3367" y="662"/>
                  <a:pt x="3368" y="662"/>
                  <a:pt x="3369" y="661"/>
                </a:cubicBezTo>
                <a:cubicBezTo>
                  <a:pt x="3371" y="661"/>
                  <a:pt x="3372" y="660"/>
                  <a:pt x="3373" y="660"/>
                </a:cubicBezTo>
                <a:cubicBezTo>
                  <a:pt x="3375" y="660"/>
                  <a:pt x="3376" y="660"/>
                  <a:pt x="3377" y="660"/>
                </a:cubicBezTo>
                <a:cubicBezTo>
                  <a:pt x="3379" y="661"/>
                  <a:pt x="3379" y="662"/>
                  <a:pt x="3380" y="663"/>
                </a:cubicBezTo>
                <a:cubicBezTo>
                  <a:pt x="3381" y="665"/>
                  <a:pt x="3383" y="665"/>
                  <a:pt x="3385" y="665"/>
                </a:cubicBezTo>
                <a:cubicBezTo>
                  <a:pt x="3386" y="665"/>
                  <a:pt x="3386" y="665"/>
                  <a:pt x="3387" y="666"/>
                </a:cubicBezTo>
                <a:cubicBezTo>
                  <a:pt x="3388" y="666"/>
                  <a:pt x="3389" y="666"/>
                  <a:pt x="3390" y="667"/>
                </a:cubicBezTo>
                <a:cubicBezTo>
                  <a:pt x="3390" y="667"/>
                  <a:pt x="3388" y="667"/>
                  <a:pt x="3388" y="668"/>
                </a:cubicBezTo>
                <a:cubicBezTo>
                  <a:pt x="3389" y="668"/>
                  <a:pt x="3390" y="667"/>
                  <a:pt x="3390" y="669"/>
                </a:cubicBezTo>
                <a:cubicBezTo>
                  <a:pt x="3388" y="669"/>
                  <a:pt x="3387" y="669"/>
                  <a:pt x="3386" y="668"/>
                </a:cubicBezTo>
                <a:cubicBezTo>
                  <a:pt x="3385" y="667"/>
                  <a:pt x="3384" y="667"/>
                  <a:pt x="3382" y="667"/>
                </a:cubicBezTo>
                <a:cubicBezTo>
                  <a:pt x="3381" y="667"/>
                  <a:pt x="3380" y="666"/>
                  <a:pt x="3378" y="667"/>
                </a:cubicBezTo>
                <a:cubicBezTo>
                  <a:pt x="3377" y="667"/>
                  <a:pt x="3376" y="668"/>
                  <a:pt x="3375" y="669"/>
                </a:cubicBezTo>
                <a:cubicBezTo>
                  <a:pt x="3373" y="672"/>
                  <a:pt x="3369" y="671"/>
                  <a:pt x="3368" y="675"/>
                </a:cubicBezTo>
                <a:cubicBezTo>
                  <a:pt x="3367" y="678"/>
                  <a:pt x="3368" y="681"/>
                  <a:pt x="3368" y="684"/>
                </a:cubicBezTo>
                <a:cubicBezTo>
                  <a:pt x="3368" y="686"/>
                  <a:pt x="3368" y="689"/>
                  <a:pt x="3367" y="690"/>
                </a:cubicBezTo>
                <a:cubicBezTo>
                  <a:pt x="3365" y="691"/>
                  <a:pt x="3363" y="692"/>
                  <a:pt x="3363" y="694"/>
                </a:cubicBezTo>
                <a:cubicBezTo>
                  <a:pt x="3363" y="695"/>
                  <a:pt x="3365" y="697"/>
                  <a:pt x="3365" y="698"/>
                </a:cubicBezTo>
                <a:cubicBezTo>
                  <a:pt x="3366" y="699"/>
                  <a:pt x="3366" y="700"/>
                  <a:pt x="3366" y="702"/>
                </a:cubicBezTo>
                <a:cubicBezTo>
                  <a:pt x="3366" y="703"/>
                  <a:pt x="3366" y="703"/>
                  <a:pt x="3365" y="704"/>
                </a:cubicBezTo>
                <a:cubicBezTo>
                  <a:pt x="3365" y="704"/>
                  <a:pt x="3365" y="705"/>
                  <a:pt x="3364" y="705"/>
                </a:cubicBezTo>
                <a:cubicBezTo>
                  <a:pt x="3363" y="706"/>
                  <a:pt x="3361" y="706"/>
                  <a:pt x="3360" y="707"/>
                </a:cubicBezTo>
                <a:cubicBezTo>
                  <a:pt x="3359" y="708"/>
                  <a:pt x="3359" y="709"/>
                  <a:pt x="3359" y="711"/>
                </a:cubicBezTo>
                <a:cubicBezTo>
                  <a:pt x="3359" y="712"/>
                  <a:pt x="3359" y="713"/>
                  <a:pt x="3359" y="714"/>
                </a:cubicBezTo>
                <a:cubicBezTo>
                  <a:pt x="3360" y="715"/>
                  <a:pt x="3359" y="716"/>
                  <a:pt x="3358" y="717"/>
                </a:cubicBezTo>
                <a:cubicBezTo>
                  <a:pt x="3356" y="717"/>
                  <a:pt x="3354" y="718"/>
                  <a:pt x="3353" y="718"/>
                </a:cubicBezTo>
                <a:cubicBezTo>
                  <a:pt x="3351" y="719"/>
                  <a:pt x="3348" y="720"/>
                  <a:pt x="3346" y="720"/>
                </a:cubicBezTo>
                <a:cubicBezTo>
                  <a:pt x="3344" y="721"/>
                  <a:pt x="3342" y="722"/>
                  <a:pt x="3340" y="723"/>
                </a:cubicBezTo>
                <a:cubicBezTo>
                  <a:pt x="3338" y="724"/>
                  <a:pt x="3336" y="725"/>
                  <a:pt x="3334" y="726"/>
                </a:cubicBezTo>
                <a:cubicBezTo>
                  <a:pt x="3333" y="726"/>
                  <a:pt x="3333" y="726"/>
                  <a:pt x="3332" y="726"/>
                </a:cubicBezTo>
                <a:cubicBezTo>
                  <a:pt x="3331" y="727"/>
                  <a:pt x="3330" y="727"/>
                  <a:pt x="3329" y="727"/>
                </a:cubicBezTo>
                <a:cubicBezTo>
                  <a:pt x="3328" y="728"/>
                  <a:pt x="3327" y="728"/>
                  <a:pt x="3326" y="729"/>
                </a:cubicBezTo>
                <a:cubicBezTo>
                  <a:pt x="3326" y="729"/>
                  <a:pt x="3325" y="730"/>
                  <a:pt x="3325" y="731"/>
                </a:cubicBezTo>
                <a:cubicBezTo>
                  <a:pt x="3325" y="732"/>
                  <a:pt x="3325" y="732"/>
                  <a:pt x="3325" y="733"/>
                </a:cubicBezTo>
                <a:cubicBezTo>
                  <a:pt x="3324" y="734"/>
                  <a:pt x="3323" y="735"/>
                  <a:pt x="3322" y="736"/>
                </a:cubicBezTo>
                <a:cubicBezTo>
                  <a:pt x="3321" y="737"/>
                  <a:pt x="3320" y="738"/>
                  <a:pt x="3318" y="739"/>
                </a:cubicBezTo>
                <a:cubicBezTo>
                  <a:pt x="3316" y="741"/>
                  <a:pt x="3314" y="742"/>
                  <a:pt x="3312" y="744"/>
                </a:cubicBezTo>
                <a:cubicBezTo>
                  <a:pt x="3310" y="746"/>
                  <a:pt x="3309" y="748"/>
                  <a:pt x="3307" y="749"/>
                </a:cubicBezTo>
                <a:cubicBezTo>
                  <a:pt x="3304" y="751"/>
                  <a:pt x="3302" y="752"/>
                  <a:pt x="3300" y="754"/>
                </a:cubicBezTo>
                <a:cubicBezTo>
                  <a:pt x="3298" y="756"/>
                  <a:pt x="3295" y="758"/>
                  <a:pt x="3293" y="760"/>
                </a:cubicBezTo>
                <a:cubicBezTo>
                  <a:pt x="3291" y="762"/>
                  <a:pt x="3288" y="764"/>
                  <a:pt x="3286" y="766"/>
                </a:cubicBezTo>
                <a:cubicBezTo>
                  <a:pt x="3284" y="769"/>
                  <a:pt x="3283" y="772"/>
                  <a:pt x="3281" y="775"/>
                </a:cubicBezTo>
                <a:cubicBezTo>
                  <a:pt x="3280" y="777"/>
                  <a:pt x="3279" y="778"/>
                  <a:pt x="3277" y="779"/>
                </a:cubicBezTo>
                <a:cubicBezTo>
                  <a:pt x="3276" y="781"/>
                  <a:pt x="3275" y="782"/>
                  <a:pt x="3274" y="784"/>
                </a:cubicBezTo>
                <a:cubicBezTo>
                  <a:pt x="3273" y="785"/>
                  <a:pt x="3272" y="785"/>
                  <a:pt x="3271" y="786"/>
                </a:cubicBezTo>
                <a:cubicBezTo>
                  <a:pt x="3270" y="786"/>
                  <a:pt x="3268" y="787"/>
                  <a:pt x="3267" y="788"/>
                </a:cubicBezTo>
                <a:cubicBezTo>
                  <a:pt x="3265" y="790"/>
                  <a:pt x="3263" y="791"/>
                  <a:pt x="3261" y="793"/>
                </a:cubicBezTo>
                <a:cubicBezTo>
                  <a:pt x="3259" y="794"/>
                  <a:pt x="3258" y="795"/>
                  <a:pt x="3256" y="797"/>
                </a:cubicBezTo>
                <a:cubicBezTo>
                  <a:pt x="3255" y="797"/>
                  <a:pt x="3254" y="797"/>
                  <a:pt x="3254" y="798"/>
                </a:cubicBezTo>
                <a:cubicBezTo>
                  <a:pt x="3253" y="798"/>
                  <a:pt x="3252" y="799"/>
                  <a:pt x="3251" y="799"/>
                </a:cubicBezTo>
                <a:cubicBezTo>
                  <a:pt x="3251" y="799"/>
                  <a:pt x="3250" y="799"/>
                  <a:pt x="3250" y="799"/>
                </a:cubicBezTo>
                <a:cubicBezTo>
                  <a:pt x="3248" y="799"/>
                  <a:pt x="3246" y="799"/>
                  <a:pt x="3245" y="799"/>
                </a:cubicBezTo>
                <a:cubicBezTo>
                  <a:pt x="3243" y="799"/>
                  <a:pt x="3242" y="800"/>
                  <a:pt x="3241" y="801"/>
                </a:cubicBezTo>
                <a:cubicBezTo>
                  <a:pt x="3239" y="803"/>
                  <a:pt x="3239" y="804"/>
                  <a:pt x="3237" y="805"/>
                </a:cubicBezTo>
                <a:cubicBezTo>
                  <a:pt x="3235" y="806"/>
                  <a:pt x="3232" y="806"/>
                  <a:pt x="3229" y="806"/>
                </a:cubicBezTo>
                <a:cubicBezTo>
                  <a:pt x="3229" y="806"/>
                  <a:pt x="3228" y="806"/>
                  <a:pt x="3227" y="806"/>
                </a:cubicBezTo>
                <a:cubicBezTo>
                  <a:pt x="3226" y="806"/>
                  <a:pt x="3224" y="806"/>
                  <a:pt x="3224" y="807"/>
                </a:cubicBezTo>
                <a:cubicBezTo>
                  <a:pt x="3224" y="808"/>
                  <a:pt x="3224" y="808"/>
                  <a:pt x="3225" y="809"/>
                </a:cubicBezTo>
                <a:cubicBezTo>
                  <a:pt x="3226" y="809"/>
                  <a:pt x="3226" y="811"/>
                  <a:pt x="3227" y="812"/>
                </a:cubicBezTo>
                <a:cubicBezTo>
                  <a:pt x="3228" y="813"/>
                  <a:pt x="3228" y="815"/>
                  <a:pt x="3228" y="816"/>
                </a:cubicBezTo>
                <a:cubicBezTo>
                  <a:pt x="3228" y="818"/>
                  <a:pt x="3226" y="819"/>
                  <a:pt x="3226" y="820"/>
                </a:cubicBezTo>
                <a:cubicBezTo>
                  <a:pt x="3225" y="821"/>
                  <a:pt x="3225" y="822"/>
                  <a:pt x="3224" y="822"/>
                </a:cubicBezTo>
                <a:cubicBezTo>
                  <a:pt x="3224" y="823"/>
                  <a:pt x="3224" y="824"/>
                  <a:pt x="3223" y="825"/>
                </a:cubicBezTo>
                <a:cubicBezTo>
                  <a:pt x="3223" y="825"/>
                  <a:pt x="3222" y="825"/>
                  <a:pt x="3221" y="826"/>
                </a:cubicBezTo>
                <a:cubicBezTo>
                  <a:pt x="3219" y="826"/>
                  <a:pt x="3218" y="828"/>
                  <a:pt x="3217" y="829"/>
                </a:cubicBezTo>
                <a:cubicBezTo>
                  <a:pt x="3216" y="830"/>
                  <a:pt x="3215" y="831"/>
                  <a:pt x="3214" y="832"/>
                </a:cubicBezTo>
                <a:cubicBezTo>
                  <a:pt x="3213" y="833"/>
                  <a:pt x="3211" y="835"/>
                  <a:pt x="3210" y="836"/>
                </a:cubicBezTo>
                <a:cubicBezTo>
                  <a:pt x="3209" y="838"/>
                  <a:pt x="3208" y="839"/>
                  <a:pt x="3207" y="841"/>
                </a:cubicBezTo>
                <a:cubicBezTo>
                  <a:pt x="3207" y="843"/>
                  <a:pt x="3206" y="845"/>
                  <a:pt x="3205" y="847"/>
                </a:cubicBezTo>
                <a:cubicBezTo>
                  <a:pt x="3204" y="850"/>
                  <a:pt x="3204" y="853"/>
                  <a:pt x="3203" y="855"/>
                </a:cubicBezTo>
                <a:cubicBezTo>
                  <a:pt x="3203" y="856"/>
                  <a:pt x="3203" y="857"/>
                  <a:pt x="3203" y="858"/>
                </a:cubicBezTo>
                <a:cubicBezTo>
                  <a:pt x="3203" y="860"/>
                  <a:pt x="3202" y="861"/>
                  <a:pt x="3202" y="862"/>
                </a:cubicBezTo>
                <a:cubicBezTo>
                  <a:pt x="3202" y="864"/>
                  <a:pt x="3202" y="866"/>
                  <a:pt x="3202" y="868"/>
                </a:cubicBezTo>
                <a:cubicBezTo>
                  <a:pt x="3201" y="872"/>
                  <a:pt x="3201" y="877"/>
                  <a:pt x="3201" y="881"/>
                </a:cubicBezTo>
                <a:cubicBezTo>
                  <a:pt x="3201" y="886"/>
                  <a:pt x="3201" y="891"/>
                  <a:pt x="3202" y="896"/>
                </a:cubicBezTo>
                <a:cubicBezTo>
                  <a:pt x="3203" y="898"/>
                  <a:pt x="3204" y="901"/>
                  <a:pt x="3205" y="904"/>
                </a:cubicBezTo>
                <a:cubicBezTo>
                  <a:pt x="3205" y="906"/>
                  <a:pt x="3206" y="909"/>
                  <a:pt x="3207" y="911"/>
                </a:cubicBezTo>
                <a:cubicBezTo>
                  <a:pt x="3207" y="913"/>
                  <a:pt x="3208" y="915"/>
                  <a:pt x="3208" y="917"/>
                </a:cubicBezTo>
                <a:cubicBezTo>
                  <a:pt x="3209" y="918"/>
                  <a:pt x="3209" y="919"/>
                  <a:pt x="3209" y="920"/>
                </a:cubicBezTo>
                <a:cubicBezTo>
                  <a:pt x="3209" y="922"/>
                  <a:pt x="3209" y="925"/>
                  <a:pt x="3209" y="927"/>
                </a:cubicBezTo>
                <a:cubicBezTo>
                  <a:pt x="3210" y="929"/>
                  <a:pt x="3210" y="931"/>
                  <a:pt x="3210" y="933"/>
                </a:cubicBezTo>
                <a:cubicBezTo>
                  <a:pt x="3210" y="935"/>
                  <a:pt x="3210" y="938"/>
                  <a:pt x="3211" y="940"/>
                </a:cubicBezTo>
                <a:cubicBezTo>
                  <a:pt x="3211" y="943"/>
                  <a:pt x="3212" y="947"/>
                  <a:pt x="3215" y="949"/>
                </a:cubicBezTo>
                <a:cubicBezTo>
                  <a:pt x="3218" y="952"/>
                  <a:pt x="3217" y="955"/>
                  <a:pt x="3218" y="958"/>
                </a:cubicBezTo>
                <a:cubicBezTo>
                  <a:pt x="3218" y="960"/>
                  <a:pt x="3218" y="961"/>
                  <a:pt x="3218" y="962"/>
                </a:cubicBezTo>
                <a:cubicBezTo>
                  <a:pt x="3218" y="963"/>
                  <a:pt x="3219" y="964"/>
                  <a:pt x="3219" y="965"/>
                </a:cubicBezTo>
                <a:cubicBezTo>
                  <a:pt x="3219" y="966"/>
                  <a:pt x="3218" y="967"/>
                  <a:pt x="3219" y="968"/>
                </a:cubicBezTo>
                <a:cubicBezTo>
                  <a:pt x="3219" y="970"/>
                  <a:pt x="3219" y="971"/>
                  <a:pt x="3219" y="972"/>
                </a:cubicBezTo>
                <a:cubicBezTo>
                  <a:pt x="3219" y="974"/>
                  <a:pt x="3219" y="976"/>
                  <a:pt x="3219" y="977"/>
                </a:cubicBezTo>
                <a:cubicBezTo>
                  <a:pt x="3219" y="980"/>
                  <a:pt x="3219" y="983"/>
                  <a:pt x="3222" y="985"/>
                </a:cubicBezTo>
                <a:cubicBezTo>
                  <a:pt x="3223" y="986"/>
                  <a:pt x="3223" y="987"/>
                  <a:pt x="3223" y="989"/>
                </a:cubicBezTo>
                <a:cubicBezTo>
                  <a:pt x="3223" y="990"/>
                  <a:pt x="3223" y="990"/>
                  <a:pt x="3223" y="991"/>
                </a:cubicBezTo>
                <a:cubicBezTo>
                  <a:pt x="3223" y="992"/>
                  <a:pt x="3222" y="992"/>
                  <a:pt x="3222" y="993"/>
                </a:cubicBezTo>
                <a:cubicBezTo>
                  <a:pt x="3223" y="993"/>
                  <a:pt x="3225" y="992"/>
                  <a:pt x="3225" y="991"/>
                </a:cubicBezTo>
                <a:cubicBezTo>
                  <a:pt x="3226" y="990"/>
                  <a:pt x="3227" y="989"/>
                  <a:pt x="3229" y="988"/>
                </a:cubicBezTo>
                <a:cubicBezTo>
                  <a:pt x="3230" y="987"/>
                  <a:pt x="3231" y="986"/>
                  <a:pt x="3233" y="985"/>
                </a:cubicBezTo>
                <a:cubicBezTo>
                  <a:pt x="3234" y="984"/>
                  <a:pt x="3236" y="983"/>
                  <a:pt x="3237" y="981"/>
                </a:cubicBezTo>
                <a:cubicBezTo>
                  <a:pt x="3239" y="978"/>
                  <a:pt x="3242" y="976"/>
                  <a:pt x="3245" y="973"/>
                </a:cubicBezTo>
                <a:cubicBezTo>
                  <a:pt x="3246" y="972"/>
                  <a:pt x="3247" y="970"/>
                  <a:pt x="3248" y="968"/>
                </a:cubicBezTo>
                <a:cubicBezTo>
                  <a:pt x="3249" y="966"/>
                  <a:pt x="3251" y="965"/>
                  <a:pt x="3252" y="963"/>
                </a:cubicBezTo>
                <a:cubicBezTo>
                  <a:pt x="3253" y="963"/>
                  <a:pt x="3254" y="962"/>
                  <a:pt x="3255" y="961"/>
                </a:cubicBezTo>
                <a:cubicBezTo>
                  <a:pt x="3256" y="960"/>
                  <a:pt x="3257" y="959"/>
                  <a:pt x="3257" y="958"/>
                </a:cubicBezTo>
                <a:cubicBezTo>
                  <a:pt x="3258" y="957"/>
                  <a:pt x="3259" y="957"/>
                  <a:pt x="3260" y="956"/>
                </a:cubicBezTo>
                <a:cubicBezTo>
                  <a:pt x="3261" y="954"/>
                  <a:pt x="3259" y="953"/>
                  <a:pt x="3259" y="951"/>
                </a:cubicBezTo>
                <a:cubicBezTo>
                  <a:pt x="3258" y="951"/>
                  <a:pt x="3258" y="950"/>
                  <a:pt x="3258" y="949"/>
                </a:cubicBezTo>
                <a:cubicBezTo>
                  <a:pt x="3258" y="948"/>
                  <a:pt x="3258" y="947"/>
                  <a:pt x="3259" y="946"/>
                </a:cubicBezTo>
                <a:cubicBezTo>
                  <a:pt x="3261" y="945"/>
                  <a:pt x="3261" y="944"/>
                  <a:pt x="3261" y="942"/>
                </a:cubicBezTo>
                <a:cubicBezTo>
                  <a:pt x="3261" y="941"/>
                  <a:pt x="3261" y="939"/>
                  <a:pt x="3260" y="939"/>
                </a:cubicBezTo>
                <a:cubicBezTo>
                  <a:pt x="3259" y="939"/>
                  <a:pt x="3258" y="939"/>
                  <a:pt x="3258" y="938"/>
                </a:cubicBezTo>
                <a:cubicBezTo>
                  <a:pt x="3258" y="938"/>
                  <a:pt x="3258" y="937"/>
                  <a:pt x="3258" y="936"/>
                </a:cubicBezTo>
                <a:cubicBezTo>
                  <a:pt x="3258" y="935"/>
                  <a:pt x="3259" y="936"/>
                  <a:pt x="3259" y="936"/>
                </a:cubicBezTo>
                <a:cubicBezTo>
                  <a:pt x="3260" y="936"/>
                  <a:pt x="3261" y="936"/>
                  <a:pt x="3261" y="937"/>
                </a:cubicBezTo>
                <a:cubicBezTo>
                  <a:pt x="3262" y="937"/>
                  <a:pt x="3261" y="938"/>
                  <a:pt x="3261" y="938"/>
                </a:cubicBezTo>
                <a:cubicBezTo>
                  <a:pt x="3261" y="939"/>
                  <a:pt x="3262" y="939"/>
                  <a:pt x="3262" y="939"/>
                </a:cubicBezTo>
                <a:cubicBezTo>
                  <a:pt x="3263" y="939"/>
                  <a:pt x="3264" y="939"/>
                  <a:pt x="3264" y="939"/>
                </a:cubicBezTo>
                <a:cubicBezTo>
                  <a:pt x="3265" y="939"/>
                  <a:pt x="3265" y="938"/>
                  <a:pt x="3266" y="938"/>
                </a:cubicBezTo>
                <a:cubicBezTo>
                  <a:pt x="3267" y="937"/>
                  <a:pt x="3268" y="936"/>
                  <a:pt x="3269" y="935"/>
                </a:cubicBezTo>
                <a:cubicBezTo>
                  <a:pt x="3271" y="935"/>
                  <a:pt x="3272" y="934"/>
                  <a:pt x="3273" y="933"/>
                </a:cubicBezTo>
                <a:cubicBezTo>
                  <a:pt x="3275" y="933"/>
                  <a:pt x="3276" y="933"/>
                  <a:pt x="3277" y="932"/>
                </a:cubicBezTo>
                <a:cubicBezTo>
                  <a:pt x="3278" y="931"/>
                  <a:pt x="3280" y="931"/>
                  <a:pt x="3281" y="930"/>
                </a:cubicBezTo>
                <a:cubicBezTo>
                  <a:pt x="3282" y="930"/>
                  <a:pt x="3282" y="930"/>
                  <a:pt x="3283" y="931"/>
                </a:cubicBezTo>
                <a:cubicBezTo>
                  <a:pt x="3284" y="931"/>
                  <a:pt x="3283" y="932"/>
                  <a:pt x="3284" y="932"/>
                </a:cubicBezTo>
                <a:cubicBezTo>
                  <a:pt x="3285" y="933"/>
                  <a:pt x="3285" y="932"/>
                  <a:pt x="3286" y="933"/>
                </a:cubicBezTo>
                <a:cubicBezTo>
                  <a:pt x="3286" y="933"/>
                  <a:pt x="3287" y="934"/>
                  <a:pt x="3287" y="934"/>
                </a:cubicBezTo>
                <a:cubicBezTo>
                  <a:pt x="3287" y="934"/>
                  <a:pt x="3288" y="935"/>
                  <a:pt x="3289" y="935"/>
                </a:cubicBezTo>
                <a:cubicBezTo>
                  <a:pt x="3289" y="935"/>
                  <a:pt x="3289" y="934"/>
                  <a:pt x="3288" y="933"/>
                </a:cubicBezTo>
                <a:cubicBezTo>
                  <a:pt x="3288" y="933"/>
                  <a:pt x="3289" y="932"/>
                  <a:pt x="3289" y="931"/>
                </a:cubicBezTo>
                <a:cubicBezTo>
                  <a:pt x="3288" y="931"/>
                  <a:pt x="3288" y="930"/>
                  <a:pt x="3287" y="930"/>
                </a:cubicBezTo>
                <a:cubicBezTo>
                  <a:pt x="3287" y="929"/>
                  <a:pt x="3287" y="928"/>
                  <a:pt x="3287" y="928"/>
                </a:cubicBezTo>
                <a:cubicBezTo>
                  <a:pt x="3287" y="927"/>
                  <a:pt x="3286" y="927"/>
                  <a:pt x="3286" y="927"/>
                </a:cubicBezTo>
                <a:cubicBezTo>
                  <a:pt x="3285" y="926"/>
                  <a:pt x="3284" y="923"/>
                  <a:pt x="3286" y="923"/>
                </a:cubicBezTo>
                <a:cubicBezTo>
                  <a:pt x="3287" y="923"/>
                  <a:pt x="3288" y="924"/>
                  <a:pt x="3288" y="923"/>
                </a:cubicBezTo>
                <a:cubicBezTo>
                  <a:pt x="3288" y="922"/>
                  <a:pt x="3287" y="921"/>
                  <a:pt x="3286" y="920"/>
                </a:cubicBezTo>
                <a:cubicBezTo>
                  <a:pt x="3285" y="920"/>
                  <a:pt x="3285" y="918"/>
                  <a:pt x="3285" y="916"/>
                </a:cubicBezTo>
                <a:cubicBezTo>
                  <a:pt x="3285" y="915"/>
                  <a:pt x="3286" y="914"/>
                  <a:pt x="3287" y="913"/>
                </a:cubicBezTo>
                <a:cubicBezTo>
                  <a:pt x="3287" y="911"/>
                  <a:pt x="3287" y="910"/>
                  <a:pt x="3288" y="908"/>
                </a:cubicBezTo>
                <a:cubicBezTo>
                  <a:pt x="3288" y="907"/>
                  <a:pt x="3289" y="906"/>
                  <a:pt x="3290" y="905"/>
                </a:cubicBezTo>
                <a:cubicBezTo>
                  <a:pt x="3292" y="903"/>
                  <a:pt x="3293" y="903"/>
                  <a:pt x="3294" y="902"/>
                </a:cubicBezTo>
                <a:cubicBezTo>
                  <a:pt x="3297" y="901"/>
                  <a:pt x="3299" y="898"/>
                  <a:pt x="3302" y="897"/>
                </a:cubicBezTo>
                <a:cubicBezTo>
                  <a:pt x="3304" y="895"/>
                  <a:pt x="3306" y="895"/>
                  <a:pt x="3309" y="894"/>
                </a:cubicBezTo>
                <a:cubicBezTo>
                  <a:pt x="3311" y="894"/>
                  <a:pt x="3311" y="896"/>
                  <a:pt x="3313" y="897"/>
                </a:cubicBezTo>
                <a:cubicBezTo>
                  <a:pt x="3314" y="897"/>
                  <a:pt x="3316" y="897"/>
                  <a:pt x="3317" y="897"/>
                </a:cubicBezTo>
                <a:cubicBezTo>
                  <a:pt x="3318" y="896"/>
                  <a:pt x="3320" y="896"/>
                  <a:pt x="3321" y="896"/>
                </a:cubicBezTo>
                <a:cubicBezTo>
                  <a:pt x="3323" y="895"/>
                  <a:pt x="3324" y="895"/>
                  <a:pt x="3325" y="894"/>
                </a:cubicBezTo>
                <a:cubicBezTo>
                  <a:pt x="3326" y="893"/>
                  <a:pt x="3327" y="892"/>
                  <a:pt x="3328" y="891"/>
                </a:cubicBezTo>
                <a:cubicBezTo>
                  <a:pt x="3330" y="890"/>
                  <a:pt x="3331" y="889"/>
                  <a:pt x="3330" y="887"/>
                </a:cubicBezTo>
                <a:cubicBezTo>
                  <a:pt x="3330" y="886"/>
                  <a:pt x="3329" y="885"/>
                  <a:pt x="3328" y="884"/>
                </a:cubicBezTo>
                <a:cubicBezTo>
                  <a:pt x="3327" y="883"/>
                  <a:pt x="3327" y="883"/>
                  <a:pt x="3327" y="882"/>
                </a:cubicBezTo>
                <a:cubicBezTo>
                  <a:pt x="3326" y="882"/>
                  <a:pt x="3326" y="881"/>
                  <a:pt x="3325" y="881"/>
                </a:cubicBezTo>
                <a:cubicBezTo>
                  <a:pt x="3324" y="881"/>
                  <a:pt x="3324" y="880"/>
                  <a:pt x="3324" y="879"/>
                </a:cubicBezTo>
                <a:cubicBezTo>
                  <a:pt x="3324" y="879"/>
                  <a:pt x="3324" y="879"/>
                  <a:pt x="3324" y="878"/>
                </a:cubicBezTo>
                <a:cubicBezTo>
                  <a:pt x="3323" y="877"/>
                  <a:pt x="3323" y="875"/>
                  <a:pt x="3323" y="873"/>
                </a:cubicBezTo>
                <a:cubicBezTo>
                  <a:pt x="3323" y="871"/>
                  <a:pt x="3323" y="869"/>
                  <a:pt x="3323" y="867"/>
                </a:cubicBezTo>
                <a:cubicBezTo>
                  <a:pt x="3323" y="865"/>
                  <a:pt x="3324" y="864"/>
                  <a:pt x="3324" y="863"/>
                </a:cubicBezTo>
                <a:cubicBezTo>
                  <a:pt x="3325" y="861"/>
                  <a:pt x="3325" y="860"/>
                  <a:pt x="3326" y="858"/>
                </a:cubicBezTo>
                <a:cubicBezTo>
                  <a:pt x="3327" y="855"/>
                  <a:pt x="3329" y="853"/>
                  <a:pt x="3332" y="851"/>
                </a:cubicBezTo>
                <a:cubicBezTo>
                  <a:pt x="3333" y="850"/>
                  <a:pt x="3334" y="850"/>
                  <a:pt x="3336" y="850"/>
                </a:cubicBezTo>
                <a:cubicBezTo>
                  <a:pt x="3337" y="850"/>
                  <a:pt x="3339" y="849"/>
                  <a:pt x="3339" y="848"/>
                </a:cubicBezTo>
                <a:cubicBezTo>
                  <a:pt x="3338" y="846"/>
                  <a:pt x="3337" y="846"/>
                  <a:pt x="3337" y="844"/>
                </a:cubicBezTo>
                <a:cubicBezTo>
                  <a:pt x="3337" y="843"/>
                  <a:pt x="3339" y="843"/>
                  <a:pt x="3340" y="843"/>
                </a:cubicBezTo>
                <a:cubicBezTo>
                  <a:pt x="3342" y="843"/>
                  <a:pt x="3343" y="843"/>
                  <a:pt x="3345" y="842"/>
                </a:cubicBezTo>
                <a:cubicBezTo>
                  <a:pt x="3345" y="842"/>
                  <a:pt x="3347" y="840"/>
                  <a:pt x="3348" y="841"/>
                </a:cubicBezTo>
                <a:cubicBezTo>
                  <a:pt x="3349" y="842"/>
                  <a:pt x="3346" y="843"/>
                  <a:pt x="3345" y="844"/>
                </a:cubicBezTo>
                <a:cubicBezTo>
                  <a:pt x="3344" y="844"/>
                  <a:pt x="3344" y="845"/>
                  <a:pt x="3342" y="846"/>
                </a:cubicBezTo>
                <a:cubicBezTo>
                  <a:pt x="3341" y="846"/>
                  <a:pt x="3340" y="847"/>
                  <a:pt x="3340" y="847"/>
                </a:cubicBezTo>
                <a:cubicBezTo>
                  <a:pt x="3339" y="848"/>
                  <a:pt x="3339" y="849"/>
                  <a:pt x="3339" y="849"/>
                </a:cubicBezTo>
                <a:cubicBezTo>
                  <a:pt x="3339" y="850"/>
                  <a:pt x="3340" y="850"/>
                  <a:pt x="3340" y="850"/>
                </a:cubicBezTo>
                <a:cubicBezTo>
                  <a:pt x="3342" y="850"/>
                  <a:pt x="3341" y="853"/>
                  <a:pt x="3342" y="853"/>
                </a:cubicBezTo>
                <a:cubicBezTo>
                  <a:pt x="3343" y="854"/>
                  <a:pt x="3344" y="854"/>
                  <a:pt x="3344" y="854"/>
                </a:cubicBezTo>
                <a:cubicBezTo>
                  <a:pt x="3345" y="854"/>
                  <a:pt x="3346" y="854"/>
                  <a:pt x="3346" y="854"/>
                </a:cubicBezTo>
                <a:cubicBezTo>
                  <a:pt x="3348" y="854"/>
                  <a:pt x="3349" y="853"/>
                  <a:pt x="3351" y="852"/>
                </a:cubicBezTo>
                <a:cubicBezTo>
                  <a:pt x="3352" y="851"/>
                  <a:pt x="3354" y="851"/>
                  <a:pt x="3354" y="849"/>
                </a:cubicBezTo>
                <a:cubicBezTo>
                  <a:pt x="3355" y="848"/>
                  <a:pt x="3354" y="848"/>
                  <a:pt x="3354" y="847"/>
                </a:cubicBezTo>
                <a:cubicBezTo>
                  <a:pt x="3353" y="846"/>
                  <a:pt x="3353" y="845"/>
                  <a:pt x="3353" y="844"/>
                </a:cubicBezTo>
                <a:cubicBezTo>
                  <a:pt x="3353" y="841"/>
                  <a:pt x="3353" y="838"/>
                  <a:pt x="3351" y="836"/>
                </a:cubicBezTo>
                <a:cubicBezTo>
                  <a:pt x="3350" y="835"/>
                  <a:pt x="3349" y="835"/>
                  <a:pt x="3348" y="834"/>
                </a:cubicBezTo>
                <a:cubicBezTo>
                  <a:pt x="3347" y="834"/>
                  <a:pt x="3345" y="834"/>
                  <a:pt x="3344" y="833"/>
                </a:cubicBezTo>
                <a:cubicBezTo>
                  <a:pt x="3343" y="833"/>
                  <a:pt x="3342" y="831"/>
                  <a:pt x="3343" y="830"/>
                </a:cubicBezTo>
                <a:cubicBezTo>
                  <a:pt x="3343" y="828"/>
                  <a:pt x="3343" y="827"/>
                  <a:pt x="3343" y="825"/>
                </a:cubicBezTo>
                <a:cubicBezTo>
                  <a:pt x="3343" y="824"/>
                  <a:pt x="3343" y="824"/>
                  <a:pt x="3343" y="823"/>
                </a:cubicBezTo>
                <a:cubicBezTo>
                  <a:pt x="3343" y="822"/>
                  <a:pt x="3343" y="820"/>
                  <a:pt x="3343" y="819"/>
                </a:cubicBezTo>
                <a:cubicBezTo>
                  <a:pt x="3343" y="818"/>
                  <a:pt x="3343" y="818"/>
                  <a:pt x="3343" y="817"/>
                </a:cubicBezTo>
                <a:cubicBezTo>
                  <a:pt x="3344" y="815"/>
                  <a:pt x="3345" y="814"/>
                  <a:pt x="3346" y="813"/>
                </a:cubicBezTo>
                <a:cubicBezTo>
                  <a:pt x="3347" y="812"/>
                  <a:pt x="3348" y="811"/>
                  <a:pt x="3349" y="810"/>
                </a:cubicBezTo>
                <a:cubicBezTo>
                  <a:pt x="3350" y="808"/>
                  <a:pt x="3355" y="804"/>
                  <a:pt x="3350" y="803"/>
                </a:cubicBezTo>
                <a:cubicBezTo>
                  <a:pt x="3350" y="803"/>
                  <a:pt x="3348" y="804"/>
                  <a:pt x="3348" y="803"/>
                </a:cubicBezTo>
                <a:cubicBezTo>
                  <a:pt x="3347" y="803"/>
                  <a:pt x="3346" y="803"/>
                  <a:pt x="3346" y="802"/>
                </a:cubicBezTo>
                <a:cubicBezTo>
                  <a:pt x="3345" y="802"/>
                  <a:pt x="3344" y="802"/>
                  <a:pt x="3344" y="801"/>
                </a:cubicBezTo>
                <a:cubicBezTo>
                  <a:pt x="3343" y="800"/>
                  <a:pt x="3341" y="799"/>
                  <a:pt x="3340" y="799"/>
                </a:cubicBezTo>
                <a:cubicBezTo>
                  <a:pt x="3339" y="800"/>
                  <a:pt x="3337" y="801"/>
                  <a:pt x="3337" y="802"/>
                </a:cubicBezTo>
                <a:cubicBezTo>
                  <a:pt x="3336" y="803"/>
                  <a:pt x="3337" y="806"/>
                  <a:pt x="3336" y="807"/>
                </a:cubicBezTo>
                <a:cubicBezTo>
                  <a:pt x="3334" y="808"/>
                  <a:pt x="3335" y="804"/>
                  <a:pt x="3334" y="804"/>
                </a:cubicBezTo>
                <a:cubicBezTo>
                  <a:pt x="3333" y="803"/>
                  <a:pt x="3332" y="803"/>
                  <a:pt x="3332" y="803"/>
                </a:cubicBezTo>
                <a:cubicBezTo>
                  <a:pt x="3331" y="802"/>
                  <a:pt x="3329" y="801"/>
                  <a:pt x="3328" y="801"/>
                </a:cubicBezTo>
                <a:cubicBezTo>
                  <a:pt x="3327" y="800"/>
                  <a:pt x="3327" y="798"/>
                  <a:pt x="3327" y="797"/>
                </a:cubicBezTo>
                <a:cubicBezTo>
                  <a:pt x="3327" y="795"/>
                  <a:pt x="3327" y="794"/>
                  <a:pt x="3328" y="792"/>
                </a:cubicBezTo>
                <a:cubicBezTo>
                  <a:pt x="3329" y="790"/>
                  <a:pt x="3329" y="789"/>
                  <a:pt x="3330" y="787"/>
                </a:cubicBezTo>
                <a:cubicBezTo>
                  <a:pt x="3331" y="786"/>
                  <a:pt x="3332" y="785"/>
                  <a:pt x="3333" y="783"/>
                </a:cubicBezTo>
                <a:cubicBezTo>
                  <a:pt x="3334" y="782"/>
                  <a:pt x="3335" y="780"/>
                  <a:pt x="3336" y="779"/>
                </a:cubicBezTo>
                <a:cubicBezTo>
                  <a:pt x="3337" y="778"/>
                  <a:pt x="3339" y="777"/>
                  <a:pt x="3340" y="777"/>
                </a:cubicBezTo>
                <a:cubicBezTo>
                  <a:pt x="3341" y="776"/>
                  <a:pt x="3342" y="774"/>
                  <a:pt x="3343" y="774"/>
                </a:cubicBezTo>
                <a:cubicBezTo>
                  <a:pt x="3345" y="773"/>
                  <a:pt x="3346" y="772"/>
                  <a:pt x="3347" y="771"/>
                </a:cubicBezTo>
                <a:cubicBezTo>
                  <a:pt x="3348" y="770"/>
                  <a:pt x="3348" y="770"/>
                  <a:pt x="3348" y="769"/>
                </a:cubicBezTo>
                <a:cubicBezTo>
                  <a:pt x="3347" y="769"/>
                  <a:pt x="3346" y="769"/>
                  <a:pt x="3346" y="768"/>
                </a:cubicBezTo>
                <a:cubicBezTo>
                  <a:pt x="3346" y="768"/>
                  <a:pt x="3346" y="767"/>
                  <a:pt x="3346" y="767"/>
                </a:cubicBezTo>
                <a:cubicBezTo>
                  <a:pt x="3347" y="766"/>
                  <a:pt x="3347" y="766"/>
                  <a:pt x="3348" y="767"/>
                </a:cubicBezTo>
                <a:cubicBezTo>
                  <a:pt x="3348" y="767"/>
                  <a:pt x="3351" y="768"/>
                  <a:pt x="3351" y="767"/>
                </a:cubicBezTo>
                <a:cubicBezTo>
                  <a:pt x="3352" y="767"/>
                  <a:pt x="3351" y="766"/>
                  <a:pt x="3351" y="766"/>
                </a:cubicBezTo>
                <a:cubicBezTo>
                  <a:pt x="3350" y="765"/>
                  <a:pt x="3350" y="765"/>
                  <a:pt x="3350" y="764"/>
                </a:cubicBezTo>
                <a:cubicBezTo>
                  <a:pt x="3349" y="761"/>
                  <a:pt x="3354" y="761"/>
                  <a:pt x="3353" y="758"/>
                </a:cubicBezTo>
                <a:cubicBezTo>
                  <a:pt x="3353" y="757"/>
                  <a:pt x="3352" y="757"/>
                  <a:pt x="3352" y="756"/>
                </a:cubicBezTo>
                <a:cubicBezTo>
                  <a:pt x="3351" y="755"/>
                  <a:pt x="3351" y="753"/>
                  <a:pt x="3352" y="752"/>
                </a:cubicBezTo>
                <a:cubicBezTo>
                  <a:pt x="3352" y="750"/>
                  <a:pt x="3353" y="749"/>
                  <a:pt x="3354" y="748"/>
                </a:cubicBezTo>
                <a:cubicBezTo>
                  <a:pt x="3355" y="746"/>
                  <a:pt x="3355" y="745"/>
                  <a:pt x="3357" y="744"/>
                </a:cubicBezTo>
                <a:cubicBezTo>
                  <a:pt x="3358" y="744"/>
                  <a:pt x="3359" y="744"/>
                  <a:pt x="3360" y="743"/>
                </a:cubicBezTo>
                <a:cubicBezTo>
                  <a:pt x="3361" y="743"/>
                  <a:pt x="3363" y="742"/>
                  <a:pt x="3363" y="742"/>
                </a:cubicBezTo>
                <a:cubicBezTo>
                  <a:pt x="3362" y="741"/>
                  <a:pt x="3361" y="742"/>
                  <a:pt x="3361" y="741"/>
                </a:cubicBezTo>
                <a:cubicBezTo>
                  <a:pt x="3360" y="741"/>
                  <a:pt x="3360" y="740"/>
                  <a:pt x="3361" y="740"/>
                </a:cubicBezTo>
                <a:cubicBezTo>
                  <a:pt x="3361" y="740"/>
                  <a:pt x="3362" y="740"/>
                  <a:pt x="3363" y="740"/>
                </a:cubicBezTo>
                <a:cubicBezTo>
                  <a:pt x="3364" y="740"/>
                  <a:pt x="3364" y="740"/>
                  <a:pt x="3365" y="740"/>
                </a:cubicBezTo>
                <a:cubicBezTo>
                  <a:pt x="3366" y="740"/>
                  <a:pt x="3366" y="740"/>
                  <a:pt x="3367" y="741"/>
                </a:cubicBezTo>
                <a:cubicBezTo>
                  <a:pt x="3368" y="741"/>
                  <a:pt x="3369" y="741"/>
                  <a:pt x="3369" y="741"/>
                </a:cubicBezTo>
                <a:cubicBezTo>
                  <a:pt x="3370" y="743"/>
                  <a:pt x="3367" y="743"/>
                  <a:pt x="3367" y="744"/>
                </a:cubicBezTo>
                <a:cubicBezTo>
                  <a:pt x="3368" y="745"/>
                  <a:pt x="3369" y="746"/>
                  <a:pt x="3370" y="746"/>
                </a:cubicBezTo>
                <a:cubicBezTo>
                  <a:pt x="3370" y="745"/>
                  <a:pt x="3370" y="745"/>
                  <a:pt x="3370" y="744"/>
                </a:cubicBezTo>
                <a:cubicBezTo>
                  <a:pt x="3370" y="744"/>
                  <a:pt x="3370" y="743"/>
                  <a:pt x="3371" y="743"/>
                </a:cubicBezTo>
                <a:cubicBezTo>
                  <a:pt x="3372" y="742"/>
                  <a:pt x="3372" y="740"/>
                  <a:pt x="3374" y="740"/>
                </a:cubicBezTo>
                <a:cubicBezTo>
                  <a:pt x="3375" y="740"/>
                  <a:pt x="3375" y="740"/>
                  <a:pt x="3376" y="740"/>
                </a:cubicBezTo>
                <a:cubicBezTo>
                  <a:pt x="3377" y="740"/>
                  <a:pt x="3377" y="739"/>
                  <a:pt x="3378" y="739"/>
                </a:cubicBezTo>
                <a:cubicBezTo>
                  <a:pt x="3380" y="739"/>
                  <a:pt x="3379" y="742"/>
                  <a:pt x="3380" y="743"/>
                </a:cubicBezTo>
                <a:cubicBezTo>
                  <a:pt x="3381" y="743"/>
                  <a:pt x="3382" y="744"/>
                  <a:pt x="3382" y="744"/>
                </a:cubicBezTo>
                <a:cubicBezTo>
                  <a:pt x="3383" y="745"/>
                  <a:pt x="3383" y="745"/>
                  <a:pt x="3383" y="746"/>
                </a:cubicBezTo>
                <a:cubicBezTo>
                  <a:pt x="3383" y="747"/>
                  <a:pt x="3385" y="748"/>
                  <a:pt x="3386" y="747"/>
                </a:cubicBezTo>
                <a:cubicBezTo>
                  <a:pt x="3387" y="746"/>
                  <a:pt x="3387" y="744"/>
                  <a:pt x="3389" y="743"/>
                </a:cubicBezTo>
                <a:cubicBezTo>
                  <a:pt x="3389" y="743"/>
                  <a:pt x="3390" y="743"/>
                  <a:pt x="3390" y="742"/>
                </a:cubicBezTo>
                <a:cubicBezTo>
                  <a:pt x="3390" y="741"/>
                  <a:pt x="3389" y="740"/>
                  <a:pt x="3390" y="739"/>
                </a:cubicBezTo>
                <a:cubicBezTo>
                  <a:pt x="3391" y="739"/>
                  <a:pt x="3391" y="739"/>
                  <a:pt x="3392" y="739"/>
                </a:cubicBezTo>
                <a:cubicBezTo>
                  <a:pt x="3393" y="738"/>
                  <a:pt x="3394" y="736"/>
                  <a:pt x="3395" y="736"/>
                </a:cubicBezTo>
                <a:cubicBezTo>
                  <a:pt x="3397" y="736"/>
                  <a:pt x="3398" y="735"/>
                  <a:pt x="3399" y="734"/>
                </a:cubicBezTo>
                <a:cubicBezTo>
                  <a:pt x="3400" y="733"/>
                  <a:pt x="3402" y="733"/>
                  <a:pt x="3403" y="733"/>
                </a:cubicBezTo>
                <a:cubicBezTo>
                  <a:pt x="3404" y="732"/>
                  <a:pt x="3405" y="731"/>
                  <a:pt x="3407" y="730"/>
                </a:cubicBezTo>
                <a:cubicBezTo>
                  <a:pt x="3408" y="730"/>
                  <a:pt x="3409" y="730"/>
                  <a:pt x="3410" y="729"/>
                </a:cubicBezTo>
                <a:cubicBezTo>
                  <a:pt x="3411" y="728"/>
                  <a:pt x="3411" y="728"/>
                  <a:pt x="3412" y="728"/>
                </a:cubicBezTo>
                <a:cubicBezTo>
                  <a:pt x="3413" y="727"/>
                  <a:pt x="3413" y="727"/>
                  <a:pt x="3413" y="728"/>
                </a:cubicBezTo>
                <a:cubicBezTo>
                  <a:pt x="3413" y="730"/>
                  <a:pt x="3410" y="729"/>
                  <a:pt x="3411" y="731"/>
                </a:cubicBezTo>
                <a:cubicBezTo>
                  <a:pt x="3411" y="732"/>
                  <a:pt x="3412" y="732"/>
                  <a:pt x="3412" y="733"/>
                </a:cubicBezTo>
                <a:cubicBezTo>
                  <a:pt x="3412" y="733"/>
                  <a:pt x="3412" y="734"/>
                  <a:pt x="3411" y="735"/>
                </a:cubicBezTo>
                <a:cubicBezTo>
                  <a:pt x="3411" y="735"/>
                  <a:pt x="3410" y="735"/>
                  <a:pt x="3410" y="736"/>
                </a:cubicBezTo>
                <a:cubicBezTo>
                  <a:pt x="3410" y="737"/>
                  <a:pt x="3410" y="738"/>
                  <a:pt x="3410" y="738"/>
                </a:cubicBezTo>
                <a:cubicBezTo>
                  <a:pt x="3409" y="740"/>
                  <a:pt x="3408" y="741"/>
                  <a:pt x="3408" y="742"/>
                </a:cubicBezTo>
                <a:cubicBezTo>
                  <a:pt x="3408" y="743"/>
                  <a:pt x="3408" y="743"/>
                  <a:pt x="3409" y="744"/>
                </a:cubicBezTo>
                <a:cubicBezTo>
                  <a:pt x="3409" y="745"/>
                  <a:pt x="3409" y="746"/>
                  <a:pt x="3409" y="746"/>
                </a:cubicBezTo>
                <a:cubicBezTo>
                  <a:pt x="3411" y="748"/>
                  <a:pt x="3414" y="744"/>
                  <a:pt x="3415" y="743"/>
                </a:cubicBezTo>
                <a:cubicBezTo>
                  <a:pt x="3416" y="742"/>
                  <a:pt x="3417" y="742"/>
                  <a:pt x="3418" y="740"/>
                </a:cubicBezTo>
                <a:cubicBezTo>
                  <a:pt x="3419" y="739"/>
                  <a:pt x="3420" y="738"/>
                  <a:pt x="3421" y="737"/>
                </a:cubicBezTo>
                <a:cubicBezTo>
                  <a:pt x="3422" y="737"/>
                  <a:pt x="3423" y="736"/>
                  <a:pt x="3424" y="734"/>
                </a:cubicBezTo>
                <a:cubicBezTo>
                  <a:pt x="3425" y="733"/>
                  <a:pt x="3426" y="732"/>
                  <a:pt x="3427" y="731"/>
                </a:cubicBezTo>
                <a:cubicBezTo>
                  <a:pt x="3429" y="731"/>
                  <a:pt x="3430" y="731"/>
                  <a:pt x="3431" y="731"/>
                </a:cubicBezTo>
                <a:cubicBezTo>
                  <a:pt x="3433" y="730"/>
                  <a:pt x="3434" y="729"/>
                  <a:pt x="3435" y="728"/>
                </a:cubicBezTo>
                <a:cubicBezTo>
                  <a:pt x="3436" y="727"/>
                  <a:pt x="3438" y="727"/>
                  <a:pt x="3439" y="727"/>
                </a:cubicBezTo>
                <a:cubicBezTo>
                  <a:pt x="3440" y="726"/>
                  <a:pt x="3441" y="726"/>
                  <a:pt x="3442" y="725"/>
                </a:cubicBezTo>
                <a:cubicBezTo>
                  <a:pt x="3444" y="724"/>
                  <a:pt x="3446" y="725"/>
                  <a:pt x="3448" y="725"/>
                </a:cubicBezTo>
                <a:cubicBezTo>
                  <a:pt x="3450" y="725"/>
                  <a:pt x="3451" y="724"/>
                  <a:pt x="3453" y="724"/>
                </a:cubicBezTo>
                <a:cubicBezTo>
                  <a:pt x="3456" y="724"/>
                  <a:pt x="3459" y="724"/>
                  <a:pt x="3462" y="724"/>
                </a:cubicBezTo>
                <a:cubicBezTo>
                  <a:pt x="3464" y="723"/>
                  <a:pt x="3468" y="722"/>
                  <a:pt x="3470" y="724"/>
                </a:cubicBezTo>
                <a:cubicBezTo>
                  <a:pt x="3471" y="725"/>
                  <a:pt x="3472" y="726"/>
                  <a:pt x="3473" y="726"/>
                </a:cubicBezTo>
                <a:cubicBezTo>
                  <a:pt x="3475" y="726"/>
                  <a:pt x="3476" y="727"/>
                  <a:pt x="3477" y="728"/>
                </a:cubicBezTo>
                <a:cubicBezTo>
                  <a:pt x="3478" y="728"/>
                  <a:pt x="3479" y="729"/>
                  <a:pt x="3479" y="730"/>
                </a:cubicBezTo>
                <a:cubicBezTo>
                  <a:pt x="3480" y="732"/>
                  <a:pt x="3480" y="733"/>
                  <a:pt x="3482" y="733"/>
                </a:cubicBezTo>
                <a:cubicBezTo>
                  <a:pt x="3482" y="734"/>
                  <a:pt x="3483" y="734"/>
                  <a:pt x="3483" y="735"/>
                </a:cubicBezTo>
                <a:cubicBezTo>
                  <a:pt x="3483" y="735"/>
                  <a:pt x="3482" y="736"/>
                  <a:pt x="3482" y="737"/>
                </a:cubicBezTo>
                <a:cubicBezTo>
                  <a:pt x="3482" y="738"/>
                  <a:pt x="3484" y="738"/>
                  <a:pt x="3485" y="739"/>
                </a:cubicBezTo>
                <a:cubicBezTo>
                  <a:pt x="3485" y="739"/>
                  <a:pt x="3486" y="740"/>
                  <a:pt x="3486" y="741"/>
                </a:cubicBezTo>
                <a:cubicBezTo>
                  <a:pt x="3487" y="741"/>
                  <a:pt x="3487" y="741"/>
                  <a:pt x="3488" y="742"/>
                </a:cubicBezTo>
                <a:cubicBezTo>
                  <a:pt x="3489" y="742"/>
                  <a:pt x="3490" y="744"/>
                  <a:pt x="3491" y="744"/>
                </a:cubicBezTo>
                <a:cubicBezTo>
                  <a:pt x="3493" y="745"/>
                  <a:pt x="3493" y="743"/>
                  <a:pt x="3494" y="741"/>
                </a:cubicBezTo>
                <a:cubicBezTo>
                  <a:pt x="3494" y="741"/>
                  <a:pt x="3494" y="740"/>
                  <a:pt x="3494" y="739"/>
                </a:cubicBezTo>
                <a:cubicBezTo>
                  <a:pt x="3494" y="738"/>
                  <a:pt x="3494" y="738"/>
                  <a:pt x="3495" y="737"/>
                </a:cubicBezTo>
                <a:cubicBezTo>
                  <a:pt x="3496" y="736"/>
                  <a:pt x="3495" y="734"/>
                  <a:pt x="3496" y="733"/>
                </a:cubicBezTo>
                <a:cubicBezTo>
                  <a:pt x="3497" y="733"/>
                  <a:pt x="3498" y="733"/>
                  <a:pt x="3498" y="732"/>
                </a:cubicBezTo>
                <a:cubicBezTo>
                  <a:pt x="3499" y="732"/>
                  <a:pt x="3499" y="731"/>
                  <a:pt x="3498" y="731"/>
                </a:cubicBezTo>
                <a:cubicBezTo>
                  <a:pt x="3498" y="731"/>
                  <a:pt x="3498" y="731"/>
                  <a:pt x="3498" y="730"/>
                </a:cubicBezTo>
                <a:cubicBezTo>
                  <a:pt x="3498" y="730"/>
                  <a:pt x="3498" y="730"/>
                  <a:pt x="3498" y="729"/>
                </a:cubicBezTo>
                <a:cubicBezTo>
                  <a:pt x="3498" y="729"/>
                  <a:pt x="3499" y="729"/>
                  <a:pt x="3500" y="728"/>
                </a:cubicBezTo>
                <a:cubicBezTo>
                  <a:pt x="3502" y="728"/>
                  <a:pt x="3503" y="726"/>
                  <a:pt x="3504" y="726"/>
                </a:cubicBezTo>
                <a:cubicBezTo>
                  <a:pt x="3507" y="725"/>
                  <a:pt x="3510" y="726"/>
                  <a:pt x="3511" y="723"/>
                </a:cubicBezTo>
                <a:cubicBezTo>
                  <a:pt x="3512" y="721"/>
                  <a:pt x="3513" y="720"/>
                  <a:pt x="3515" y="719"/>
                </a:cubicBezTo>
                <a:cubicBezTo>
                  <a:pt x="3519" y="718"/>
                  <a:pt x="3523" y="718"/>
                  <a:pt x="3526" y="715"/>
                </a:cubicBezTo>
                <a:cubicBezTo>
                  <a:pt x="3526" y="715"/>
                  <a:pt x="3527" y="714"/>
                  <a:pt x="3528" y="714"/>
                </a:cubicBezTo>
                <a:cubicBezTo>
                  <a:pt x="3528" y="713"/>
                  <a:pt x="3528" y="713"/>
                  <a:pt x="3528" y="712"/>
                </a:cubicBezTo>
                <a:cubicBezTo>
                  <a:pt x="3528" y="709"/>
                  <a:pt x="3531" y="710"/>
                  <a:pt x="3533" y="710"/>
                </a:cubicBezTo>
                <a:cubicBezTo>
                  <a:pt x="3533" y="710"/>
                  <a:pt x="3535" y="710"/>
                  <a:pt x="3534" y="709"/>
                </a:cubicBezTo>
                <a:cubicBezTo>
                  <a:pt x="3534" y="708"/>
                  <a:pt x="3533" y="708"/>
                  <a:pt x="3533" y="708"/>
                </a:cubicBezTo>
                <a:cubicBezTo>
                  <a:pt x="3531" y="707"/>
                  <a:pt x="3533" y="705"/>
                  <a:pt x="3534" y="705"/>
                </a:cubicBezTo>
                <a:cubicBezTo>
                  <a:pt x="3535" y="705"/>
                  <a:pt x="3536" y="705"/>
                  <a:pt x="3537" y="705"/>
                </a:cubicBezTo>
                <a:cubicBezTo>
                  <a:pt x="3538" y="704"/>
                  <a:pt x="3538" y="703"/>
                  <a:pt x="3538" y="703"/>
                </a:cubicBezTo>
                <a:cubicBezTo>
                  <a:pt x="3539" y="702"/>
                  <a:pt x="3540" y="702"/>
                  <a:pt x="3541" y="702"/>
                </a:cubicBezTo>
                <a:cubicBezTo>
                  <a:pt x="3541" y="702"/>
                  <a:pt x="3542" y="703"/>
                  <a:pt x="3543" y="702"/>
                </a:cubicBezTo>
                <a:cubicBezTo>
                  <a:pt x="3543" y="702"/>
                  <a:pt x="3543" y="701"/>
                  <a:pt x="3542" y="700"/>
                </a:cubicBezTo>
                <a:cubicBezTo>
                  <a:pt x="3542" y="700"/>
                  <a:pt x="3539" y="698"/>
                  <a:pt x="3541" y="697"/>
                </a:cubicBezTo>
                <a:cubicBezTo>
                  <a:pt x="3542" y="697"/>
                  <a:pt x="3542" y="698"/>
                  <a:pt x="3543" y="698"/>
                </a:cubicBezTo>
                <a:cubicBezTo>
                  <a:pt x="3543" y="699"/>
                  <a:pt x="3544" y="699"/>
                  <a:pt x="3545" y="699"/>
                </a:cubicBezTo>
                <a:cubicBezTo>
                  <a:pt x="3546" y="698"/>
                  <a:pt x="3547" y="697"/>
                  <a:pt x="3548" y="697"/>
                </a:cubicBezTo>
                <a:cubicBezTo>
                  <a:pt x="3550" y="697"/>
                  <a:pt x="3551" y="697"/>
                  <a:pt x="3552" y="696"/>
                </a:cubicBezTo>
                <a:cubicBezTo>
                  <a:pt x="3554" y="695"/>
                  <a:pt x="3555" y="694"/>
                  <a:pt x="3555" y="692"/>
                </a:cubicBezTo>
                <a:cubicBezTo>
                  <a:pt x="3555" y="691"/>
                  <a:pt x="3555" y="689"/>
                  <a:pt x="3557" y="689"/>
                </a:cubicBezTo>
                <a:cubicBezTo>
                  <a:pt x="3558" y="690"/>
                  <a:pt x="3559" y="690"/>
                  <a:pt x="3560" y="690"/>
                </a:cubicBezTo>
                <a:cubicBezTo>
                  <a:pt x="3561" y="689"/>
                  <a:pt x="3562" y="688"/>
                  <a:pt x="3563" y="687"/>
                </a:cubicBezTo>
                <a:cubicBezTo>
                  <a:pt x="3564" y="687"/>
                  <a:pt x="3566" y="687"/>
                  <a:pt x="3567" y="687"/>
                </a:cubicBezTo>
                <a:cubicBezTo>
                  <a:pt x="3570" y="687"/>
                  <a:pt x="3572" y="689"/>
                  <a:pt x="3575" y="687"/>
                </a:cubicBezTo>
                <a:cubicBezTo>
                  <a:pt x="3575" y="686"/>
                  <a:pt x="3576" y="686"/>
                  <a:pt x="3576" y="686"/>
                </a:cubicBezTo>
                <a:cubicBezTo>
                  <a:pt x="3577" y="686"/>
                  <a:pt x="3578" y="686"/>
                  <a:pt x="3578" y="685"/>
                </a:cubicBezTo>
                <a:cubicBezTo>
                  <a:pt x="3578" y="684"/>
                  <a:pt x="3577" y="684"/>
                  <a:pt x="3577" y="683"/>
                </a:cubicBezTo>
                <a:cubicBezTo>
                  <a:pt x="3576" y="682"/>
                  <a:pt x="3577" y="682"/>
                  <a:pt x="3578" y="682"/>
                </a:cubicBezTo>
                <a:cubicBezTo>
                  <a:pt x="3579" y="681"/>
                  <a:pt x="3581" y="682"/>
                  <a:pt x="3582" y="682"/>
                </a:cubicBezTo>
                <a:cubicBezTo>
                  <a:pt x="3584" y="681"/>
                  <a:pt x="3586" y="681"/>
                  <a:pt x="3587" y="680"/>
                </a:cubicBezTo>
                <a:cubicBezTo>
                  <a:pt x="3589" y="679"/>
                  <a:pt x="3589" y="677"/>
                  <a:pt x="3591" y="676"/>
                </a:cubicBezTo>
                <a:cubicBezTo>
                  <a:pt x="3592" y="675"/>
                  <a:pt x="3595" y="674"/>
                  <a:pt x="3597" y="674"/>
                </a:cubicBezTo>
                <a:cubicBezTo>
                  <a:pt x="3599" y="673"/>
                  <a:pt x="3601" y="672"/>
                  <a:pt x="3603" y="671"/>
                </a:cubicBezTo>
                <a:cubicBezTo>
                  <a:pt x="3604" y="670"/>
                  <a:pt x="3605" y="670"/>
                  <a:pt x="3606" y="669"/>
                </a:cubicBezTo>
                <a:cubicBezTo>
                  <a:pt x="3608" y="668"/>
                  <a:pt x="3610" y="668"/>
                  <a:pt x="3611" y="667"/>
                </a:cubicBezTo>
                <a:cubicBezTo>
                  <a:pt x="3613" y="667"/>
                  <a:pt x="3615" y="666"/>
                  <a:pt x="3616" y="666"/>
                </a:cubicBezTo>
                <a:cubicBezTo>
                  <a:pt x="3618" y="665"/>
                  <a:pt x="3619" y="665"/>
                  <a:pt x="3621" y="665"/>
                </a:cubicBezTo>
                <a:cubicBezTo>
                  <a:pt x="3622" y="665"/>
                  <a:pt x="3623" y="665"/>
                  <a:pt x="3624" y="665"/>
                </a:cubicBezTo>
                <a:cubicBezTo>
                  <a:pt x="3625" y="664"/>
                  <a:pt x="3625" y="664"/>
                  <a:pt x="3624" y="664"/>
                </a:cubicBezTo>
                <a:cubicBezTo>
                  <a:pt x="3623" y="663"/>
                  <a:pt x="3621" y="662"/>
                  <a:pt x="3622" y="661"/>
                </a:cubicBezTo>
                <a:cubicBezTo>
                  <a:pt x="3622" y="660"/>
                  <a:pt x="3623" y="660"/>
                  <a:pt x="3623" y="659"/>
                </a:cubicBezTo>
                <a:cubicBezTo>
                  <a:pt x="3623" y="659"/>
                  <a:pt x="3623" y="659"/>
                  <a:pt x="3623" y="658"/>
                </a:cubicBezTo>
                <a:cubicBezTo>
                  <a:pt x="3623" y="658"/>
                  <a:pt x="3624" y="658"/>
                  <a:pt x="3624" y="658"/>
                </a:cubicBezTo>
                <a:cubicBezTo>
                  <a:pt x="3624" y="657"/>
                  <a:pt x="3622" y="657"/>
                  <a:pt x="3623" y="656"/>
                </a:cubicBezTo>
                <a:cubicBezTo>
                  <a:pt x="3623" y="655"/>
                  <a:pt x="3624" y="657"/>
                  <a:pt x="3624" y="657"/>
                </a:cubicBezTo>
                <a:cubicBezTo>
                  <a:pt x="3625" y="657"/>
                  <a:pt x="3627" y="657"/>
                  <a:pt x="3628" y="657"/>
                </a:cubicBezTo>
                <a:cubicBezTo>
                  <a:pt x="3629" y="657"/>
                  <a:pt x="3629" y="657"/>
                  <a:pt x="3630" y="657"/>
                </a:cubicBezTo>
                <a:cubicBezTo>
                  <a:pt x="3630" y="657"/>
                  <a:pt x="3632" y="656"/>
                  <a:pt x="3631" y="657"/>
                </a:cubicBezTo>
                <a:cubicBezTo>
                  <a:pt x="3631" y="657"/>
                  <a:pt x="3630" y="658"/>
                  <a:pt x="3630" y="658"/>
                </a:cubicBezTo>
                <a:cubicBezTo>
                  <a:pt x="3629" y="658"/>
                  <a:pt x="3629" y="659"/>
                  <a:pt x="3629" y="659"/>
                </a:cubicBezTo>
                <a:cubicBezTo>
                  <a:pt x="3628" y="661"/>
                  <a:pt x="3628" y="662"/>
                  <a:pt x="3627" y="662"/>
                </a:cubicBezTo>
                <a:cubicBezTo>
                  <a:pt x="3626" y="662"/>
                  <a:pt x="3625" y="662"/>
                  <a:pt x="3626" y="663"/>
                </a:cubicBezTo>
                <a:cubicBezTo>
                  <a:pt x="3626" y="663"/>
                  <a:pt x="3627" y="664"/>
                  <a:pt x="3627" y="664"/>
                </a:cubicBezTo>
                <a:cubicBezTo>
                  <a:pt x="3628" y="664"/>
                  <a:pt x="3628" y="663"/>
                  <a:pt x="3629" y="663"/>
                </a:cubicBezTo>
                <a:cubicBezTo>
                  <a:pt x="3630" y="663"/>
                  <a:pt x="3629" y="664"/>
                  <a:pt x="3630" y="664"/>
                </a:cubicBezTo>
                <a:cubicBezTo>
                  <a:pt x="3631" y="665"/>
                  <a:pt x="3633" y="664"/>
                  <a:pt x="3634" y="664"/>
                </a:cubicBezTo>
                <a:cubicBezTo>
                  <a:pt x="3636" y="664"/>
                  <a:pt x="3637" y="664"/>
                  <a:pt x="3639" y="664"/>
                </a:cubicBezTo>
                <a:cubicBezTo>
                  <a:pt x="3641" y="664"/>
                  <a:pt x="3642" y="665"/>
                  <a:pt x="3643" y="665"/>
                </a:cubicBezTo>
                <a:cubicBezTo>
                  <a:pt x="3645" y="665"/>
                  <a:pt x="3646" y="665"/>
                  <a:pt x="3647" y="666"/>
                </a:cubicBezTo>
                <a:cubicBezTo>
                  <a:pt x="3649" y="667"/>
                  <a:pt x="3650" y="667"/>
                  <a:pt x="3652" y="668"/>
                </a:cubicBezTo>
                <a:cubicBezTo>
                  <a:pt x="3653" y="668"/>
                  <a:pt x="3654" y="669"/>
                  <a:pt x="3656" y="669"/>
                </a:cubicBezTo>
                <a:cubicBezTo>
                  <a:pt x="3657" y="669"/>
                  <a:pt x="3658" y="670"/>
                  <a:pt x="3660" y="670"/>
                </a:cubicBezTo>
                <a:cubicBezTo>
                  <a:pt x="3660" y="670"/>
                  <a:pt x="3661" y="671"/>
                  <a:pt x="3661" y="671"/>
                </a:cubicBezTo>
                <a:cubicBezTo>
                  <a:pt x="3662" y="672"/>
                  <a:pt x="3662" y="672"/>
                  <a:pt x="3663" y="672"/>
                </a:cubicBezTo>
                <a:cubicBezTo>
                  <a:pt x="3667" y="674"/>
                  <a:pt x="3665" y="668"/>
                  <a:pt x="3667" y="666"/>
                </a:cubicBezTo>
                <a:cubicBezTo>
                  <a:pt x="3668" y="666"/>
                  <a:pt x="3669" y="666"/>
                  <a:pt x="3669" y="665"/>
                </a:cubicBezTo>
                <a:cubicBezTo>
                  <a:pt x="3670" y="665"/>
                  <a:pt x="3670" y="664"/>
                  <a:pt x="3671" y="664"/>
                </a:cubicBezTo>
                <a:cubicBezTo>
                  <a:pt x="3672" y="663"/>
                  <a:pt x="3674" y="663"/>
                  <a:pt x="3674" y="661"/>
                </a:cubicBezTo>
                <a:cubicBezTo>
                  <a:pt x="3675" y="658"/>
                  <a:pt x="3673" y="655"/>
                  <a:pt x="3671" y="654"/>
                </a:cubicBezTo>
                <a:cubicBezTo>
                  <a:pt x="3670" y="654"/>
                  <a:pt x="3668" y="653"/>
                  <a:pt x="3669" y="651"/>
                </a:cubicBezTo>
                <a:cubicBezTo>
                  <a:pt x="3669" y="650"/>
                  <a:pt x="3671" y="650"/>
                  <a:pt x="3671" y="648"/>
                </a:cubicBezTo>
                <a:cubicBezTo>
                  <a:pt x="3671" y="647"/>
                  <a:pt x="3670" y="645"/>
                  <a:pt x="3669" y="644"/>
                </a:cubicBezTo>
                <a:cubicBezTo>
                  <a:pt x="3669" y="643"/>
                  <a:pt x="3667" y="643"/>
                  <a:pt x="3666" y="643"/>
                </a:cubicBezTo>
                <a:cubicBezTo>
                  <a:pt x="3665" y="642"/>
                  <a:pt x="3664" y="642"/>
                  <a:pt x="3663" y="642"/>
                </a:cubicBezTo>
                <a:cubicBezTo>
                  <a:pt x="3662" y="641"/>
                  <a:pt x="3662" y="640"/>
                  <a:pt x="3662" y="639"/>
                </a:cubicBezTo>
                <a:cubicBezTo>
                  <a:pt x="3661" y="638"/>
                  <a:pt x="3660" y="638"/>
                  <a:pt x="3660" y="637"/>
                </a:cubicBezTo>
                <a:cubicBezTo>
                  <a:pt x="3659" y="636"/>
                  <a:pt x="3659" y="635"/>
                  <a:pt x="3659" y="634"/>
                </a:cubicBezTo>
                <a:cubicBezTo>
                  <a:pt x="3658" y="633"/>
                  <a:pt x="3658" y="633"/>
                  <a:pt x="3658" y="634"/>
                </a:cubicBezTo>
                <a:cubicBezTo>
                  <a:pt x="3658" y="635"/>
                  <a:pt x="3658" y="635"/>
                  <a:pt x="3658" y="636"/>
                </a:cubicBezTo>
                <a:cubicBezTo>
                  <a:pt x="3658" y="637"/>
                  <a:pt x="3659" y="637"/>
                  <a:pt x="3658" y="638"/>
                </a:cubicBezTo>
                <a:cubicBezTo>
                  <a:pt x="3657" y="638"/>
                  <a:pt x="3657" y="638"/>
                  <a:pt x="3656" y="638"/>
                </a:cubicBezTo>
                <a:cubicBezTo>
                  <a:pt x="3656" y="637"/>
                  <a:pt x="3657" y="636"/>
                  <a:pt x="3657" y="636"/>
                </a:cubicBezTo>
                <a:cubicBezTo>
                  <a:pt x="3657" y="635"/>
                  <a:pt x="3657" y="634"/>
                  <a:pt x="3657" y="633"/>
                </a:cubicBezTo>
                <a:cubicBezTo>
                  <a:pt x="3657" y="633"/>
                  <a:pt x="3656" y="633"/>
                  <a:pt x="3655" y="633"/>
                </a:cubicBezTo>
                <a:cubicBezTo>
                  <a:pt x="3655" y="633"/>
                  <a:pt x="3654" y="633"/>
                  <a:pt x="3653" y="633"/>
                </a:cubicBezTo>
                <a:cubicBezTo>
                  <a:pt x="3653" y="633"/>
                  <a:pt x="3652" y="634"/>
                  <a:pt x="3651" y="634"/>
                </a:cubicBezTo>
                <a:cubicBezTo>
                  <a:pt x="3651" y="634"/>
                  <a:pt x="3650" y="634"/>
                  <a:pt x="3650" y="633"/>
                </a:cubicBezTo>
                <a:cubicBezTo>
                  <a:pt x="3650" y="633"/>
                  <a:pt x="3650" y="633"/>
                  <a:pt x="3650" y="632"/>
                </a:cubicBezTo>
                <a:cubicBezTo>
                  <a:pt x="3650" y="632"/>
                  <a:pt x="3650" y="632"/>
                  <a:pt x="3651" y="631"/>
                </a:cubicBezTo>
                <a:cubicBezTo>
                  <a:pt x="3651" y="631"/>
                  <a:pt x="3652" y="631"/>
                  <a:pt x="3652" y="631"/>
                </a:cubicBezTo>
                <a:cubicBezTo>
                  <a:pt x="3654" y="632"/>
                  <a:pt x="3655" y="633"/>
                  <a:pt x="3656" y="632"/>
                </a:cubicBezTo>
                <a:cubicBezTo>
                  <a:pt x="3657" y="631"/>
                  <a:pt x="3657" y="631"/>
                  <a:pt x="3657" y="631"/>
                </a:cubicBezTo>
                <a:cubicBezTo>
                  <a:pt x="3657" y="631"/>
                  <a:pt x="3658" y="631"/>
                  <a:pt x="3658" y="630"/>
                </a:cubicBezTo>
                <a:cubicBezTo>
                  <a:pt x="3659" y="629"/>
                  <a:pt x="3658" y="628"/>
                  <a:pt x="3657" y="627"/>
                </a:cubicBezTo>
                <a:cubicBezTo>
                  <a:pt x="3657" y="626"/>
                  <a:pt x="3656" y="625"/>
                  <a:pt x="3656" y="624"/>
                </a:cubicBezTo>
                <a:cubicBezTo>
                  <a:pt x="3656" y="622"/>
                  <a:pt x="3657" y="621"/>
                  <a:pt x="3655" y="620"/>
                </a:cubicBezTo>
                <a:cubicBezTo>
                  <a:pt x="3653" y="620"/>
                  <a:pt x="3654" y="618"/>
                  <a:pt x="3654" y="617"/>
                </a:cubicBezTo>
                <a:cubicBezTo>
                  <a:pt x="3653" y="616"/>
                  <a:pt x="3652" y="615"/>
                  <a:pt x="3651" y="614"/>
                </a:cubicBezTo>
                <a:cubicBezTo>
                  <a:pt x="3651" y="613"/>
                  <a:pt x="3651" y="612"/>
                  <a:pt x="3650" y="610"/>
                </a:cubicBezTo>
                <a:cubicBezTo>
                  <a:pt x="3649" y="609"/>
                  <a:pt x="3648" y="608"/>
                  <a:pt x="3647" y="610"/>
                </a:cubicBezTo>
                <a:cubicBezTo>
                  <a:pt x="3646" y="611"/>
                  <a:pt x="3646" y="612"/>
                  <a:pt x="3644" y="613"/>
                </a:cubicBezTo>
                <a:cubicBezTo>
                  <a:pt x="3643" y="613"/>
                  <a:pt x="3641" y="612"/>
                  <a:pt x="3640" y="611"/>
                </a:cubicBezTo>
                <a:cubicBezTo>
                  <a:pt x="3639" y="611"/>
                  <a:pt x="3638" y="610"/>
                  <a:pt x="3636" y="609"/>
                </a:cubicBezTo>
                <a:cubicBezTo>
                  <a:pt x="3635" y="609"/>
                  <a:pt x="3634" y="608"/>
                  <a:pt x="3633" y="607"/>
                </a:cubicBezTo>
                <a:cubicBezTo>
                  <a:pt x="3632" y="604"/>
                  <a:pt x="3633" y="601"/>
                  <a:pt x="3632" y="598"/>
                </a:cubicBezTo>
                <a:cubicBezTo>
                  <a:pt x="3632" y="598"/>
                  <a:pt x="3631" y="597"/>
                  <a:pt x="3631" y="597"/>
                </a:cubicBezTo>
                <a:cubicBezTo>
                  <a:pt x="3631" y="596"/>
                  <a:pt x="3630" y="595"/>
                  <a:pt x="3630" y="595"/>
                </a:cubicBezTo>
                <a:cubicBezTo>
                  <a:pt x="3629" y="594"/>
                  <a:pt x="3628" y="595"/>
                  <a:pt x="3627" y="596"/>
                </a:cubicBezTo>
                <a:cubicBezTo>
                  <a:pt x="3626" y="596"/>
                  <a:pt x="3625" y="596"/>
                  <a:pt x="3624" y="596"/>
                </a:cubicBezTo>
                <a:cubicBezTo>
                  <a:pt x="3624" y="596"/>
                  <a:pt x="3623" y="597"/>
                  <a:pt x="3623" y="597"/>
                </a:cubicBezTo>
                <a:cubicBezTo>
                  <a:pt x="3621" y="597"/>
                  <a:pt x="3620" y="598"/>
                  <a:pt x="3619" y="598"/>
                </a:cubicBezTo>
                <a:cubicBezTo>
                  <a:pt x="3617" y="598"/>
                  <a:pt x="3615" y="597"/>
                  <a:pt x="3613" y="597"/>
                </a:cubicBezTo>
                <a:cubicBezTo>
                  <a:pt x="3612" y="598"/>
                  <a:pt x="3611" y="598"/>
                  <a:pt x="3611" y="599"/>
                </a:cubicBezTo>
                <a:cubicBezTo>
                  <a:pt x="3610" y="599"/>
                  <a:pt x="3609" y="600"/>
                  <a:pt x="3609" y="600"/>
                </a:cubicBezTo>
                <a:cubicBezTo>
                  <a:pt x="3608" y="600"/>
                  <a:pt x="3607" y="601"/>
                  <a:pt x="3607" y="602"/>
                </a:cubicBezTo>
                <a:cubicBezTo>
                  <a:pt x="3607" y="601"/>
                  <a:pt x="3606" y="600"/>
                  <a:pt x="3607" y="600"/>
                </a:cubicBezTo>
                <a:cubicBezTo>
                  <a:pt x="3608" y="599"/>
                  <a:pt x="3610" y="599"/>
                  <a:pt x="3610" y="598"/>
                </a:cubicBezTo>
                <a:cubicBezTo>
                  <a:pt x="3611" y="598"/>
                  <a:pt x="3610" y="598"/>
                  <a:pt x="3609" y="598"/>
                </a:cubicBezTo>
                <a:cubicBezTo>
                  <a:pt x="3609" y="597"/>
                  <a:pt x="3609" y="597"/>
                  <a:pt x="3608" y="597"/>
                </a:cubicBezTo>
                <a:cubicBezTo>
                  <a:pt x="3608" y="596"/>
                  <a:pt x="3607" y="596"/>
                  <a:pt x="3607" y="595"/>
                </a:cubicBezTo>
                <a:cubicBezTo>
                  <a:pt x="3606" y="594"/>
                  <a:pt x="3606" y="593"/>
                  <a:pt x="3606" y="592"/>
                </a:cubicBezTo>
                <a:cubicBezTo>
                  <a:pt x="3605" y="591"/>
                  <a:pt x="3604" y="591"/>
                  <a:pt x="3604" y="589"/>
                </a:cubicBezTo>
                <a:cubicBezTo>
                  <a:pt x="3605" y="589"/>
                  <a:pt x="3605" y="590"/>
                  <a:pt x="3606" y="590"/>
                </a:cubicBezTo>
                <a:cubicBezTo>
                  <a:pt x="3606" y="591"/>
                  <a:pt x="3607" y="591"/>
                  <a:pt x="3608" y="591"/>
                </a:cubicBezTo>
                <a:cubicBezTo>
                  <a:pt x="3608" y="591"/>
                  <a:pt x="3608" y="592"/>
                  <a:pt x="3609" y="592"/>
                </a:cubicBezTo>
                <a:cubicBezTo>
                  <a:pt x="3609" y="592"/>
                  <a:pt x="3610" y="592"/>
                  <a:pt x="3611" y="593"/>
                </a:cubicBezTo>
                <a:cubicBezTo>
                  <a:pt x="3612" y="593"/>
                  <a:pt x="3612" y="594"/>
                  <a:pt x="3613" y="593"/>
                </a:cubicBezTo>
                <a:cubicBezTo>
                  <a:pt x="3614" y="593"/>
                  <a:pt x="3614" y="593"/>
                  <a:pt x="3615" y="593"/>
                </a:cubicBezTo>
                <a:cubicBezTo>
                  <a:pt x="3616" y="592"/>
                  <a:pt x="3618" y="593"/>
                  <a:pt x="3619" y="593"/>
                </a:cubicBezTo>
                <a:cubicBezTo>
                  <a:pt x="3620" y="593"/>
                  <a:pt x="3620" y="593"/>
                  <a:pt x="3621" y="593"/>
                </a:cubicBezTo>
                <a:cubicBezTo>
                  <a:pt x="3622" y="594"/>
                  <a:pt x="3622" y="594"/>
                  <a:pt x="3622" y="595"/>
                </a:cubicBezTo>
                <a:cubicBezTo>
                  <a:pt x="3623" y="596"/>
                  <a:pt x="3625" y="595"/>
                  <a:pt x="3626" y="594"/>
                </a:cubicBezTo>
                <a:cubicBezTo>
                  <a:pt x="3626" y="594"/>
                  <a:pt x="3628" y="593"/>
                  <a:pt x="3627" y="591"/>
                </a:cubicBezTo>
                <a:cubicBezTo>
                  <a:pt x="3627" y="591"/>
                  <a:pt x="3627" y="590"/>
                  <a:pt x="3626" y="590"/>
                </a:cubicBezTo>
                <a:cubicBezTo>
                  <a:pt x="3626" y="589"/>
                  <a:pt x="3626" y="589"/>
                  <a:pt x="3625" y="588"/>
                </a:cubicBezTo>
                <a:cubicBezTo>
                  <a:pt x="3625" y="588"/>
                  <a:pt x="3624" y="588"/>
                  <a:pt x="3623" y="588"/>
                </a:cubicBezTo>
                <a:cubicBezTo>
                  <a:pt x="3623" y="588"/>
                  <a:pt x="3622" y="587"/>
                  <a:pt x="3622" y="587"/>
                </a:cubicBezTo>
                <a:cubicBezTo>
                  <a:pt x="3621" y="586"/>
                  <a:pt x="3620" y="587"/>
                  <a:pt x="3619" y="587"/>
                </a:cubicBezTo>
                <a:cubicBezTo>
                  <a:pt x="3619" y="586"/>
                  <a:pt x="3621" y="585"/>
                  <a:pt x="3622" y="586"/>
                </a:cubicBezTo>
                <a:cubicBezTo>
                  <a:pt x="3622" y="586"/>
                  <a:pt x="3623" y="586"/>
                  <a:pt x="3623" y="587"/>
                </a:cubicBezTo>
                <a:cubicBezTo>
                  <a:pt x="3624" y="587"/>
                  <a:pt x="3625" y="587"/>
                  <a:pt x="3625" y="587"/>
                </a:cubicBezTo>
                <a:cubicBezTo>
                  <a:pt x="3627" y="588"/>
                  <a:pt x="3627" y="589"/>
                  <a:pt x="3628" y="590"/>
                </a:cubicBezTo>
                <a:cubicBezTo>
                  <a:pt x="3629" y="590"/>
                  <a:pt x="3631" y="590"/>
                  <a:pt x="3632" y="590"/>
                </a:cubicBezTo>
                <a:cubicBezTo>
                  <a:pt x="3632" y="591"/>
                  <a:pt x="3632" y="592"/>
                  <a:pt x="3632" y="592"/>
                </a:cubicBezTo>
                <a:cubicBezTo>
                  <a:pt x="3631" y="593"/>
                  <a:pt x="3630" y="592"/>
                  <a:pt x="3630" y="593"/>
                </a:cubicBezTo>
                <a:cubicBezTo>
                  <a:pt x="3631" y="594"/>
                  <a:pt x="3632" y="593"/>
                  <a:pt x="3633" y="594"/>
                </a:cubicBezTo>
                <a:cubicBezTo>
                  <a:pt x="3633" y="595"/>
                  <a:pt x="3633" y="595"/>
                  <a:pt x="3634" y="596"/>
                </a:cubicBezTo>
                <a:cubicBezTo>
                  <a:pt x="3635" y="596"/>
                  <a:pt x="3636" y="596"/>
                  <a:pt x="3636" y="597"/>
                </a:cubicBezTo>
                <a:cubicBezTo>
                  <a:pt x="3636" y="597"/>
                  <a:pt x="3637" y="598"/>
                  <a:pt x="3637" y="598"/>
                </a:cubicBezTo>
                <a:cubicBezTo>
                  <a:pt x="3638" y="598"/>
                  <a:pt x="3639" y="597"/>
                  <a:pt x="3640" y="597"/>
                </a:cubicBezTo>
                <a:cubicBezTo>
                  <a:pt x="3641" y="597"/>
                  <a:pt x="3643" y="598"/>
                  <a:pt x="3644" y="598"/>
                </a:cubicBezTo>
                <a:cubicBezTo>
                  <a:pt x="3646" y="598"/>
                  <a:pt x="3647" y="598"/>
                  <a:pt x="3649" y="598"/>
                </a:cubicBezTo>
                <a:cubicBezTo>
                  <a:pt x="3652" y="598"/>
                  <a:pt x="3655" y="596"/>
                  <a:pt x="3659" y="595"/>
                </a:cubicBezTo>
                <a:cubicBezTo>
                  <a:pt x="3659" y="595"/>
                  <a:pt x="3660" y="594"/>
                  <a:pt x="3661" y="594"/>
                </a:cubicBezTo>
                <a:cubicBezTo>
                  <a:pt x="3662" y="594"/>
                  <a:pt x="3662" y="594"/>
                  <a:pt x="3663" y="594"/>
                </a:cubicBezTo>
                <a:cubicBezTo>
                  <a:pt x="3665" y="594"/>
                  <a:pt x="3666" y="593"/>
                  <a:pt x="3667" y="592"/>
                </a:cubicBezTo>
                <a:cubicBezTo>
                  <a:pt x="3670" y="591"/>
                  <a:pt x="3674" y="592"/>
                  <a:pt x="3677" y="590"/>
                </a:cubicBezTo>
                <a:cubicBezTo>
                  <a:pt x="3678" y="589"/>
                  <a:pt x="3679" y="588"/>
                  <a:pt x="3680" y="587"/>
                </a:cubicBezTo>
                <a:cubicBezTo>
                  <a:pt x="3681" y="586"/>
                  <a:pt x="3682" y="585"/>
                  <a:pt x="3684" y="585"/>
                </a:cubicBezTo>
                <a:cubicBezTo>
                  <a:pt x="3686" y="585"/>
                  <a:pt x="3688" y="585"/>
                  <a:pt x="3689" y="583"/>
                </a:cubicBezTo>
                <a:cubicBezTo>
                  <a:pt x="3690" y="583"/>
                  <a:pt x="3690" y="582"/>
                  <a:pt x="3690" y="581"/>
                </a:cubicBezTo>
                <a:cubicBezTo>
                  <a:pt x="3691" y="580"/>
                  <a:pt x="3691" y="579"/>
                  <a:pt x="3692" y="578"/>
                </a:cubicBezTo>
                <a:cubicBezTo>
                  <a:pt x="3693" y="576"/>
                  <a:pt x="3692" y="575"/>
                  <a:pt x="3690" y="576"/>
                </a:cubicBezTo>
                <a:cubicBezTo>
                  <a:pt x="3689" y="576"/>
                  <a:pt x="3689" y="576"/>
                  <a:pt x="3688" y="576"/>
                </a:cubicBezTo>
                <a:cubicBezTo>
                  <a:pt x="3687" y="576"/>
                  <a:pt x="3687" y="576"/>
                  <a:pt x="3686" y="576"/>
                </a:cubicBezTo>
                <a:cubicBezTo>
                  <a:pt x="3685" y="577"/>
                  <a:pt x="3683" y="577"/>
                  <a:pt x="3682" y="577"/>
                </a:cubicBezTo>
                <a:cubicBezTo>
                  <a:pt x="3681" y="577"/>
                  <a:pt x="3680" y="577"/>
                  <a:pt x="3680" y="576"/>
                </a:cubicBezTo>
                <a:cubicBezTo>
                  <a:pt x="3680" y="575"/>
                  <a:pt x="3682" y="576"/>
                  <a:pt x="3682" y="576"/>
                </a:cubicBezTo>
                <a:cubicBezTo>
                  <a:pt x="3684" y="576"/>
                  <a:pt x="3684" y="575"/>
                  <a:pt x="3685" y="574"/>
                </a:cubicBezTo>
                <a:cubicBezTo>
                  <a:pt x="3686" y="573"/>
                  <a:pt x="3688" y="573"/>
                  <a:pt x="3689" y="573"/>
                </a:cubicBezTo>
                <a:cubicBezTo>
                  <a:pt x="3691" y="573"/>
                  <a:pt x="3692" y="572"/>
                  <a:pt x="3693" y="571"/>
                </a:cubicBezTo>
                <a:cubicBezTo>
                  <a:pt x="3695" y="570"/>
                  <a:pt x="3697" y="570"/>
                  <a:pt x="3696" y="568"/>
                </a:cubicBezTo>
                <a:cubicBezTo>
                  <a:pt x="3695" y="566"/>
                  <a:pt x="3694" y="566"/>
                  <a:pt x="3693" y="565"/>
                </a:cubicBezTo>
                <a:cubicBezTo>
                  <a:pt x="3692" y="565"/>
                  <a:pt x="3691" y="564"/>
                  <a:pt x="3690" y="563"/>
                </a:cubicBezTo>
                <a:cubicBezTo>
                  <a:pt x="3688" y="562"/>
                  <a:pt x="3688" y="562"/>
                  <a:pt x="3687" y="560"/>
                </a:cubicBezTo>
                <a:cubicBezTo>
                  <a:pt x="3687" y="558"/>
                  <a:pt x="3687" y="557"/>
                  <a:pt x="3688" y="556"/>
                </a:cubicBezTo>
                <a:cubicBezTo>
                  <a:pt x="3688" y="554"/>
                  <a:pt x="3688" y="553"/>
                  <a:pt x="3688" y="551"/>
                </a:cubicBezTo>
                <a:cubicBezTo>
                  <a:pt x="3688" y="551"/>
                  <a:pt x="3688" y="550"/>
                  <a:pt x="3689" y="550"/>
                </a:cubicBezTo>
                <a:cubicBezTo>
                  <a:pt x="3689" y="550"/>
                  <a:pt x="3688" y="551"/>
                  <a:pt x="3689" y="552"/>
                </a:cubicBezTo>
                <a:cubicBezTo>
                  <a:pt x="3690" y="553"/>
                  <a:pt x="3692" y="552"/>
                  <a:pt x="3693" y="552"/>
                </a:cubicBezTo>
                <a:cubicBezTo>
                  <a:pt x="3693" y="551"/>
                  <a:pt x="3694" y="551"/>
                  <a:pt x="3695" y="550"/>
                </a:cubicBezTo>
                <a:cubicBezTo>
                  <a:pt x="3695" y="550"/>
                  <a:pt x="3696" y="550"/>
                  <a:pt x="3696" y="549"/>
                </a:cubicBezTo>
                <a:cubicBezTo>
                  <a:pt x="3698" y="548"/>
                  <a:pt x="3696" y="547"/>
                  <a:pt x="3695" y="546"/>
                </a:cubicBezTo>
                <a:cubicBezTo>
                  <a:pt x="3695" y="545"/>
                  <a:pt x="3696" y="543"/>
                  <a:pt x="3697" y="543"/>
                </a:cubicBezTo>
                <a:cubicBezTo>
                  <a:pt x="3698" y="543"/>
                  <a:pt x="3699" y="543"/>
                  <a:pt x="3699" y="544"/>
                </a:cubicBezTo>
                <a:cubicBezTo>
                  <a:pt x="3700" y="545"/>
                  <a:pt x="3700" y="545"/>
                  <a:pt x="3699" y="546"/>
                </a:cubicBezTo>
                <a:cubicBezTo>
                  <a:pt x="3699" y="547"/>
                  <a:pt x="3699" y="547"/>
                  <a:pt x="3699" y="548"/>
                </a:cubicBezTo>
                <a:cubicBezTo>
                  <a:pt x="3700" y="548"/>
                  <a:pt x="3700" y="548"/>
                  <a:pt x="3700" y="548"/>
                </a:cubicBezTo>
                <a:cubicBezTo>
                  <a:pt x="3701" y="548"/>
                  <a:pt x="3700" y="549"/>
                  <a:pt x="3701" y="549"/>
                </a:cubicBezTo>
                <a:cubicBezTo>
                  <a:pt x="3702" y="550"/>
                  <a:pt x="3703" y="549"/>
                  <a:pt x="3704" y="548"/>
                </a:cubicBezTo>
                <a:cubicBezTo>
                  <a:pt x="3705" y="547"/>
                  <a:pt x="3706" y="546"/>
                  <a:pt x="3707" y="546"/>
                </a:cubicBezTo>
                <a:cubicBezTo>
                  <a:pt x="3708" y="545"/>
                  <a:pt x="3710" y="543"/>
                  <a:pt x="3711" y="543"/>
                </a:cubicBezTo>
                <a:cubicBezTo>
                  <a:pt x="3713" y="543"/>
                  <a:pt x="3711" y="546"/>
                  <a:pt x="3711" y="547"/>
                </a:cubicBezTo>
                <a:cubicBezTo>
                  <a:pt x="3710" y="548"/>
                  <a:pt x="3711" y="550"/>
                  <a:pt x="3710" y="551"/>
                </a:cubicBezTo>
                <a:cubicBezTo>
                  <a:pt x="3708" y="552"/>
                  <a:pt x="3708" y="553"/>
                  <a:pt x="3707" y="554"/>
                </a:cubicBezTo>
                <a:cubicBezTo>
                  <a:pt x="3707" y="555"/>
                  <a:pt x="3706" y="556"/>
                  <a:pt x="3705" y="555"/>
                </a:cubicBezTo>
                <a:cubicBezTo>
                  <a:pt x="3704" y="555"/>
                  <a:pt x="3704" y="554"/>
                  <a:pt x="3703" y="554"/>
                </a:cubicBezTo>
                <a:cubicBezTo>
                  <a:pt x="3702" y="553"/>
                  <a:pt x="3702" y="555"/>
                  <a:pt x="3703" y="555"/>
                </a:cubicBezTo>
                <a:cubicBezTo>
                  <a:pt x="3703" y="556"/>
                  <a:pt x="3704" y="556"/>
                  <a:pt x="3704" y="556"/>
                </a:cubicBezTo>
                <a:cubicBezTo>
                  <a:pt x="3704" y="558"/>
                  <a:pt x="3704" y="559"/>
                  <a:pt x="3705" y="560"/>
                </a:cubicBezTo>
                <a:cubicBezTo>
                  <a:pt x="3705" y="561"/>
                  <a:pt x="3706" y="561"/>
                  <a:pt x="3707" y="561"/>
                </a:cubicBezTo>
                <a:cubicBezTo>
                  <a:pt x="3707" y="561"/>
                  <a:pt x="3708" y="562"/>
                  <a:pt x="3708" y="563"/>
                </a:cubicBezTo>
                <a:cubicBezTo>
                  <a:pt x="3709" y="563"/>
                  <a:pt x="3709" y="563"/>
                  <a:pt x="3710" y="564"/>
                </a:cubicBezTo>
                <a:cubicBezTo>
                  <a:pt x="3712" y="564"/>
                  <a:pt x="3712" y="566"/>
                  <a:pt x="3711" y="567"/>
                </a:cubicBezTo>
                <a:cubicBezTo>
                  <a:pt x="3711" y="568"/>
                  <a:pt x="3711" y="569"/>
                  <a:pt x="3712" y="569"/>
                </a:cubicBezTo>
                <a:cubicBezTo>
                  <a:pt x="3714" y="569"/>
                  <a:pt x="3715" y="570"/>
                  <a:pt x="3717" y="569"/>
                </a:cubicBezTo>
                <a:cubicBezTo>
                  <a:pt x="3718" y="569"/>
                  <a:pt x="3720" y="569"/>
                  <a:pt x="3722" y="569"/>
                </a:cubicBezTo>
                <a:cubicBezTo>
                  <a:pt x="3724" y="569"/>
                  <a:pt x="3725" y="569"/>
                  <a:pt x="3727" y="569"/>
                </a:cubicBezTo>
                <a:cubicBezTo>
                  <a:pt x="3732" y="569"/>
                  <a:pt x="3736" y="569"/>
                  <a:pt x="3740" y="569"/>
                </a:cubicBezTo>
                <a:cubicBezTo>
                  <a:pt x="3744" y="569"/>
                  <a:pt x="3748" y="571"/>
                  <a:pt x="3751" y="571"/>
                </a:cubicBezTo>
                <a:cubicBezTo>
                  <a:pt x="3753" y="571"/>
                  <a:pt x="3754" y="572"/>
                  <a:pt x="3756" y="573"/>
                </a:cubicBezTo>
                <a:cubicBezTo>
                  <a:pt x="3757" y="573"/>
                  <a:pt x="3758" y="573"/>
                  <a:pt x="3760" y="574"/>
                </a:cubicBezTo>
                <a:cubicBezTo>
                  <a:pt x="3762" y="575"/>
                  <a:pt x="3764" y="578"/>
                  <a:pt x="3764" y="580"/>
                </a:cubicBezTo>
                <a:cubicBezTo>
                  <a:pt x="3765" y="581"/>
                  <a:pt x="3765" y="582"/>
                  <a:pt x="3765" y="582"/>
                </a:cubicBezTo>
                <a:cubicBezTo>
                  <a:pt x="3765" y="583"/>
                  <a:pt x="3764" y="584"/>
                  <a:pt x="3765" y="584"/>
                </a:cubicBezTo>
                <a:cubicBezTo>
                  <a:pt x="3765" y="585"/>
                  <a:pt x="3765" y="585"/>
                  <a:pt x="3766" y="586"/>
                </a:cubicBezTo>
                <a:cubicBezTo>
                  <a:pt x="3766" y="587"/>
                  <a:pt x="3766" y="587"/>
                  <a:pt x="3766" y="588"/>
                </a:cubicBezTo>
                <a:cubicBezTo>
                  <a:pt x="3767" y="589"/>
                  <a:pt x="3768" y="590"/>
                  <a:pt x="3769" y="591"/>
                </a:cubicBezTo>
                <a:cubicBezTo>
                  <a:pt x="3770" y="592"/>
                  <a:pt x="3770" y="592"/>
                  <a:pt x="3770" y="593"/>
                </a:cubicBezTo>
                <a:cubicBezTo>
                  <a:pt x="3771" y="595"/>
                  <a:pt x="3774" y="595"/>
                  <a:pt x="3776" y="595"/>
                </a:cubicBezTo>
                <a:cubicBezTo>
                  <a:pt x="3777" y="595"/>
                  <a:pt x="3779" y="595"/>
                  <a:pt x="3780" y="595"/>
                </a:cubicBezTo>
                <a:cubicBezTo>
                  <a:pt x="3782" y="595"/>
                  <a:pt x="3783" y="595"/>
                  <a:pt x="3784" y="595"/>
                </a:cubicBezTo>
                <a:cubicBezTo>
                  <a:pt x="3785" y="596"/>
                  <a:pt x="3787" y="596"/>
                  <a:pt x="3788" y="596"/>
                </a:cubicBezTo>
                <a:cubicBezTo>
                  <a:pt x="3789" y="597"/>
                  <a:pt x="3791" y="597"/>
                  <a:pt x="3792" y="598"/>
                </a:cubicBezTo>
                <a:cubicBezTo>
                  <a:pt x="3794" y="599"/>
                  <a:pt x="3795" y="600"/>
                  <a:pt x="3796" y="601"/>
                </a:cubicBezTo>
                <a:cubicBezTo>
                  <a:pt x="3796" y="602"/>
                  <a:pt x="3797" y="602"/>
                  <a:pt x="3798" y="603"/>
                </a:cubicBezTo>
                <a:cubicBezTo>
                  <a:pt x="3798" y="603"/>
                  <a:pt x="3799" y="604"/>
                  <a:pt x="3799" y="604"/>
                </a:cubicBezTo>
                <a:cubicBezTo>
                  <a:pt x="3800" y="605"/>
                  <a:pt x="3801" y="606"/>
                  <a:pt x="3802" y="607"/>
                </a:cubicBezTo>
                <a:cubicBezTo>
                  <a:pt x="3803" y="608"/>
                  <a:pt x="3804" y="608"/>
                  <a:pt x="3806" y="609"/>
                </a:cubicBezTo>
                <a:cubicBezTo>
                  <a:pt x="3806" y="609"/>
                  <a:pt x="3807" y="609"/>
                  <a:pt x="3808" y="609"/>
                </a:cubicBezTo>
                <a:cubicBezTo>
                  <a:pt x="3808" y="609"/>
                  <a:pt x="3809" y="608"/>
                  <a:pt x="3809" y="608"/>
                </a:cubicBezTo>
                <a:cubicBezTo>
                  <a:pt x="3811" y="607"/>
                  <a:pt x="3812" y="606"/>
                  <a:pt x="3812" y="604"/>
                </a:cubicBezTo>
                <a:cubicBezTo>
                  <a:pt x="3812" y="604"/>
                  <a:pt x="3813" y="601"/>
                  <a:pt x="3814" y="602"/>
                </a:cubicBezTo>
                <a:cubicBezTo>
                  <a:pt x="3814" y="602"/>
                  <a:pt x="3814" y="603"/>
                  <a:pt x="3814" y="604"/>
                </a:cubicBezTo>
                <a:cubicBezTo>
                  <a:pt x="3813" y="604"/>
                  <a:pt x="3813" y="605"/>
                  <a:pt x="3814" y="605"/>
                </a:cubicBezTo>
                <a:cubicBezTo>
                  <a:pt x="3814" y="605"/>
                  <a:pt x="3814" y="605"/>
                  <a:pt x="3814" y="606"/>
                </a:cubicBezTo>
                <a:cubicBezTo>
                  <a:pt x="3815" y="607"/>
                  <a:pt x="3814" y="609"/>
                  <a:pt x="3815" y="610"/>
                </a:cubicBezTo>
                <a:cubicBezTo>
                  <a:pt x="3815" y="610"/>
                  <a:pt x="3816" y="610"/>
                  <a:pt x="3817" y="611"/>
                </a:cubicBezTo>
                <a:cubicBezTo>
                  <a:pt x="3817" y="611"/>
                  <a:pt x="3818" y="612"/>
                  <a:pt x="3819" y="611"/>
                </a:cubicBezTo>
                <a:cubicBezTo>
                  <a:pt x="3819" y="611"/>
                  <a:pt x="3820" y="610"/>
                  <a:pt x="3820" y="610"/>
                </a:cubicBezTo>
                <a:cubicBezTo>
                  <a:pt x="3821" y="610"/>
                  <a:pt x="3822" y="610"/>
                  <a:pt x="3822" y="609"/>
                </a:cubicBezTo>
                <a:cubicBezTo>
                  <a:pt x="3822" y="608"/>
                  <a:pt x="3822" y="608"/>
                  <a:pt x="3822" y="607"/>
                </a:cubicBezTo>
                <a:cubicBezTo>
                  <a:pt x="3822" y="607"/>
                  <a:pt x="3821" y="606"/>
                  <a:pt x="3822" y="606"/>
                </a:cubicBezTo>
                <a:cubicBezTo>
                  <a:pt x="3822" y="605"/>
                  <a:pt x="3823" y="606"/>
                  <a:pt x="3824" y="606"/>
                </a:cubicBezTo>
                <a:cubicBezTo>
                  <a:pt x="3824" y="607"/>
                  <a:pt x="3825" y="606"/>
                  <a:pt x="3825" y="607"/>
                </a:cubicBezTo>
                <a:cubicBezTo>
                  <a:pt x="3826" y="607"/>
                  <a:pt x="3826" y="607"/>
                  <a:pt x="3827" y="607"/>
                </a:cubicBezTo>
                <a:cubicBezTo>
                  <a:pt x="3828" y="607"/>
                  <a:pt x="3829" y="608"/>
                  <a:pt x="3829" y="607"/>
                </a:cubicBezTo>
                <a:cubicBezTo>
                  <a:pt x="3830" y="607"/>
                  <a:pt x="3831" y="607"/>
                  <a:pt x="3831" y="607"/>
                </a:cubicBezTo>
                <a:cubicBezTo>
                  <a:pt x="3832" y="606"/>
                  <a:pt x="3833" y="607"/>
                  <a:pt x="3833" y="606"/>
                </a:cubicBezTo>
                <a:cubicBezTo>
                  <a:pt x="3834" y="606"/>
                  <a:pt x="3833" y="605"/>
                  <a:pt x="3832" y="605"/>
                </a:cubicBezTo>
                <a:cubicBezTo>
                  <a:pt x="3831" y="605"/>
                  <a:pt x="3831" y="605"/>
                  <a:pt x="3830" y="605"/>
                </a:cubicBezTo>
                <a:cubicBezTo>
                  <a:pt x="3828" y="604"/>
                  <a:pt x="3825" y="603"/>
                  <a:pt x="3822" y="602"/>
                </a:cubicBezTo>
                <a:cubicBezTo>
                  <a:pt x="3822" y="601"/>
                  <a:pt x="3821" y="601"/>
                  <a:pt x="3821" y="600"/>
                </a:cubicBezTo>
                <a:cubicBezTo>
                  <a:pt x="3820" y="600"/>
                  <a:pt x="3820" y="600"/>
                  <a:pt x="3819" y="600"/>
                </a:cubicBezTo>
                <a:cubicBezTo>
                  <a:pt x="3819" y="599"/>
                  <a:pt x="3820" y="598"/>
                  <a:pt x="3820" y="598"/>
                </a:cubicBezTo>
                <a:cubicBezTo>
                  <a:pt x="3821" y="598"/>
                  <a:pt x="3821" y="598"/>
                  <a:pt x="3822" y="597"/>
                </a:cubicBezTo>
                <a:cubicBezTo>
                  <a:pt x="3822" y="596"/>
                  <a:pt x="3822" y="596"/>
                  <a:pt x="3823" y="595"/>
                </a:cubicBezTo>
                <a:cubicBezTo>
                  <a:pt x="3824" y="595"/>
                  <a:pt x="3824" y="595"/>
                  <a:pt x="3824" y="594"/>
                </a:cubicBezTo>
                <a:cubicBezTo>
                  <a:pt x="3823" y="593"/>
                  <a:pt x="3821" y="594"/>
                  <a:pt x="3820" y="593"/>
                </a:cubicBezTo>
                <a:cubicBezTo>
                  <a:pt x="3820" y="592"/>
                  <a:pt x="3820" y="592"/>
                  <a:pt x="3821" y="592"/>
                </a:cubicBezTo>
                <a:cubicBezTo>
                  <a:pt x="3821" y="592"/>
                  <a:pt x="3822" y="593"/>
                  <a:pt x="3822" y="593"/>
                </a:cubicBezTo>
                <a:cubicBezTo>
                  <a:pt x="3823" y="593"/>
                  <a:pt x="3824" y="593"/>
                  <a:pt x="3825" y="592"/>
                </a:cubicBezTo>
                <a:cubicBezTo>
                  <a:pt x="3825" y="592"/>
                  <a:pt x="3825" y="592"/>
                  <a:pt x="3826" y="591"/>
                </a:cubicBezTo>
                <a:cubicBezTo>
                  <a:pt x="3827" y="590"/>
                  <a:pt x="3829" y="591"/>
                  <a:pt x="3830" y="591"/>
                </a:cubicBezTo>
                <a:cubicBezTo>
                  <a:pt x="3832" y="591"/>
                  <a:pt x="3833" y="589"/>
                  <a:pt x="3834" y="588"/>
                </a:cubicBezTo>
                <a:cubicBezTo>
                  <a:pt x="3835" y="587"/>
                  <a:pt x="3835" y="587"/>
                  <a:pt x="3836" y="586"/>
                </a:cubicBezTo>
                <a:cubicBezTo>
                  <a:pt x="3836" y="585"/>
                  <a:pt x="3836" y="585"/>
                  <a:pt x="3836" y="584"/>
                </a:cubicBezTo>
                <a:cubicBezTo>
                  <a:pt x="3836" y="583"/>
                  <a:pt x="3835" y="581"/>
                  <a:pt x="3834" y="581"/>
                </a:cubicBezTo>
                <a:cubicBezTo>
                  <a:pt x="3833" y="581"/>
                  <a:pt x="3832" y="581"/>
                  <a:pt x="3832" y="581"/>
                </a:cubicBezTo>
                <a:cubicBezTo>
                  <a:pt x="3831" y="581"/>
                  <a:pt x="3830" y="581"/>
                  <a:pt x="3830" y="580"/>
                </a:cubicBezTo>
                <a:cubicBezTo>
                  <a:pt x="3829" y="580"/>
                  <a:pt x="3830" y="580"/>
                  <a:pt x="3831" y="580"/>
                </a:cubicBezTo>
                <a:cubicBezTo>
                  <a:pt x="3832" y="579"/>
                  <a:pt x="3832" y="579"/>
                  <a:pt x="3833" y="579"/>
                </a:cubicBezTo>
                <a:cubicBezTo>
                  <a:pt x="3833" y="579"/>
                  <a:pt x="3834" y="579"/>
                  <a:pt x="3835" y="578"/>
                </a:cubicBezTo>
                <a:cubicBezTo>
                  <a:pt x="3835" y="577"/>
                  <a:pt x="3835" y="576"/>
                  <a:pt x="3836" y="575"/>
                </a:cubicBezTo>
                <a:cubicBezTo>
                  <a:pt x="3836" y="574"/>
                  <a:pt x="3837" y="574"/>
                  <a:pt x="3837" y="573"/>
                </a:cubicBezTo>
                <a:cubicBezTo>
                  <a:pt x="3837" y="571"/>
                  <a:pt x="3836" y="572"/>
                  <a:pt x="3836" y="573"/>
                </a:cubicBezTo>
                <a:cubicBezTo>
                  <a:pt x="3836" y="573"/>
                  <a:pt x="3834" y="573"/>
                  <a:pt x="3834" y="573"/>
                </a:cubicBezTo>
                <a:cubicBezTo>
                  <a:pt x="3833" y="573"/>
                  <a:pt x="3833" y="574"/>
                  <a:pt x="3832" y="573"/>
                </a:cubicBezTo>
                <a:cubicBezTo>
                  <a:pt x="3831" y="573"/>
                  <a:pt x="3831" y="573"/>
                  <a:pt x="3832" y="573"/>
                </a:cubicBezTo>
                <a:cubicBezTo>
                  <a:pt x="3832" y="572"/>
                  <a:pt x="3833" y="572"/>
                  <a:pt x="3833" y="571"/>
                </a:cubicBezTo>
                <a:cubicBezTo>
                  <a:pt x="3833" y="571"/>
                  <a:pt x="3833" y="570"/>
                  <a:pt x="3832" y="570"/>
                </a:cubicBezTo>
                <a:cubicBezTo>
                  <a:pt x="3832" y="569"/>
                  <a:pt x="3832" y="569"/>
                  <a:pt x="3831" y="569"/>
                </a:cubicBezTo>
                <a:cubicBezTo>
                  <a:pt x="3831" y="568"/>
                  <a:pt x="3831" y="568"/>
                  <a:pt x="3830" y="568"/>
                </a:cubicBezTo>
                <a:cubicBezTo>
                  <a:pt x="3829" y="566"/>
                  <a:pt x="3828" y="567"/>
                  <a:pt x="3827" y="567"/>
                </a:cubicBezTo>
                <a:cubicBezTo>
                  <a:pt x="3827" y="566"/>
                  <a:pt x="3828" y="566"/>
                  <a:pt x="3828" y="566"/>
                </a:cubicBezTo>
                <a:close/>
                <a:moveTo>
                  <a:pt x="256" y="687"/>
                </a:moveTo>
                <a:cubicBezTo>
                  <a:pt x="255" y="687"/>
                  <a:pt x="254" y="689"/>
                  <a:pt x="253" y="689"/>
                </a:cubicBezTo>
                <a:cubicBezTo>
                  <a:pt x="252" y="689"/>
                  <a:pt x="255" y="687"/>
                  <a:pt x="253" y="686"/>
                </a:cubicBezTo>
                <a:cubicBezTo>
                  <a:pt x="253" y="686"/>
                  <a:pt x="253" y="687"/>
                  <a:pt x="252" y="687"/>
                </a:cubicBezTo>
                <a:cubicBezTo>
                  <a:pt x="252" y="687"/>
                  <a:pt x="252" y="686"/>
                  <a:pt x="252" y="686"/>
                </a:cubicBezTo>
                <a:cubicBezTo>
                  <a:pt x="251" y="686"/>
                  <a:pt x="251" y="686"/>
                  <a:pt x="250" y="686"/>
                </a:cubicBezTo>
                <a:cubicBezTo>
                  <a:pt x="250" y="686"/>
                  <a:pt x="249" y="686"/>
                  <a:pt x="249" y="685"/>
                </a:cubicBezTo>
                <a:cubicBezTo>
                  <a:pt x="248" y="685"/>
                  <a:pt x="248" y="685"/>
                  <a:pt x="247" y="685"/>
                </a:cubicBezTo>
                <a:cubicBezTo>
                  <a:pt x="248" y="683"/>
                  <a:pt x="251" y="685"/>
                  <a:pt x="252" y="685"/>
                </a:cubicBezTo>
                <a:cubicBezTo>
                  <a:pt x="253" y="685"/>
                  <a:pt x="254" y="685"/>
                  <a:pt x="256" y="685"/>
                </a:cubicBezTo>
                <a:cubicBezTo>
                  <a:pt x="257" y="685"/>
                  <a:pt x="260" y="684"/>
                  <a:pt x="260" y="685"/>
                </a:cubicBezTo>
                <a:cubicBezTo>
                  <a:pt x="260" y="686"/>
                  <a:pt x="257" y="686"/>
                  <a:pt x="256" y="687"/>
                </a:cubicBezTo>
                <a:close/>
                <a:moveTo>
                  <a:pt x="265" y="675"/>
                </a:moveTo>
                <a:cubicBezTo>
                  <a:pt x="265" y="674"/>
                  <a:pt x="263" y="672"/>
                  <a:pt x="264" y="672"/>
                </a:cubicBezTo>
                <a:cubicBezTo>
                  <a:pt x="264" y="672"/>
                  <a:pt x="265" y="674"/>
                  <a:pt x="265" y="674"/>
                </a:cubicBezTo>
                <a:cubicBezTo>
                  <a:pt x="266" y="675"/>
                  <a:pt x="266" y="675"/>
                  <a:pt x="266" y="676"/>
                </a:cubicBezTo>
                <a:cubicBezTo>
                  <a:pt x="265" y="676"/>
                  <a:pt x="265" y="675"/>
                  <a:pt x="265" y="675"/>
                </a:cubicBezTo>
                <a:close/>
                <a:moveTo>
                  <a:pt x="274" y="678"/>
                </a:moveTo>
                <a:cubicBezTo>
                  <a:pt x="274" y="676"/>
                  <a:pt x="275" y="676"/>
                  <a:pt x="275" y="677"/>
                </a:cubicBezTo>
                <a:cubicBezTo>
                  <a:pt x="275" y="678"/>
                  <a:pt x="274" y="678"/>
                  <a:pt x="274" y="678"/>
                </a:cubicBezTo>
                <a:close/>
                <a:moveTo>
                  <a:pt x="274" y="672"/>
                </a:moveTo>
                <a:cubicBezTo>
                  <a:pt x="274" y="672"/>
                  <a:pt x="274" y="672"/>
                  <a:pt x="274" y="672"/>
                </a:cubicBezTo>
                <a:cubicBezTo>
                  <a:pt x="275" y="672"/>
                  <a:pt x="275" y="672"/>
                  <a:pt x="275" y="672"/>
                </a:cubicBezTo>
                <a:cubicBezTo>
                  <a:pt x="276" y="673"/>
                  <a:pt x="274" y="673"/>
                  <a:pt x="274" y="672"/>
                </a:cubicBezTo>
                <a:close/>
                <a:moveTo>
                  <a:pt x="271" y="727"/>
                </a:moveTo>
                <a:cubicBezTo>
                  <a:pt x="270" y="728"/>
                  <a:pt x="269" y="729"/>
                  <a:pt x="269" y="730"/>
                </a:cubicBezTo>
                <a:cubicBezTo>
                  <a:pt x="268" y="730"/>
                  <a:pt x="267" y="731"/>
                  <a:pt x="267" y="733"/>
                </a:cubicBezTo>
                <a:cubicBezTo>
                  <a:pt x="267" y="734"/>
                  <a:pt x="266" y="735"/>
                  <a:pt x="266" y="736"/>
                </a:cubicBezTo>
                <a:cubicBezTo>
                  <a:pt x="265" y="736"/>
                  <a:pt x="266" y="733"/>
                  <a:pt x="266" y="733"/>
                </a:cubicBezTo>
                <a:cubicBezTo>
                  <a:pt x="267" y="732"/>
                  <a:pt x="268" y="731"/>
                  <a:pt x="267" y="730"/>
                </a:cubicBezTo>
                <a:cubicBezTo>
                  <a:pt x="266" y="728"/>
                  <a:pt x="264" y="730"/>
                  <a:pt x="263" y="730"/>
                </a:cubicBezTo>
                <a:cubicBezTo>
                  <a:pt x="263" y="731"/>
                  <a:pt x="262" y="732"/>
                  <a:pt x="261" y="732"/>
                </a:cubicBezTo>
                <a:cubicBezTo>
                  <a:pt x="261" y="731"/>
                  <a:pt x="262" y="731"/>
                  <a:pt x="262" y="730"/>
                </a:cubicBezTo>
                <a:cubicBezTo>
                  <a:pt x="263" y="730"/>
                  <a:pt x="263" y="729"/>
                  <a:pt x="264" y="729"/>
                </a:cubicBezTo>
                <a:cubicBezTo>
                  <a:pt x="265" y="728"/>
                  <a:pt x="265" y="728"/>
                  <a:pt x="266" y="728"/>
                </a:cubicBezTo>
                <a:cubicBezTo>
                  <a:pt x="267" y="727"/>
                  <a:pt x="268" y="727"/>
                  <a:pt x="270" y="727"/>
                </a:cubicBezTo>
                <a:cubicBezTo>
                  <a:pt x="271" y="727"/>
                  <a:pt x="273" y="726"/>
                  <a:pt x="274" y="727"/>
                </a:cubicBezTo>
                <a:cubicBezTo>
                  <a:pt x="274" y="727"/>
                  <a:pt x="272" y="727"/>
                  <a:pt x="271" y="727"/>
                </a:cubicBezTo>
                <a:close/>
                <a:moveTo>
                  <a:pt x="292" y="660"/>
                </a:moveTo>
                <a:cubicBezTo>
                  <a:pt x="291" y="660"/>
                  <a:pt x="290" y="660"/>
                  <a:pt x="289" y="660"/>
                </a:cubicBezTo>
                <a:cubicBezTo>
                  <a:pt x="290" y="659"/>
                  <a:pt x="290" y="659"/>
                  <a:pt x="291" y="659"/>
                </a:cubicBezTo>
                <a:cubicBezTo>
                  <a:pt x="292" y="659"/>
                  <a:pt x="292" y="659"/>
                  <a:pt x="293" y="659"/>
                </a:cubicBezTo>
                <a:cubicBezTo>
                  <a:pt x="293" y="659"/>
                  <a:pt x="293" y="659"/>
                  <a:pt x="293" y="658"/>
                </a:cubicBezTo>
                <a:cubicBezTo>
                  <a:pt x="293" y="658"/>
                  <a:pt x="294" y="658"/>
                  <a:pt x="294" y="658"/>
                </a:cubicBezTo>
                <a:cubicBezTo>
                  <a:pt x="294" y="659"/>
                  <a:pt x="292" y="660"/>
                  <a:pt x="292" y="660"/>
                </a:cubicBezTo>
                <a:close/>
                <a:moveTo>
                  <a:pt x="459" y="782"/>
                </a:moveTo>
                <a:cubicBezTo>
                  <a:pt x="459" y="782"/>
                  <a:pt x="457" y="781"/>
                  <a:pt x="457" y="780"/>
                </a:cubicBezTo>
                <a:cubicBezTo>
                  <a:pt x="456" y="780"/>
                  <a:pt x="459" y="780"/>
                  <a:pt x="459" y="780"/>
                </a:cubicBezTo>
                <a:cubicBezTo>
                  <a:pt x="460" y="781"/>
                  <a:pt x="460" y="782"/>
                  <a:pt x="459" y="782"/>
                </a:cubicBezTo>
                <a:close/>
                <a:moveTo>
                  <a:pt x="518" y="445"/>
                </a:moveTo>
                <a:cubicBezTo>
                  <a:pt x="518" y="445"/>
                  <a:pt x="518" y="445"/>
                  <a:pt x="518" y="444"/>
                </a:cubicBezTo>
                <a:cubicBezTo>
                  <a:pt x="517" y="444"/>
                  <a:pt x="517" y="444"/>
                  <a:pt x="517" y="443"/>
                </a:cubicBezTo>
                <a:cubicBezTo>
                  <a:pt x="516" y="443"/>
                  <a:pt x="515" y="442"/>
                  <a:pt x="515" y="442"/>
                </a:cubicBezTo>
                <a:cubicBezTo>
                  <a:pt x="516" y="441"/>
                  <a:pt x="517" y="443"/>
                  <a:pt x="518" y="443"/>
                </a:cubicBezTo>
                <a:cubicBezTo>
                  <a:pt x="518" y="444"/>
                  <a:pt x="519" y="444"/>
                  <a:pt x="519" y="444"/>
                </a:cubicBezTo>
                <a:cubicBezTo>
                  <a:pt x="519" y="445"/>
                  <a:pt x="519" y="445"/>
                  <a:pt x="518" y="445"/>
                </a:cubicBezTo>
                <a:close/>
                <a:moveTo>
                  <a:pt x="250" y="950"/>
                </a:moveTo>
                <a:cubicBezTo>
                  <a:pt x="250" y="950"/>
                  <a:pt x="250" y="949"/>
                  <a:pt x="249" y="948"/>
                </a:cubicBezTo>
                <a:cubicBezTo>
                  <a:pt x="249" y="948"/>
                  <a:pt x="248" y="948"/>
                  <a:pt x="248" y="948"/>
                </a:cubicBezTo>
                <a:cubicBezTo>
                  <a:pt x="246" y="948"/>
                  <a:pt x="245" y="948"/>
                  <a:pt x="244" y="949"/>
                </a:cubicBezTo>
                <a:cubicBezTo>
                  <a:pt x="243" y="949"/>
                  <a:pt x="243" y="949"/>
                  <a:pt x="242" y="950"/>
                </a:cubicBezTo>
                <a:cubicBezTo>
                  <a:pt x="242" y="950"/>
                  <a:pt x="241" y="950"/>
                  <a:pt x="241" y="950"/>
                </a:cubicBezTo>
                <a:cubicBezTo>
                  <a:pt x="240" y="951"/>
                  <a:pt x="240" y="951"/>
                  <a:pt x="239" y="952"/>
                </a:cubicBezTo>
                <a:cubicBezTo>
                  <a:pt x="239" y="952"/>
                  <a:pt x="238" y="952"/>
                  <a:pt x="238" y="953"/>
                </a:cubicBezTo>
                <a:cubicBezTo>
                  <a:pt x="237" y="953"/>
                  <a:pt x="237" y="953"/>
                  <a:pt x="237" y="954"/>
                </a:cubicBezTo>
                <a:cubicBezTo>
                  <a:pt x="237" y="955"/>
                  <a:pt x="238" y="955"/>
                  <a:pt x="238" y="955"/>
                </a:cubicBezTo>
                <a:cubicBezTo>
                  <a:pt x="239" y="955"/>
                  <a:pt x="240" y="955"/>
                  <a:pt x="240" y="955"/>
                </a:cubicBezTo>
                <a:cubicBezTo>
                  <a:pt x="240" y="956"/>
                  <a:pt x="241" y="957"/>
                  <a:pt x="241" y="956"/>
                </a:cubicBezTo>
                <a:cubicBezTo>
                  <a:pt x="242" y="956"/>
                  <a:pt x="242" y="955"/>
                  <a:pt x="243" y="955"/>
                </a:cubicBezTo>
                <a:cubicBezTo>
                  <a:pt x="243" y="955"/>
                  <a:pt x="244" y="956"/>
                  <a:pt x="244" y="956"/>
                </a:cubicBezTo>
                <a:cubicBezTo>
                  <a:pt x="244" y="956"/>
                  <a:pt x="244" y="955"/>
                  <a:pt x="245" y="955"/>
                </a:cubicBezTo>
                <a:cubicBezTo>
                  <a:pt x="245" y="955"/>
                  <a:pt x="245" y="955"/>
                  <a:pt x="246" y="955"/>
                </a:cubicBezTo>
                <a:cubicBezTo>
                  <a:pt x="246" y="956"/>
                  <a:pt x="245" y="956"/>
                  <a:pt x="245" y="956"/>
                </a:cubicBezTo>
                <a:cubicBezTo>
                  <a:pt x="245" y="956"/>
                  <a:pt x="244" y="957"/>
                  <a:pt x="243" y="957"/>
                </a:cubicBezTo>
                <a:cubicBezTo>
                  <a:pt x="243" y="957"/>
                  <a:pt x="242" y="957"/>
                  <a:pt x="241" y="957"/>
                </a:cubicBezTo>
                <a:cubicBezTo>
                  <a:pt x="241" y="957"/>
                  <a:pt x="240" y="956"/>
                  <a:pt x="240" y="956"/>
                </a:cubicBezTo>
                <a:cubicBezTo>
                  <a:pt x="239" y="956"/>
                  <a:pt x="238" y="956"/>
                  <a:pt x="238" y="956"/>
                </a:cubicBezTo>
                <a:cubicBezTo>
                  <a:pt x="237" y="956"/>
                  <a:pt x="237" y="955"/>
                  <a:pt x="237" y="955"/>
                </a:cubicBezTo>
                <a:cubicBezTo>
                  <a:pt x="236" y="955"/>
                  <a:pt x="236" y="955"/>
                  <a:pt x="236" y="955"/>
                </a:cubicBezTo>
                <a:cubicBezTo>
                  <a:pt x="235" y="955"/>
                  <a:pt x="235" y="955"/>
                  <a:pt x="235" y="954"/>
                </a:cubicBezTo>
                <a:cubicBezTo>
                  <a:pt x="235" y="953"/>
                  <a:pt x="235" y="953"/>
                  <a:pt x="236" y="953"/>
                </a:cubicBezTo>
                <a:cubicBezTo>
                  <a:pt x="236" y="952"/>
                  <a:pt x="236" y="952"/>
                  <a:pt x="236" y="951"/>
                </a:cubicBezTo>
                <a:cubicBezTo>
                  <a:pt x="236" y="950"/>
                  <a:pt x="236" y="949"/>
                  <a:pt x="235" y="948"/>
                </a:cubicBezTo>
                <a:cubicBezTo>
                  <a:pt x="233" y="945"/>
                  <a:pt x="241" y="947"/>
                  <a:pt x="240" y="945"/>
                </a:cubicBezTo>
                <a:cubicBezTo>
                  <a:pt x="239" y="944"/>
                  <a:pt x="239" y="944"/>
                  <a:pt x="238" y="944"/>
                </a:cubicBezTo>
                <a:cubicBezTo>
                  <a:pt x="238" y="944"/>
                  <a:pt x="237" y="944"/>
                  <a:pt x="237" y="943"/>
                </a:cubicBezTo>
                <a:cubicBezTo>
                  <a:pt x="237" y="943"/>
                  <a:pt x="236" y="943"/>
                  <a:pt x="236" y="942"/>
                </a:cubicBezTo>
                <a:cubicBezTo>
                  <a:pt x="236" y="942"/>
                  <a:pt x="236" y="941"/>
                  <a:pt x="236" y="941"/>
                </a:cubicBezTo>
                <a:cubicBezTo>
                  <a:pt x="236" y="940"/>
                  <a:pt x="235" y="940"/>
                  <a:pt x="235" y="939"/>
                </a:cubicBezTo>
                <a:cubicBezTo>
                  <a:pt x="235" y="939"/>
                  <a:pt x="235" y="939"/>
                  <a:pt x="236" y="939"/>
                </a:cubicBezTo>
                <a:cubicBezTo>
                  <a:pt x="236" y="939"/>
                  <a:pt x="236" y="938"/>
                  <a:pt x="236" y="938"/>
                </a:cubicBezTo>
                <a:cubicBezTo>
                  <a:pt x="237" y="938"/>
                  <a:pt x="238" y="937"/>
                  <a:pt x="239" y="937"/>
                </a:cubicBezTo>
                <a:cubicBezTo>
                  <a:pt x="240" y="936"/>
                  <a:pt x="241" y="937"/>
                  <a:pt x="242" y="937"/>
                </a:cubicBezTo>
                <a:cubicBezTo>
                  <a:pt x="243" y="938"/>
                  <a:pt x="242" y="940"/>
                  <a:pt x="243" y="941"/>
                </a:cubicBezTo>
                <a:cubicBezTo>
                  <a:pt x="243" y="941"/>
                  <a:pt x="243" y="941"/>
                  <a:pt x="244" y="941"/>
                </a:cubicBezTo>
                <a:cubicBezTo>
                  <a:pt x="244" y="941"/>
                  <a:pt x="244" y="942"/>
                  <a:pt x="244" y="942"/>
                </a:cubicBezTo>
                <a:cubicBezTo>
                  <a:pt x="244" y="942"/>
                  <a:pt x="245" y="942"/>
                  <a:pt x="246" y="942"/>
                </a:cubicBezTo>
                <a:cubicBezTo>
                  <a:pt x="246" y="941"/>
                  <a:pt x="247" y="941"/>
                  <a:pt x="247" y="942"/>
                </a:cubicBezTo>
                <a:cubicBezTo>
                  <a:pt x="248" y="943"/>
                  <a:pt x="247" y="943"/>
                  <a:pt x="246" y="943"/>
                </a:cubicBezTo>
                <a:cubicBezTo>
                  <a:pt x="245" y="943"/>
                  <a:pt x="246" y="944"/>
                  <a:pt x="246" y="945"/>
                </a:cubicBezTo>
                <a:cubicBezTo>
                  <a:pt x="245" y="945"/>
                  <a:pt x="245" y="946"/>
                  <a:pt x="246" y="946"/>
                </a:cubicBezTo>
                <a:cubicBezTo>
                  <a:pt x="246" y="947"/>
                  <a:pt x="247" y="946"/>
                  <a:pt x="248" y="946"/>
                </a:cubicBezTo>
                <a:cubicBezTo>
                  <a:pt x="248" y="946"/>
                  <a:pt x="248" y="947"/>
                  <a:pt x="249" y="947"/>
                </a:cubicBezTo>
                <a:cubicBezTo>
                  <a:pt x="249" y="948"/>
                  <a:pt x="250" y="947"/>
                  <a:pt x="251" y="948"/>
                </a:cubicBezTo>
                <a:cubicBezTo>
                  <a:pt x="251" y="948"/>
                  <a:pt x="251" y="950"/>
                  <a:pt x="250" y="950"/>
                </a:cubicBezTo>
                <a:close/>
                <a:moveTo>
                  <a:pt x="423" y="919"/>
                </a:moveTo>
                <a:cubicBezTo>
                  <a:pt x="423" y="919"/>
                  <a:pt x="423" y="920"/>
                  <a:pt x="422" y="920"/>
                </a:cubicBezTo>
                <a:cubicBezTo>
                  <a:pt x="421" y="920"/>
                  <a:pt x="421" y="919"/>
                  <a:pt x="421" y="919"/>
                </a:cubicBezTo>
                <a:cubicBezTo>
                  <a:pt x="420" y="918"/>
                  <a:pt x="419" y="918"/>
                  <a:pt x="419" y="918"/>
                </a:cubicBezTo>
                <a:cubicBezTo>
                  <a:pt x="418" y="918"/>
                  <a:pt x="417" y="918"/>
                  <a:pt x="416" y="918"/>
                </a:cubicBezTo>
                <a:cubicBezTo>
                  <a:pt x="416" y="918"/>
                  <a:pt x="415" y="918"/>
                  <a:pt x="414" y="918"/>
                </a:cubicBezTo>
                <a:cubicBezTo>
                  <a:pt x="414" y="917"/>
                  <a:pt x="414" y="917"/>
                  <a:pt x="413" y="917"/>
                </a:cubicBezTo>
                <a:cubicBezTo>
                  <a:pt x="413" y="916"/>
                  <a:pt x="409" y="916"/>
                  <a:pt x="410" y="915"/>
                </a:cubicBezTo>
                <a:cubicBezTo>
                  <a:pt x="410" y="915"/>
                  <a:pt x="411" y="915"/>
                  <a:pt x="412" y="914"/>
                </a:cubicBezTo>
                <a:cubicBezTo>
                  <a:pt x="412" y="914"/>
                  <a:pt x="413" y="914"/>
                  <a:pt x="413" y="914"/>
                </a:cubicBezTo>
                <a:cubicBezTo>
                  <a:pt x="414" y="913"/>
                  <a:pt x="416" y="914"/>
                  <a:pt x="416" y="914"/>
                </a:cubicBezTo>
                <a:cubicBezTo>
                  <a:pt x="417" y="915"/>
                  <a:pt x="417" y="916"/>
                  <a:pt x="418" y="915"/>
                </a:cubicBezTo>
                <a:cubicBezTo>
                  <a:pt x="419" y="915"/>
                  <a:pt x="419" y="914"/>
                  <a:pt x="419" y="914"/>
                </a:cubicBezTo>
                <a:cubicBezTo>
                  <a:pt x="420" y="914"/>
                  <a:pt x="420" y="914"/>
                  <a:pt x="420" y="914"/>
                </a:cubicBezTo>
                <a:cubicBezTo>
                  <a:pt x="421" y="915"/>
                  <a:pt x="422" y="915"/>
                  <a:pt x="422" y="915"/>
                </a:cubicBezTo>
                <a:cubicBezTo>
                  <a:pt x="424" y="915"/>
                  <a:pt x="423" y="917"/>
                  <a:pt x="423" y="919"/>
                </a:cubicBezTo>
                <a:close/>
                <a:moveTo>
                  <a:pt x="533" y="894"/>
                </a:moveTo>
                <a:cubicBezTo>
                  <a:pt x="531" y="895"/>
                  <a:pt x="529" y="897"/>
                  <a:pt x="526" y="898"/>
                </a:cubicBezTo>
                <a:cubicBezTo>
                  <a:pt x="526" y="898"/>
                  <a:pt x="525" y="898"/>
                  <a:pt x="524" y="898"/>
                </a:cubicBezTo>
                <a:cubicBezTo>
                  <a:pt x="524" y="899"/>
                  <a:pt x="523" y="899"/>
                  <a:pt x="523" y="900"/>
                </a:cubicBezTo>
                <a:cubicBezTo>
                  <a:pt x="522" y="901"/>
                  <a:pt x="521" y="901"/>
                  <a:pt x="520" y="902"/>
                </a:cubicBezTo>
                <a:cubicBezTo>
                  <a:pt x="519" y="902"/>
                  <a:pt x="518" y="903"/>
                  <a:pt x="517" y="904"/>
                </a:cubicBezTo>
                <a:cubicBezTo>
                  <a:pt x="516" y="904"/>
                  <a:pt x="515" y="904"/>
                  <a:pt x="515" y="903"/>
                </a:cubicBezTo>
                <a:cubicBezTo>
                  <a:pt x="515" y="903"/>
                  <a:pt x="516" y="901"/>
                  <a:pt x="516" y="901"/>
                </a:cubicBezTo>
                <a:cubicBezTo>
                  <a:pt x="516" y="900"/>
                  <a:pt x="519" y="900"/>
                  <a:pt x="520" y="900"/>
                </a:cubicBezTo>
                <a:cubicBezTo>
                  <a:pt x="521" y="899"/>
                  <a:pt x="522" y="899"/>
                  <a:pt x="523" y="898"/>
                </a:cubicBezTo>
                <a:cubicBezTo>
                  <a:pt x="525" y="896"/>
                  <a:pt x="526" y="895"/>
                  <a:pt x="527" y="893"/>
                </a:cubicBezTo>
                <a:cubicBezTo>
                  <a:pt x="528" y="892"/>
                  <a:pt x="529" y="891"/>
                  <a:pt x="530" y="891"/>
                </a:cubicBezTo>
                <a:cubicBezTo>
                  <a:pt x="531" y="891"/>
                  <a:pt x="531" y="892"/>
                  <a:pt x="532" y="892"/>
                </a:cubicBezTo>
                <a:cubicBezTo>
                  <a:pt x="533" y="892"/>
                  <a:pt x="534" y="892"/>
                  <a:pt x="534" y="892"/>
                </a:cubicBezTo>
                <a:cubicBezTo>
                  <a:pt x="537" y="892"/>
                  <a:pt x="535" y="893"/>
                  <a:pt x="533" y="894"/>
                </a:cubicBezTo>
                <a:close/>
                <a:moveTo>
                  <a:pt x="554" y="877"/>
                </a:moveTo>
                <a:cubicBezTo>
                  <a:pt x="554" y="878"/>
                  <a:pt x="553" y="879"/>
                  <a:pt x="553" y="879"/>
                </a:cubicBezTo>
                <a:cubicBezTo>
                  <a:pt x="553" y="880"/>
                  <a:pt x="553" y="881"/>
                  <a:pt x="553" y="881"/>
                </a:cubicBezTo>
                <a:cubicBezTo>
                  <a:pt x="553" y="883"/>
                  <a:pt x="551" y="883"/>
                  <a:pt x="550" y="884"/>
                </a:cubicBezTo>
                <a:cubicBezTo>
                  <a:pt x="548" y="884"/>
                  <a:pt x="548" y="885"/>
                  <a:pt x="546" y="885"/>
                </a:cubicBezTo>
                <a:cubicBezTo>
                  <a:pt x="545" y="885"/>
                  <a:pt x="544" y="885"/>
                  <a:pt x="544" y="885"/>
                </a:cubicBezTo>
                <a:cubicBezTo>
                  <a:pt x="543" y="885"/>
                  <a:pt x="542" y="884"/>
                  <a:pt x="541" y="884"/>
                </a:cubicBezTo>
                <a:cubicBezTo>
                  <a:pt x="540" y="883"/>
                  <a:pt x="541" y="882"/>
                  <a:pt x="542" y="882"/>
                </a:cubicBezTo>
                <a:cubicBezTo>
                  <a:pt x="543" y="881"/>
                  <a:pt x="544" y="880"/>
                  <a:pt x="545" y="879"/>
                </a:cubicBezTo>
                <a:cubicBezTo>
                  <a:pt x="547" y="878"/>
                  <a:pt x="548" y="875"/>
                  <a:pt x="550" y="874"/>
                </a:cubicBezTo>
                <a:cubicBezTo>
                  <a:pt x="551" y="873"/>
                  <a:pt x="551" y="872"/>
                  <a:pt x="552" y="871"/>
                </a:cubicBezTo>
                <a:cubicBezTo>
                  <a:pt x="552" y="870"/>
                  <a:pt x="552" y="870"/>
                  <a:pt x="552" y="869"/>
                </a:cubicBezTo>
                <a:cubicBezTo>
                  <a:pt x="552" y="868"/>
                  <a:pt x="553" y="868"/>
                  <a:pt x="553" y="869"/>
                </a:cubicBezTo>
                <a:cubicBezTo>
                  <a:pt x="554" y="870"/>
                  <a:pt x="553" y="872"/>
                  <a:pt x="554" y="873"/>
                </a:cubicBezTo>
                <a:cubicBezTo>
                  <a:pt x="554" y="874"/>
                  <a:pt x="554" y="876"/>
                  <a:pt x="554" y="877"/>
                </a:cubicBezTo>
                <a:close/>
                <a:moveTo>
                  <a:pt x="48" y="1990"/>
                </a:moveTo>
                <a:cubicBezTo>
                  <a:pt x="46" y="1990"/>
                  <a:pt x="45" y="1990"/>
                  <a:pt x="43" y="1990"/>
                </a:cubicBezTo>
                <a:cubicBezTo>
                  <a:pt x="43" y="1990"/>
                  <a:pt x="40" y="1990"/>
                  <a:pt x="41" y="1989"/>
                </a:cubicBezTo>
                <a:cubicBezTo>
                  <a:pt x="41" y="1988"/>
                  <a:pt x="44" y="1989"/>
                  <a:pt x="44" y="1989"/>
                </a:cubicBezTo>
                <a:cubicBezTo>
                  <a:pt x="46" y="1989"/>
                  <a:pt x="46" y="1989"/>
                  <a:pt x="48" y="1988"/>
                </a:cubicBezTo>
                <a:cubicBezTo>
                  <a:pt x="48" y="1988"/>
                  <a:pt x="49" y="1988"/>
                  <a:pt x="49" y="1989"/>
                </a:cubicBezTo>
                <a:cubicBezTo>
                  <a:pt x="49" y="1989"/>
                  <a:pt x="48" y="1990"/>
                  <a:pt x="48" y="1990"/>
                </a:cubicBezTo>
                <a:close/>
                <a:moveTo>
                  <a:pt x="74" y="1991"/>
                </a:moveTo>
                <a:cubicBezTo>
                  <a:pt x="73" y="1992"/>
                  <a:pt x="73" y="1992"/>
                  <a:pt x="72" y="1991"/>
                </a:cubicBezTo>
                <a:cubicBezTo>
                  <a:pt x="72" y="1991"/>
                  <a:pt x="71" y="1992"/>
                  <a:pt x="71" y="1991"/>
                </a:cubicBezTo>
                <a:cubicBezTo>
                  <a:pt x="71" y="1991"/>
                  <a:pt x="71" y="1990"/>
                  <a:pt x="71" y="1989"/>
                </a:cubicBezTo>
                <a:cubicBezTo>
                  <a:pt x="72" y="1989"/>
                  <a:pt x="72" y="1989"/>
                  <a:pt x="72" y="1988"/>
                </a:cubicBezTo>
                <a:cubicBezTo>
                  <a:pt x="72" y="1988"/>
                  <a:pt x="72" y="1987"/>
                  <a:pt x="72" y="1986"/>
                </a:cubicBezTo>
                <a:cubicBezTo>
                  <a:pt x="73" y="1986"/>
                  <a:pt x="73" y="1987"/>
                  <a:pt x="73" y="1988"/>
                </a:cubicBezTo>
                <a:cubicBezTo>
                  <a:pt x="73" y="1989"/>
                  <a:pt x="74" y="1990"/>
                  <a:pt x="74" y="1991"/>
                </a:cubicBezTo>
                <a:close/>
                <a:moveTo>
                  <a:pt x="763" y="1454"/>
                </a:moveTo>
                <a:cubicBezTo>
                  <a:pt x="763" y="1452"/>
                  <a:pt x="763" y="1451"/>
                  <a:pt x="765" y="1452"/>
                </a:cubicBezTo>
                <a:cubicBezTo>
                  <a:pt x="766" y="1452"/>
                  <a:pt x="767" y="1454"/>
                  <a:pt x="769" y="1455"/>
                </a:cubicBezTo>
                <a:cubicBezTo>
                  <a:pt x="771" y="1456"/>
                  <a:pt x="773" y="1458"/>
                  <a:pt x="769" y="1459"/>
                </a:cubicBezTo>
                <a:cubicBezTo>
                  <a:pt x="768" y="1459"/>
                  <a:pt x="768" y="1458"/>
                  <a:pt x="767" y="1458"/>
                </a:cubicBezTo>
                <a:cubicBezTo>
                  <a:pt x="766" y="1457"/>
                  <a:pt x="764" y="1457"/>
                  <a:pt x="763" y="1457"/>
                </a:cubicBezTo>
                <a:cubicBezTo>
                  <a:pt x="762" y="1456"/>
                  <a:pt x="763" y="1455"/>
                  <a:pt x="763" y="1454"/>
                </a:cubicBezTo>
                <a:close/>
                <a:moveTo>
                  <a:pt x="778" y="2090"/>
                </a:moveTo>
                <a:cubicBezTo>
                  <a:pt x="778" y="2090"/>
                  <a:pt x="779" y="2088"/>
                  <a:pt x="780" y="2090"/>
                </a:cubicBezTo>
                <a:cubicBezTo>
                  <a:pt x="780" y="2090"/>
                  <a:pt x="780" y="2091"/>
                  <a:pt x="781" y="2091"/>
                </a:cubicBezTo>
                <a:cubicBezTo>
                  <a:pt x="782" y="2091"/>
                  <a:pt x="783" y="2091"/>
                  <a:pt x="784" y="2091"/>
                </a:cubicBezTo>
                <a:cubicBezTo>
                  <a:pt x="786" y="2091"/>
                  <a:pt x="788" y="2090"/>
                  <a:pt x="789" y="2088"/>
                </a:cubicBezTo>
                <a:cubicBezTo>
                  <a:pt x="790" y="2087"/>
                  <a:pt x="790" y="2086"/>
                  <a:pt x="791" y="2085"/>
                </a:cubicBezTo>
                <a:cubicBezTo>
                  <a:pt x="791" y="2083"/>
                  <a:pt x="792" y="2083"/>
                  <a:pt x="793" y="2084"/>
                </a:cubicBezTo>
                <a:cubicBezTo>
                  <a:pt x="793" y="2086"/>
                  <a:pt x="794" y="2086"/>
                  <a:pt x="795" y="2087"/>
                </a:cubicBezTo>
                <a:cubicBezTo>
                  <a:pt x="795" y="2088"/>
                  <a:pt x="795" y="2089"/>
                  <a:pt x="796" y="2089"/>
                </a:cubicBezTo>
                <a:cubicBezTo>
                  <a:pt x="797" y="2091"/>
                  <a:pt x="798" y="2087"/>
                  <a:pt x="799" y="2086"/>
                </a:cubicBezTo>
                <a:cubicBezTo>
                  <a:pt x="800" y="2086"/>
                  <a:pt x="800" y="2089"/>
                  <a:pt x="801" y="2089"/>
                </a:cubicBezTo>
                <a:cubicBezTo>
                  <a:pt x="802" y="2090"/>
                  <a:pt x="804" y="2088"/>
                  <a:pt x="805" y="2089"/>
                </a:cubicBezTo>
                <a:cubicBezTo>
                  <a:pt x="806" y="2090"/>
                  <a:pt x="804" y="2092"/>
                  <a:pt x="805" y="2093"/>
                </a:cubicBezTo>
                <a:cubicBezTo>
                  <a:pt x="805" y="2095"/>
                  <a:pt x="807" y="2095"/>
                  <a:pt x="808" y="2096"/>
                </a:cubicBezTo>
                <a:cubicBezTo>
                  <a:pt x="808" y="2096"/>
                  <a:pt x="808" y="2096"/>
                  <a:pt x="808" y="2097"/>
                </a:cubicBezTo>
                <a:cubicBezTo>
                  <a:pt x="808" y="2097"/>
                  <a:pt x="809" y="2097"/>
                  <a:pt x="809" y="2097"/>
                </a:cubicBezTo>
                <a:cubicBezTo>
                  <a:pt x="810" y="2098"/>
                  <a:pt x="809" y="2099"/>
                  <a:pt x="810" y="2099"/>
                </a:cubicBezTo>
                <a:cubicBezTo>
                  <a:pt x="810" y="2101"/>
                  <a:pt x="812" y="2099"/>
                  <a:pt x="812" y="2098"/>
                </a:cubicBezTo>
                <a:cubicBezTo>
                  <a:pt x="813" y="2097"/>
                  <a:pt x="812" y="2095"/>
                  <a:pt x="814" y="2096"/>
                </a:cubicBezTo>
                <a:cubicBezTo>
                  <a:pt x="815" y="2096"/>
                  <a:pt x="816" y="2096"/>
                  <a:pt x="816" y="2096"/>
                </a:cubicBezTo>
                <a:cubicBezTo>
                  <a:pt x="817" y="2096"/>
                  <a:pt x="817" y="2095"/>
                  <a:pt x="818" y="2095"/>
                </a:cubicBezTo>
                <a:cubicBezTo>
                  <a:pt x="820" y="2095"/>
                  <a:pt x="820" y="2096"/>
                  <a:pt x="821" y="2097"/>
                </a:cubicBezTo>
                <a:cubicBezTo>
                  <a:pt x="821" y="2098"/>
                  <a:pt x="822" y="2098"/>
                  <a:pt x="821" y="2098"/>
                </a:cubicBezTo>
                <a:cubicBezTo>
                  <a:pt x="821" y="2099"/>
                  <a:pt x="820" y="2098"/>
                  <a:pt x="820" y="2099"/>
                </a:cubicBezTo>
                <a:cubicBezTo>
                  <a:pt x="820" y="2099"/>
                  <a:pt x="820" y="2099"/>
                  <a:pt x="819" y="2099"/>
                </a:cubicBezTo>
                <a:cubicBezTo>
                  <a:pt x="818" y="2099"/>
                  <a:pt x="818" y="2099"/>
                  <a:pt x="817" y="2099"/>
                </a:cubicBezTo>
                <a:cubicBezTo>
                  <a:pt x="817" y="2099"/>
                  <a:pt x="816" y="2098"/>
                  <a:pt x="815" y="2099"/>
                </a:cubicBezTo>
                <a:cubicBezTo>
                  <a:pt x="814" y="2099"/>
                  <a:pt x="815" y="2100"/>
                  <a:pt x="815" y="2101"/>
                </a:cubicBezTo>
                <a:cubicBezTo>
                  <a:pt x="815" y="2101"/>
                  <a:pt x="815" y="2102"/>
                  <a:pt x="814" y="2102"/>
                </a:cubicBezTo>
                <a:cubicBezTo>
                  <a:pt x="813" y="2102"/>
                  <a:pt x="814" y="2101"/>
                  <a:pt x="813" y="2101"/>
                </a:cubicBezTo>
                <a:cubicBezTo>
                  <a:pt x="813" y="2100"/>
                  <a:pt x="812" y="2101"/>
                  <a:pt x="812" y="2101"/>
                </a:cubicBezTo>
                <a:cubicBezTo>
                  <a:pt x="811" y="2101"/>
                  <a:pt x="811" y="2101"/>
                  <a:pt x="810" y="2101"/>
                </a:cubicBezTo>
                <a:cubicBezTo>
                  <a:pt x="810" y="2101"/>
                  <a:pt x="809" y="2101"/>
                  <a:pt x="809" y="2101"/>
                </a:cubicBezTo>
                <a:cubicBezTo>
                  <a:pt x="808" y="2101"/>
                  <a:pt x="808" y="2102"/>
                  <a:pt x="808" y="2102"/>
                </a:cubicBezTo>
                <a:cubicBezTo>
                  <a:pt x="808" y="2103"/>
                  <a:pt x="807" y="2103"/>
                  <a:pt x="807" y="2104"/>
                </a:cubicBezTo>
                <a:cubicBezTo>
                  <a:pt x="806" y="2105"/>
                  <a:pt x="806" y="2106"/>
                  <a:pt x="807" y="2107"/>
                </a:cubicBezTo>
                <a:cubicBezTo>
                  <a:pt x="807" y="2108"/>
                  <a:pt x="808" y="2108"/>
                  <a:pt x="809" y="2109"/>
                </a:cubicBezTo>
                <a:cubicBezTo>
                  <a:pt x="809" y="2110"/>
                  <a:pt x="809" y="2110"/>
                  <a:pt x="808" y="2111"/>
                </a:cubicBezTo>
                <a:cubicBezTo>
                  <a:pt x="808" y="2111"/>
                  <a:pt x="807" y="2111"/>
                  <a:pt x="807" y="2111"/>
                </a:cubicBezTo>
                <a:cubicBezTo>
                  <a:pt x="806" y="2112"/>
                  <a:pt x="806" y="2113"/>
                  <a:pt x="806" y="2113"/>
                </a:cubicBezTo>
                <a:cubicBezTo>
                  <a:pt x="806" y="2114"/>
                  <a:pt x="806" y="2115"/>
                  <a:pt x="806" y="2115"/>
                </a:cubicBezTo>
                <a:cubicBezTo>
                  <a:pt x="805" y="2116"/>
                  <a:pt x="805" y="2116"/>
                  <a:pt x="805" y="2117"/>
                </a:cubicBezTo>
                <a:cubicBezTo>
                  <a:pt x="805" y="2118"/>
                  <a:pt x="806" y="2118"/>
                  <a:pt x="805" y="2119"/>
                </a:cubicBezTo>
                <a:cubicBezTo>
                  <a:pt x="804" y="2119"/>
                  <a:pt x="804" y="2119"/>
                  <a:pt x="803" y="2118"/>
                </a:cubicBezTo>
                <a:cubicBezTo>
                  <a:pt x="803" y="2118"/>
                  <a:pt x="802" y="2118"/>
                  <a:pt x="801" y="2118"/>
                </a:cubicBezTo>
                <a:cubicBezTo>
                  <a:pt x="801" y="2119"/>
                  <a:pt x="802" y="2120"/>
                  <a:pt x="802" y="2120"/>
                </a:cubicBezTo>
                <a:cubicBezTo>
                  <a:pt x="803" y="2122"/>
                  <a:pt x="800" y="2121"/>
                  <a:pt x="800" y="2121"/>
                </a:cubicBezTo>
                <a:cubicBezTo>
                  <a:pt x="799" y="2122"/>
                  <a:pt x="800" y="2124"/>
                  <a:pt x="799" y="2125"/>
                </a:cubicBezTo>
                <a:cubicBezTo>
                  <a:pt x="799" y="2126"/>
                  <a:pt x="798" y="2126"/>
                  <a:pt x="798" y="2127"/>
                </a:cubicBezTo>
                <a:cubicBezTo>
                  <a:pt x="797" y="2127"/>
                  <a:pt x="797" y="2128"/>
                  <a:pt x="796" y="2128"/>
                </a:cubicBezTo>
                <a:cubicBezTo>
                  <a:pt x="795" y="2128"/>
                  <a:pt x="794" y="2127"/>
                  <a:pt x="793" y="2128"/>
                </a:cubicBezTo>
                <a:cubicBezTo>
                  <a:pt x="793" y="2128"/>
                  <a:pt x="793" y="2129"/>
                  <a:pt x="792" y="2129"/>
                </a:cubicBezTo>
                <a:cubicBezTo>
                  <a:pt x="792" y="2129"/>
                  <a:pt x="791" y="2129"/>
                  <a:pt x="791" y="2130"/>
                </a:cubicBezTo>
                <a:cubicBezTo>
                  <a:pt x="791" y="2131"/>
                  <a:pt x="793" y="2130"/>
                  <a:pt x="793" y="2130"/>
                </a:cubicBezTo>
                <a:cubicBezTo>
                  <a:pt x="795" y="2130"/>
                  <a:pt x="794" y="2131"/>
                  <a:pt x="793" y="2132"/>
                </a:cubicBezTo>
                <a:cubicBezTo>
                  <a:pt x="793" y="2133"/>
                  <a:pt x="792" y="2133"/>
                  <a:pt x="791" y="2133"/>
                </a:cubicBezTo>
                <a:cubicBezTo>
                  <a:pt x="791" y="2133"/>
                  <a:pt x="790" y="2132"/>
                  <a:pt x="789" y="2132"/>
                </a:cubicBezTo>
                <a:cubicBezTo>
                  <a:pt x="789" y="2133"/>
                  <a:pt x="790" y="2133"/>
                  <a:pt x="790" y="2134"/>
                </a:cubicBezTo>
                <a:cubicBezTo>
                  <a:pt x="791" y="2134"/>
                  <a:pt x="791" y="2134"/>
                  <a:pt x="791" y="2135"/>
                </a:cubicBezTo>
                <a:cubicBezTo>
                  <a:pt x="793" y="2135"/>
                  <a:pt x="794" y="2135"/>
                  <a:pt x="796" y="2135"/>
                </a:cubicBezTo>
                <a:cubicBezTo>
                  <a:pt x="797" y="2135"/>
                  <a:pt x="798" y="2136"/>
                  <a:pt x="800" y="2135"/>
                </a:cubicBezTo>
                <a:cubicBezTo>
                  <a:pt x="800" y="2135"/>
                  <a:pt x="801" y="2134"/>
                  <a:pt x="801" y="2134"/>
                </a:cubicBezTo>
                <a:cubicBezTo>
                  <a:pt x="802" y="2135"/>
                  <a:pt x="801" y="2135"/>
                  <a:pt x="801" y="2136"/>
                </a:cubicBezTo>
                <a:cubicBezTo>
                  <a:pt x="800" y="2136"/>
                  <a:pt x="800" y="2137"/>
                  <a:pt x="800" y="2137"/>
                </a:cubicBezTo>
                <a:cubicBezTo>
                  <a:pt x="799" y="2138"/>
                  <a:pt x="799" y="2138"/>
                  <a:pt x="798" y="2138"/>
                </a:cubicBezTo>
                <a:cubicBezTo>
                  <a:pt x="797" y="2139"/>
                  <a:pt x="796" y="2140"/>
                  <a:pt x="795" y="2141"/>
                </a:cubicBezTo>
                <a:cubicBezTo>
                  <a:pt x="795" y="2142"/>
                  <a:pt x="794" y="2143"/>
                  <a:pt x="793" y="2143"/>
                </a:cubicBezTo>
                <a:cubicBezTo>
                  <a:pt x="792" y="2143"/>
                  <a:pt x="793" y="2141"/>
                  <a:pt x="791" y="2141"/>
                </a:cubicBezTo>
                <a:cubicBezTo>
                  <a:pt x="790" y="2141"/>
                  <a:pt x="790" y="2141"/>
                  <a:pt x="789" y="2141"/>
                </a:cubicBezTo>
                <a:cubicBezTo>
                  <a:pt x="788" y="2140"/>
                  <a:pt x="787" y="2141"/>
                  <a:pt x="786" y="2140"/>
                </a:cubicBezTo>
                <a:cubicBezTo>
                  <a:pt x="785" y="2140"/>
                  <a:pt x="785" y="2140"/>
                  <a:pt x="785" y="2140"/>
                </a:cubicBezTo>
                <a:cubicBezTo>
                  <a:pt x="784" y="2140"/>
                  <a:pt x="784" y="2141"/>
                  <a:pt x="784" y="2141"/>
                </a:cubicBezTo>
                <a:cubicBezTo>
                  <a:pt x="784" y="2142"/>
                  <a:pt x="784" y="2143"/>
                  <a:pt x="784" y="2143"/>
                </a:cubicBezTo>
                <a:cubicBezTo>
                  <a:pt x="783" y="2144"/>
                  <a:pt x="783" y="2143"/>
                  <a:pt x="783" y="2143"/>
                </a:cubicBezTo>
                <a:cubicBezTo>
                  <a:pt x="782" y="2142"/>
                  <a:pt x="780" y="2144"/>
                  <a:pt x="779" y="2142"/>
                </a:cubicBezTo>
                <a:cubicBezTo>
                  <a:pt x="779" y="2141"/>
                  <a:pt x="780" y="2140"/>
                  <a:pt x="779" y="2140"/>
                </a:cubicBezTo>
                <a:cubicBezTo>
                  <a:pt x="779" y="2139"/>
                  <a:pt x="778" y="2140"/>
                  <a:pt x="778" y="2141"/>
                </a:cubicBezTo>
                <a:cubicBezTo>
                  <a:pt x="778" y="2141"/>
                  <a:pt x="777" y="2142"/>
                  <a:pt x="777" y="2141"/>
                </a:cubicBezTo>
                <a:cubicBezTo>
                  <a:pt x="776" y="2141"/>
                  <a:pt x="776" y="2141"/>
                  <a:pt x="776" y="2141"/>
                </a:cubicBezTo>
                <a:cubicBezTo>
                  <a:pt x="775" y="2141"/>
                  <a:pt x="775" y="2141"/>
                  <a:pt x="774" y="2141"/>
                </a:cubicBezTo>
                <a:cubicBezTo>
                  <a:pt x="773" y="2140"/>
                  <a:pt x="773" y="2140"/>
                  <a:pt x="773" y="2139"/>
                </a:cubicBezTo>
                <a:cubicBezTo>
                  <a:pt x="773" y="2138"/>
                  <a:pt x="773" y="2138"/>
                  <a:pt x="772" y="2138"/>
                </a:cubicBezTo>
                <a:cubicBezTo>
                  <a:pt x="771" y="2137"/>
                  <a:pt x="771" y="2137"/>
                  <a:pt x="771" y="2137"/>
                </a:cubicBezTo>
                <a:cubicBezTo>
                  <a:pt x="771" y="2137"/>
                  <a:pt x="771" y="2136"/>
                  <a:pt x="770" y="2136"/>
                </a:cubicBezTo>
                <a:cubicBezTo>
                  <a:pt x="770" y="2136"/>
                  <a:pt x="770" y="2138"/>
                  <a:pt x="769" y="2138"/>
                </a:cubicBezTo>
                <a:cubicBezTo>
                  <a:pt x="769" y="2139"/>
                  <a:pt x="769" y="2139"/>
                  <a:pt x="768" y="2139"/>
                </a:cubicBezTo>
                <a:cubicBezTo>
                  <a:pt x="768" y="2139"/>
                  <a:pt x="766" y="2138"/>
                  <a:pt x="767" y="2140"/>
                </a:cubicBezTo>
                <a:cubicBezTo>
                  <a:pt x="767" y="2140"/>
                  <a:pt x="767" y="2140"/>
                  <a:pt x="768" y="2140"/>
                </a:cubicBezTo>
                <a:cubicBezTo>
                  <a:pt x="768" y="2140"/>
                  <a:pt x="768" y="2140"/>
                  <a:pt x="768" y="2141"/>
                </a:cubicBezTo>
                <a:cubicBezTo>
                  <a:pt x="768" y="2141"/>
                  <a:pt x="769" y="2142"/>
                  <a:pt x="768" y="2142"/>
                </a:cubicBezTo>
                <a:cubicBezTo>
                  <a:pt x="768" y="2143"/>
                  <a:pt x="766" y="2140"/>
                  <a:pt x="765" y="2142"/>
                </a:cubicBezTo>
                <a:cubicBezTo>
                  <a:pt x="765" y="2143"/>
                  <a:pt x="766" y="2146"/>
                  <a:pt x="765" y="2146"/>
                </a:cubicBezTo>
                <a:cubicBezTo>
                  <a:pt x="765" y="2146"/>
                  <a:pt x="765" y="2144"/>
                  <a:pt x="764" y="2144"/>
                </a:cubicBezTo>
                <a:cubicBezTo>
                  <a:pt x="764" y="2144"/>
                  <a:pt x="764" y="2146"/>
                  <a:pt x="763" y="2146"/>
                </a:cubicBezTo>
                <a:cubicBezTo>
                  <a:pt x="763" y="2146"/>
                  <a:pt x="762" y="2145"/>
                  <a:pt x="762" y="2144"/>
                </a:cubicBezTo>
                <a:cubicBezTo>
                  <a:pt x="761" y="2144"/>
                  <a:pt x="762" y="2143"/>
                  <a:pt x="762" y="2142"/>
                </a:cubicBezTo>
                <a:cubicBezTo>
                  <a:pt x="761" y="2140"/>
                  <a:pt x="760" y="2140"/>
                  <a:pt x="760" y="2139"/>
                </a:cubicBezTo>
                <a:cubicBezTo>
                  <a:pt x="759" y="2138"/>
                  <a:pt x="760" y="2137"/>
                  <a:pt x="760" y="2136"/>
                </a:cubicBezTo>
                <a:cubicBezTo>
                  <a:pt x="760" y="2136"/>
                  <a:pt x="759" y="2135"/>
                  <a:pt x="759" y="2135"/>
                </a:cubicBezTo>
                <a:cubicBezTo>
                  <a:pt x="758" y="2133"/>
                  <a:pt x="758" y="2132"/>
                  <a:pt x="759" y="2131"/>
                </a:cubicBezTo>
                <a:cubicBezTo>
                  <a:pt x="760" y="2129"/>
                  <a:pt x="760" y="2128"/>
                  <a:pt x="761" y="2126"/>
                </a:cubicBezTo>
                <a:cubicBezTo>
                  <a:pt x="761" y="2124"/>
                  <a:pt x="762" y="2123"/>
                  <a:pt x="762" y="2121"/>
                </a:cubicBezTo>
                <a:cubicBezTo>
                  <a:pt x="762" y="2119"/>
                  <a:pt x="762" y="2117"/>
                  <a:pt x="762" y="2116"/>
                </a:cubicBezTo>
                <a:cubicBezTo>
                  <a:pt x="763" y="2114"/>
                  <a:pt x="763" y="2113"/>
                  <a:pt x="762" y="2112"/>
                </a:cubicBezTo>
                <a:cubicBezTo>
                  <a:pt x="761" y="2110"/>
                  <a:pt x="761" y="2106"/>
                  <a:pt x="762" y="2104"/>
                </a:cubicBezTo>
                <a:cubicBezTo>
                  <a:pt x="763" y="2103"/>
                  <a:pt x="764" y="2102"/>
                  <a:pt x="765" y="2101"/>
                </a:cubicBezTo>
                <a:cubicBezTo>
                  <a:pt x="766" y="2100"/>
                  <a:pt x="767" y="2099"/>
                  <a:pt x="767" y="2097"/>
                </a:cubicBezTo>
                <a:cubicBezTo>
                  <a:pt x="766" y="2096"/>
                  <a:pt x="765" y="2096"/>
                  <a:pt x="766" y="2094"/>
                </a:cubicBezTo>
                <a:cubicBezTo>
                  <a:pt x="767" y="2093"/>
                  <a:pt x="768" y="2092"/>
                  <a:pt x="769" y="2092"/>
                </a:cubicBezTo>
                <a:cubicBezTo>
                  <a:pt x="772" y="2092"/>
                  <a:pt x="776" y="2093"/>
                  <a:pt x="778" y="2090"/>
                </a:cubicBezTo>
                <a:close/>
                <a:moveTo>
                  <a:pt x="810" y="671"/>
                </a:moveTo>
                <a:cubicBezTo>
                  <a:pt x="810" y="671"/>
                  <a:pt x="811" y="672"/>
                  <a:pt x="811" y="672"/>
                </a:cubicBezTo>
                <a:cubicBezTo>
                  <a:pt x="811" y="672"/>
                  <a:pt x="812" y="673"/>
                  <a:pt x="812" y="673"/>
                </a:cubicBezTo>
                <a:cubicBezTo>
                  <a:pt x="813" y="675"/>
                  <a:pt x="812" y="676"/>
                  <a:pt x="813" y="677"/>
                </a:cubicBezTo>
                <a:cubicBezTo>
                  <a:pt x="814" y="678"/>
                  <a:pt x="815" y="678"/>
                  <a:pt x="816" y="679"/>
                </a:cubicBezTo>
                <a:cubicBezTo>
                  <a:pt x="817" y="679"/>
                  <a:pt x="819" y="681"/>
                  <a:pt x="819" y="680"/>
                </a:cubicBezTo>
                <a:cubicBezTo>
                  <a:pt x="819" y="680"/>
                  <a:pt x="818" y="679"/>
                  <a:pt x="818" y="679"/>
                </a:cubicBezTo>
                <a:cubicBezTo>
                  <a:pt x="818" y="678"/>
                  <a:pt x="818" y="678"/>
                  <a:pt x="818" y="678"/>
                </a:cubicBezTo>
                <a:cubicBezTo>
                  <a:pt x="818" y="677"/>
                  <a:pt x="818" y="677"/>
                  <a:pt x="818" y="676"/>
                </a:cubicBezTo>
                <a:cubicBezTo>
                  <a:pt x="818" y="675"/>
                  <a:pt x="819" y="676"/>
                  <a:pt x="820" y="676"/>
                </a:cubicBezTo>
                <a:cubicBezTo>
                  <a:pt x="821" y="675"/>
                  <a:pt x="820" y="675"/>
                  <a:pt x="819" y="675"/>
                </a:cubicBezTo>
                <a:cubicBezTo>
                  <a:pt x="818" y="674"/>
                  <a:pt x="818" y="674"/>
                  <a:pt x="818" y="673"/>
                </a:cubicBezTo>
                <a:cubicBezTo>
                  <a:pt x="818" y="672"/>
                  <a:pt x="817" y="671"/>
                  <a:pt x="818" y="671"/>
                </a:cubicBezTo>
                <a:cubicBezTo>
                  <a:pt x="819" y="672"/>
                  <a:pt x="821" y="675"/>
                  <a:pt x="820" y="672"/>
                </a:cubicBezTo>
                <a:cubicBezTo>
                  <a:pt x="820" y="671"/>
                  <a:pt x="820" y="671"/>
                  <a:pt x="819" y="670"/>
                </a:cubicBezTo>
                <a:cubicBezTo>
                  <a:pt x="819" y="669"/>
                  <a:pt x="819" y="669"/>
                  <a:pt x="818" y="668"/>
                </a:cubicBezTo>
                <a:cubicBezTo>
                  <a:pt x="817" y="668"/>
                  <a:pt x="815" y="666"/>
                  <a:pt x="816" y="665"/>
                </a:cubicBezTo>
                <a:cubicBezTo>
                  <a:pt x="816" y="665"/>
                  <a:pt x="816" y="665"/>
                  <a:pt x="816" y="665"/>
                </a:cubicBezTo>
                <a:cubicBezTo>
                  <a:pt x="817" y="665"/>
                  <a:pt x="818" y="667"/>
                  <a:pt x="818" y="668"/>
                </a:cubicBezTo>
                <a:cubicBezTo>
                  <a:pt x="819" y="669"/>
                  <a:pt x="820" y="669"/>
                  <a:pt x="821" y="671"/>
                </a:cubicBezTo>
                <a:cubicBezTo>
                  <a:pt x="821" y="672"/>
                  <a:pt x="821" y="673"/>
                  <a:pt x="822" y="675"/>
                </a:cubicBezTo>
                <a:cubicBezTo>
                  <a:pt x="822" y="676"/>
                  <a:pt x="823" y="677"/>
                  <a:pt x="824" y="678"/>
                </a:cubicBezTo>
                <a:cubicBezTo>
                  <a:pt x="825" y="678"/>
                  <a:pt x="825" y="679"/>
                  <a:pt x="825" y="679"/>
                </a:cubicBezTo>
                <a:cubicBezTo>
                  <a:pt x="826" y="680"/>
                  <a:pt x="826" y="680"/>
                  <a:pt x="827" y="680"/>
                </a:cubicBezTo>
                <a:cubicBezTo>
                  <a:pt x="828" y="680"/>
                  <a:pt x="828" y="681"/>
                  <a:pt x="829" y="680"/>
                </a:cubicBezTo>
                <a:cubicBezTo>
                  <a:pt x="829" y="680"/>
                  <a:pt x="829" y="679"/>
                  <a:pt x="829" y="678"/>
                </a:cubicBezTo>
                <a:cubicBezTo>
                  <a:pt x="829" y="677"/>
                  <a:pt x="828" y="677"/>
                  <a:pt x="828" y="677"/>
                </a:cubicBezTo>
                <a:cubicBezTo>
                  <a:pt x="827" y="676"/>
                  <a:pt x="826" y="676"/>
                  <a:pt x="827" y="675"/>
                </a:cubicBezTo>
                <a:cubicBezTo>
                  <a:pt x="827" y="674"/>
                  <a:pt x="828" y="674"/>
                  <a:pt x="828" y="675"/>
                </a:cubicBezTo>
                <a:cubicBezTo>
                  <a:pt x="828" y="675"/>
                  <a:pt x="829" y="676"/>
                  <a:pt x="829" y="676"/>
                </a:cubicBezTo>
                <a:cubicBezTo>
                  <a:pt x="829" y="676"/>
                  <a:pt x="830" y="676"/>
                  <a:pt x="830" y="676"/>
                </a:cubicBezTo>
                <a:cubicBezTo>
                  <a:pt x="831" y="676"/>
                  <a:pt x="831" y="677"/>
                  <a:pt x="831" y="677"/>
                </a:cubicBezTo>
                <a:cubicBezTo>
                  <a:pt x="832" y="677"/>
                  <a:pt x="831" y="678"/>
                  <a:pt x="832" y="678"/>
                </a:cubicBezTo>
                <a:cubicBezTo>
                  <a:pt x="833" y="678"/>
                  <a:pt x="833" y="676"/>
                  <a:pt x="833" y="676"/>
                </a:cubicBezTo>
                <a:cubicBezTo>
                  <a:pt x="833" y="675"/>
                  <a:pt x="834" y="674"/>
                  <a:pt x="834" y="672"/>
                </a:cubicBezTo>
                <a:cubicBezTo>
                  <a:pt x="834" y="672"/>
                  <a:pt x="834" y="671"/>
                  <a:pt x="834" y="670"/>
                </a:cubicBezTo>
                <a:cubicBezTo>
                  <a:pt x="834" y="669"/>
                  <a:pt x="835" y="668"/>
                  <a:pt x="834" y="667"/>
                </a:cubicBezTo>
                <a:cubicBezTo>
                  <a:pt x="833" y="666"/>
                  <a:pt x="832" y="665"/>
                  <a:pt x="832" y="665"/>
                </a:cubicBezTo>
                <a:cubicBezTo>
                  <a:pt x="831" y="663"/>
                  <a:pt x="831" y="664"/>
                  <a:pt x="830" y="664"/>
                </a:cubicBezTo>
                <a:cubicBezTo>
                  <a:pt x="829" y="665"/>
                  <a:pt x="827" y="665"/>
                  <a:pt x="826" y="663"/>
                </a:cubicBezTo>
                <a:cubicBezTo>
                  <a:pt x="826" y="663"/>
                  <a:pt x="825" y="661"/>
                  <a:pt x="825" y="661"/>
                </a:cubicBezTo>
                <a:cubicBezTo>
                  <a:pt x="823" y="660"/>
                  <a:pt x="824" y="662"/>
                  <a:pt x="823" y="662"/>
                </a:cubicBezTo>
                <a:cubicBezTo>
                  <a:pt x="823" y="663"/>
                  <a:pt x="824" y="663"/>
                  <a:pt x="823" y="663"/>
                </a:cubicBezTo>
                <a:cubicBezTo>
                  <a:pt x="823" y="664"/>
                  <a:pt x="822" y="663"/>
                  <a:pt x="822" y="663"/>
                </a:cubicBezTo>
                <a:cubicBezTo>
                  <a:pt x="821" y="662"/>
                  <a:pt x="820" y="661"/>
                  <a:pt x="819" y="660"/>
                </a:cubicBezTo>
                <a:cubicBezTo>
                  <a:pt x="818" y="659"/>
                  <a:pt x="818" y="658"/>
                  <a:pt x="817" y="657"/>
                </a:cubicBezTo>
                <a:cubicBezTo>
                  <a:pt x="817" y="656"/>
                  <a:pt x="817" y="656"/>
                  <a:pt x="816" y="655"/>
                </a:cubicBezTo>
                <a:cubicBezTo>
                  <a:pt x="816" y="655"/>
                  <a:pt x="815" y="654"/>
                  <a:pt x="815" y="654"/>
                </a:cubicBezTo>
                <a:cubicBezTo>
                  <a:pt x="815" y="653"/>
                  <a:pt x="816" y="653"/>
                  <a:pt x="816" y="654"/>
                </a:cubicBezTo>
                <a:cubicBezTo>
                  <a:pt x="817" y="655"/>
                  <a:pt x="818" y="655"/>
                  <a:pt x="819" y="656"/>
                </a:cubicBezTo>
                <a:cubicBezTo>
                  <a:pt x="821" y="656"/>
                  <a:pt x="822" y="657"/>
                  <a:pt x="823" y="657"/>
                </a:cubicBezTo>
                <a:cubicBezTo>
                  <a:pt x="824" y="657"/>
                  <a:pt x="825" y="658"/>
                  <a:pt x="826" y="659"/>
                </a:cubicBezTo>
                <a:cubicBezTo>
                  <a:pt x="827" y="660"/>
                  <a:pt x="829" y="661"/>
                  <a:pt x="830" y="661"/>
                </a:cubicBezTo>
                <a:cubicBezTo>
                  <a:pt x="831" y="662"/>
                  <a:pt x="832" y="662"/>
                  <a:pt x="833" y="663"/>
                </a:cubicBezTo>
                <a:cubicBezTo>
                  <a:pt x="836" y="664"/>
                  <a:pt x="839" y="665"/>
                  <a:pt x="840" y="667"/>
                </a:cubicBezTo>
                <a:cubicBezTo>
                  <a:pt x="841" y="669"/>
                  <a:pt x="841" y="670"/>
                  <a:pt x="840" y="672"/>
                </a:cubicBezTo>
                <a:cubicBezTo>
                  <a:pt x="840" y="673"/>
                  <a:pt x="841" y="675"/>
                  <a:pt x="840" y="676"/>
                </a:cubicBezTo>
                <a:cubicBezTo>
                  <a:pt x="840" y="677"/>
                  <a:pt x="838" y="678"/>
                  <a:pt x="838" y="680"/>
                </a:cubicBezTo>
                <a:cubicBezTo>
                  <a:pt x="838" y="681"/>
                  <a:pt x="840" y="682"/>
                  <a:pt x="841" y="683"/>
                </a:cubicBezTo>
                <a:cubicBezTo>
                  <a:pt x="842" y="684"/>
                  <a:pt x="842" y="685"/>
                  <a:pt x="843" y="687"/>
                </a:cubicBezTo>
                <a:cubicBezTo>
                  <a:pt x="844" y="688"/>
                  <a:pt x="845" y="689"/>
                  <a:pt x="846" y="690"/>
                </a:cubicBezTo>
                <a:cubicBezTo>
                  <a:pt x="846" y="691"/>
                  <a:pt x="847" y="692"/>
                  <a:pt x="848" y="693"/>
                </a:cubicBezTo>
                <a:cubicBezTo>
                  <a:pt x="849" y="694"/>
                  <a:pt x="850" y="696"/>
                  <a:pt x="851" y="697"/>
                </a:cubicBezTo>
                <a:cubicBezTo>
                  <a:pt x="852" y="698"/>
                  <a:pt x="852" y="699"/>
                  <a:pt x="852" y="700"/>
                </a:cubicBezTo>
                <a:cubicBezTo>
                  <a:pt x="852" y="701"/>
                  <a:pt x="851" y="702"/>
                  <a:pt x="851" y="704"/>
                </a:cubicBezTo>
                <a:cubicBezTo>
                  <a:pt x="852" y="705"/>
                  <a:pt x="853" y="705"/>
                  <a:pt x="853" y="706"/>
                </a:cubicBezTo>
                <a:cubicBezTo>
                  <a:pt x="853" y="707"/>
                  <a:pt x="852" y="707"/>
                  <a:pt x="851" y="708"/>
                </a:cubicBezTo>
                <a:cubicBezTo>
                  <a:pt x="850" y="708"/>
                  <a:pt x="849" y="709"/>
                  <a:pt x="849" y="710"/>
                </a:cubicBezTo>
                <a:cubicBezTo>
                  <a:pt x="848" y="710"/>
                  <a:pt x="847" y="710"/>
                  <a:pt x="846" y="711"/>
                </a:cubicBezTo>
                <a:cubicBezTo>
                  <a:pt x="846" y="712"/>
                  <a:pt x="845" y="712"/>
                  <a:pt x="845" y="713"/>
                </a:cubicBezTo>
                <a:cubicBezTo>
                  <a:pt x="843" y="714"/>
                  <a:pt x="842" y="714"/>
                  <a:pt x="841" y="714"/>
                </a:cubicBezTo>
                <a:cubicBezTo>
                  <a:pt x="839" y="714"/>
                  <a:pt x="838" y="713"/>
                  <a:pt x="837" y="713"/>
                </a:cubicBezTo>
                <a:cubicBezTo>
                  <a:pt x="836" y="713"/>
                  <a:pt x="836" y="714"/>
                  <a:pt x="835" y="713"/>
                </a:cubicBezTo>
                <a:cubicBezTo>
                  <a:pt x="835" y="712"/>
                  <a:pt x="835" y="711"/>
                  <a:pt x="836" y="711"/>
                </a:cubicBezTo>
                <a:cubicBezTo>
                  <a:pt x="837" y="710"/>
                  <a:pt x="838" y="709"/>
                  <a:pt x="838" y="708"/>
                </a:cubicBezTo>
                <a:cubicBezTo>
                  <a:pt x="839" y="706"/>
                  <a:pt x="837" y="706"/>
                  <a:pt x="837" y="705"/>
                </a:cubicBezTo>
                <a:cubicBezTo>
                  <a:pt x="836" y="704"/>
                  <a:pt x="835" y="703"/>
                  <a:pt x="833" y="703"/>
                </a:cubicBezTo>
                <a:cubicBezTo>
                  <a:pt x="831" y="701"/>
                  <a:pt x="830" y="699"/>
                  <a:pt x="828" y="697"/>
                </a:cubicBezTo>
                <a:cubicBezTo>
                  <a:pt x="826" y="696"/>
                  <a:pt x="825" y="696"/>
                  <a:pt x="824" y="695"/>
                </a:cubicBezTo>
                <a:cubicBezTo>
                  <a:pt x="822" y="695"/>
                  <a:pt x="821" y="695"/>
                  <a:pt x="820" y="694"/>
                </a:cubicBezTo>
                <a:cubicBezTo>
                  <a:pt x="819" y="693"/>
                  <a:pt x="818" y="692"/>
                  <a:pt x="818" y="691"/>
                </a:cubicBezTo>
                <a:cubicBezTo>
                  <a:pt x="817" y="690"/>
                  <a:pt x="816" y="690"/>
                  <a:pt x="815" y="689"/>
                </a:cubicBezTo>
                <a:cubicBezTo>
                  <a:pt x="814" y="689"/>
                  <a:pt x="812" y="687"/>
                  <a:pt x="813" y="687"/>
                </a:cubicBezTo>
                <a:cubicBezTo>
                  <a:pt x="814" y="687"/>
                  <a:pt x="815" y="688"/>
                  <a:pt x="816" y="688"/>
                </a:cubicBezTo>
                <a:cubicBezTo>
                  <a:pt x="817" y="687"/>
                  <a:pt x="816" y="685"/>
                  <a:pt x="816" y="684"/>
                </a:cubicBezTo>
                <a:cubicBezTo>
                  <a:pt x="816" y="683"/>
                  <a:pt x="816" y="683"/>
                  <a:pt x="816" y="683"/>
                </a:cubicBezTo>
                <a:cubicBezTo>
                  <a:pt x="815" y="682"/>
                  <a:pt x="816" y="681"/>
                  <a:pt x="815" y="681"/>
                </a:cubicBezTo>
                <a:cubicBezTo>
                  <a:pt x="815" y="679"/>
                  <a:pt x="813" y="679"/>
                  <a:pt x="812" y="678"/>
                </a:cubicBezTo>
                <a:cubicBezTo>
                  <a:pt x="810" y="677"/>
                  <a:pt x="812" y="675"/>
                  <a:pt x="811" y="673"/>
                </a:cubicBezTo>
                <a:cubicBezTo>
                  <a:pt x="811" y="673"/>
                  <a:pt x="811" y="672"/>
                  <a:pt x="810" y="672"/>
                </a:cubicBezTo>
                <a:cubicBezTo>
                  <a:pt x="810" y="672"/>
                  <a:pt x="808" y="671"/>
                  <a:pt x="810" y="671"/>
                </a:cubicBezTo>
                <a:close/>
                <a:moveTo>
                  <a:pt x="832" y="710"/>
                </a:moveTo>
                <a:cubicBezTo>
                  <a:pt x="831" y="710"/>
                  <a:pt x="831" y="710"/>
                  <a:pt x="830" y="710"/>
                </a:cubicBezTo>
                <a:cubicBezTo>
                  <a:pt x="830" y="710"/>
                  <a:pt x="830" y="711"/>
                  <a:pt x="829" y="711"/>
                </a:cubicBezTo>
                <a:cubicBezTo>
                  <a:pt x="828" y="712"/>
                  <a:pt x="828" y="711"/>
                  <a:pt x="827" y="710"/>
                </a:cubicBezTo>
                <a:cubicBezTo>
                  <a:pt x="827" y="709"/>
                  <a:pt x="826" y="709"/>
                  <a:pt x="825" y="709"/>
                </a:cubicBezTo>
                <a:cubicBezTo>
                  <a:pt x="824" y="709"/>
                  <a:pt x="822" y="709"/>
                  <a:pt x="822" y="708"/>
                </a:cubicBezTo>
                <a:cubicBezTo>
                  <a:pt x="821" y="708"/>
                  <a:pt x="821" y="706"/>
                  <a:pt x="822" y="705"/>
                </a:cubicBezTo>
                <a:cubicBezTo>
                  <a:pt x="823" y="705"/>
                  <a:pt x="823" y="705"/>
                  <a:pt x="824" y="706"/>
                </a:cubicBezTo>
                <a:cubicBezTo>
                  <a:pt x="824" y="706"/>
                  <a:pt x="825" y="707"/>
                  <a:pt x="825" y="707"/>
                </a:cubicBezTo>
                <a:cubicBezTo>
                  <a:pt x="827" y="707"/>
                  <a:pt x="827" y="708"/>
                  <a:pt x="828" y="708"/>
                </a:cubicBezTo>
                <a:cubicBezTo>
                  <a:pt x="829" y="709"/>
                  <a:pt x="832" y="709"/>
                  <a:pt x="832" y="710"/>
                </a:cubicBezTo>
                <a:close/>
                <a:moveTo>
                  <a:pt x="803" y="1112"/>
                </a:moveTo>
                <a:cubicBezTo>
                  <a:pt x="805" y="1112"/>
                  <a:pt x="806" y="1112"/>
                  <a:pt x="807" y="1112"/>
                </a:cubicBezTo>
                <a:cubicBezTo>
                  <a:pt x="808" y="1112"/>
                  <a:pt x="809" y="1112"/>
                  <a:pt x="809" y="1111"/>
                </a:cubicBezTo>
                <a:cubicBezTo>
                  <a:pt x="809" y="1110"/>
                  <a:pt x="807" y="1110"/>
                  <a:pt x="808" y="1110"/>
                </a:cubicBezTo>
                <a:cubicBezTo>
                  <a:pt x="808" y="1109"/>
                  <a:pt x="809" y="1109"/>
                  <a:pt x="810" y="1110"/>
                </a:cubicBezTo>
                <a:cubicBezTo>
                  <a:pt x="810" y="1110"/>
                  <a:pt x="811" y="1110"/>
                  <a:pt x="811" y="1111"/>
                </a:cubicBezTo>
                <a:cubicBezTo>
                  <a:pt x="812" y="1111"/>
                  <a:pt x="812" y="1112"/>
                  <a:pt x="812" y="1112"/>
                </a:cubicBezTo>
                <a:cubicBezTo>
                  <a:pt x="813" y="1112"/>
                  <a:pt x="814" y="1111"/>
                  <a:pt x="815" y="1112"/>
                </a:cubicBezTo>
                <a:cubicBezTo>
                  <a:pt x="815" y="1112"/>
                  <a:pt x="814" y="1113"/>
                  <a:pt x="814" y="1114"/>
                </a:cubicBezTo>
                <a:cubicBezTo>
                  <a:pt x="814" y="1114"/>
                  <a:pt x="814" y="1115"/>
                  <a:pt x="814" y="1115"/>
                </a:cubicBezTo>
                <a:cubicBezTo>
                  <a:pt x="814" y="1115"/>
                  <a:pt x="813" y="1115"/>
                  <a:pt x="813" y="1115"/>
                </a:cubicBezTo>
                <a:cubicBezTo>
                  <a:pt x="813" y="1115"/>
                  <a:pt x="812" y="1116"/>
                  <a:pt x="812" y="1116"/>
                </a:cubicBezTo>
                <a:cubicBezTo>
                  <a:pt x="813" y="1117"/>
                  <a:pt x="813" y="1116"/>
                  <a:pt x="813" y="1116"/>
                </a:cubicBezTo>
                <a:cubicBezTo>
                  <a:pt x="814" y="1116"/>
                  <a:pt x="814" y="1116"/>
                  <a:pt x="815" y="1116"/>
                </a:cubicBezTo>
                <a:cubicBezTo>
                  <a:pt x="816" y="1116"/>
                  <a:pt x="817" y="1116"/>
                  <a:pt x="817" y="1116"/>
                </a:cubicBezTo>
                <a:cubicBezTo>
                  <a:pt x="818" y="1115"/>
                  <a:pt x="817" y="1114"/>
                  <a:pt x="818" y="1113"/>
                </a:cubicBezTo>
                <a:cubicBezTo>
                  <a:pt x="819" y="1112"/>
                  <a:pt x="820" y="1114"/>
                  <a:pt x="820" y="1115"/>
                </a:cubicBezTo>
                <a:cubicBezTo>
                  <a:pt x="821" y="1116"/>
                  <a:pt x="822" y="1117"/>
                  <a:pt x="822" y="1118"/>
                </a:cubicBezTo>
                <a:cubicBezTo>
                  <a:pt x="822" y="1119"/>
                  <a:pt x="823" y="1120"/>
                  <a:pt x="824" y="1121"/>
                </a:cubicBezTo>
                <a:cubicBezTo>
                  <a:pt x="825" y="1122"/>
                  <a:pt x="825" y="1123"/>
                  <a:pt x="826" y="1124"/>
                </a:cubicBezTo>
                <a:cubicBezTo>
                  <a:pt x="827" y="1126"/>
                  <a:pt x="826" y="1126"/>
                  <a:pt x="825" y="1125"/>
                </a:cubicBezTo>
                <a:cubicBezTo>
                  <a:pt x="823" y="1124"/>
                  <a:pt x="823" y="1123"/>
                  <a:pt x="822" y="1122"/>
                </a:cubicBezTo>
                <a:cubicBezTo>
                  <a:pt x="821" y="1122"/>
                  <a:pt x="821" y="1122"/>
                  <a:pt x="820" y="1121"/>
                </a:cubicBezTo>
                <a:cubicBezTo>
                  <a:pt x="820" y="1121"/>
                  <a:pt x="820" y="1120"/>
                  <a:pt x="820" y="1119"/>
                </a:cubicBezTo>
                <a:cubicBezTo>
                  <a:pt x="819" y="1118"/>
                  <a:pt x="819" y="1120"/>
                  <a:pt x="818" y="1120"/>
                </a:cubicBezTo>
                <a:cubicBezTo>
                  <a:pt x="818" y="1121"/>
                  <a:pt x="817" y="1121"/>
                  <a:pt x="817" y="1120"/>
                </a:cubicBezTo>
                <a:cubicBezTo>
                  <a:pt x="817" y="1119"/>
                  <a:pt x="819" y="1119"/>
                  <a:pt x="818" y="1118"/>
                </a:cubicBezTo>
                <a:cubicBezTo>
                  <a:pt x="817" y="1117"/>
                  <a:pt x="817" y="1118"/>
                  <a:pt x="816" y="1118"/>
                </a:cubicBezTo>
                <a:cubicBezTo>
                  <a:pt x="816" y="1119"/>
                  <a:pt x="815" y="1119"/>
                  <a:pt x="814" y="1119"/>
                </a:cubicBezTo>
                <a:cubicBezTo>
                  <a:pt x="814" y="1119"/>
                  <a:pt x="813" y="1118"/>
                  <a:pt x="813" y="1118"/>
                </a:cubicBezTo>
                <a:cubicBezTo>
                  <a:pt x="811" y="1115"/>
                  <a:pt x="807" y="1119"/>
                  <a:pt x="805" y="1116"/>
                </a:cubicBezTo>
                <a:cubicBezTo>
                  <a:pt x="805" y="1115"/>
                  <a:pt x="805" y="1115"/>
                  <a:pt x="804" y="1114"/>
                </a:cubicBezTo>
                <a:cubicBezTo>
                  <a:pt x="804" y="1113"/>
                  <a:pt x="803" y="1113"/>
                  <a:pt x="802" y="1113"/>
                </a:cubicBezTo>
                <a:cubicBezTo>
                  <a:pt x="801" y="1112"/>
                  <a:pt x="802" y="1112"/>
                  <a:pt x="803" y="1112"/>
                </a:cubicBezTo>
                <a:close/>
                <a:moveTo>
                  <a:pt x="730" y="710"/>
                </a:moveTo>
                <a:cubicBezTo>
                  <a:pt x="729" y="709"/>
                  <a:pt x="728" y="709"/>
                  <a:pt x="727" y="708"/>
                </a:cubicBezTo>
                <a:cubicBezTo>
                  <a:pt x="725" y="707"/>
                  <a:pt x="723" y="706"/>
                  <a:pt x="725" y="704"/>
                </a:cubicBezTo>
                <a:cubicBezTo>
                  <a:pt x="726" y="702"/>
                  <a:pt x="726" y="705"/>
                  <a:pt x="727" y="705"/>
                </a:cubicBezTo>
                <a:cubicBezTo>
                  <a:pt x="729" y="705"/>
                  <a:pt x="729" y="703"/>
                  <a:pt x="729" y="702"/>
                </a:cubicBezTo>
                <a:cubicBezTo>
                  <a:pt x="730" y="700"/>
                  <a:pt x="731" y="700"/>
                  <a:pt x="731" y="699"/>
                </a:cubicBezTo>
                <a:cubicBezTo>
                  <a:pt x="731" y="698"/>
                  <a:pt x="731" y="698"/>
                  <a:pt x="731" y="697"/>
                </a:cubicBezTo>
                <a:cubicBezTo>
                  <a:pt x="731" y="696"/>
                  <a:pt x="731" y="696"/>
                  <a:pt x="732" y="696"/>
                </a:cubicBezTo>
                <a:cubicBezTo>
                  <a:pt x="733" y="696"/>
                  <a:pt x="734" y="695"/>
                  <a:pt x="736" y="696"/>
                </a:cubicBezTo>
                <a:cubicBezTo>
                  <a:pt x="737" y="696"/>
                  <a:pt x="738" y="696"/>
                  <a:pt x="739" y="695"/>
                </a:cubicBezTo>
                <a:cubicBezTo>
                  <a:pt x="740" y="694"/>
                  <a:pt x="740" y="693"/>
                  <a:pt x="741" y="692"/>
                </a:cubicBezTo>
                <a:cubicBezTo>
                  <a:pt x="742" y="691"/>
                  <a:pt x="742" y="690"/>
                  <a:pt x="742" y="689"/>
                </a:cubicBezTo>
                <a:cubicBezTo>
                  <a:pt x="743" y="688"/>
                  <a:pt x="744" y="688"/>
                  <a:pt x="744" y="689"/>
                </a:cubicBezTo>
                <a:cubicBezTo>
                  <a:pt x="745" y="689"/>
                  <a:pt x="745" y="690"/>
                  <a:pt x="745" y="690"/>
                </a:cubicBezTo>
                <a:cubicBezTo>
                  <a:pt x="747" y="691"/>
                  <a:pt x="748" y="691"/>
                  <a:pt x="750" y="692"/>
                </a:cubicBezTo>
                <a:cubicBezTo>
                  <a:pt x="752" y="694"/>
                  <a:pt x="755" y="695"/>
                  <a:pt x="758" y="697"/>
                </a:cubicBezTo>
                <a:cubicBezTo>
                  <a:pt x="759" y="698"/>
                  <a:pt x="760" y="699"/>
                  <a:pt x="761" y="700"/>
                </a:cubicBezTo>
                <a:cubicBezTo>
                  <a:pt x="762" y="701"/>
                  <a:pt x="764" y="702"/>
                  <a:pt x="765" y="702"/>
                </a:cubicBezTo>
                <a:cubicBezTo>
                  <a:pt x="768" y="704"/>
                  <a:pt x="771" y="705"/>
                  <a:pt x="773" y="707"/>
                </a:cubicBezTo>
                <a:cubicBezTo>
                  <a:pt x="774" y="709"/>
                  <a:pt x="774" y="710"/>
                  <a:pt x="775" y="711"/>
                </a:cubicBezTo>
                <a:cubicBezTo>
                  <a:pt x="776" y="712"/>
                  <a:pt x="778" y="713"/>
                  <a:pt x="779" y="714"/>
                </a:cubicBezTo>
                <a:cubicBezTo>
                  <a:pt x="780" y="715"/>
                  <a:pt x="780" y="717"/>
                  <a:pt x="781" y="718"/>
                </a:cubicBezTo>
                <a:cubicBezTo>
                  <a:pt x="782" y="719"/>
                  <a:pt x="783" y="720"/>
                  <a:pt x="783" y="721"/>
                </a:cubicBezTo>
                <a:cubicBezTo>
                  <a:pt x="783" y="722"/>
                  <a:pt x="783" y="724"/>
                  <a:pt x="782" y="725"/>
                </a:cubicBezTo>
                <a:cubicBezTo>
                  <a:pt x="782" y="726"/>
                  <a:pt x="781" y="727"/>
                  <a:pt x="781" y="726"/>
                </a:cubicBezTo>
                <a:cubicBezTo>
                  <a:pt x="780" y="726"/>
                  <a:pt x="780" y="725"/>
                  <a:pt x="779" y="725"/>
                </a:cubicBezTo>
                <a:cubicBezTo>
                  <a:pt x="777" y="725"/>
                  <a:pt x="779" y="728"/>
                  <a:pt x="779" y="728"/>
                </a:cubicBezTo>
                <a:cubicBezTo>
                  <a:pt x="779" y="730"/>
                  <a:pt x="778" y="731"/>
                  <a:pt x="778" y="732"/>
                </a:cubicBezTo>
                <a:cubicBezTo>
                  <a:pt x="778" y="734"/>
                  <a:pt x="778" y="735"/>
                  <a:pt x="776" y="735"/>
                </a:cubicBezTo>
                <a:cubicBezTo>
                  <a:pt x="775" y="736"/>
                  <a:pt x="775" y="736"/>
                  <a:pt x="774" y="736"/>
                </a:cubicBezTo>
                <a:cubicBezTo>
                  <a:pt x="773" y="735"/>
                  <a:pt x="773" y="735"/>
                  <a:pt x="772" y="735"/>
                </a:cubicBezTo>
                <a:cubicBezTo>
                  <a:pt x="771" y="734"/>
                  <a:pt x="770" y="735"/>
                  <a:pt x="768" y="735"/>
                </a:cubicBezTo>
                <a:cubicBezTo>
                  <a:pt x="767" y="735"/>
                  <a:pt x="766" y="734"/>
                  <a:pt x="764" y="734"/>
                </a:cubicBezTo>
                <a:cubicBezTo>
                  <a:pt x="763" y="734"/>
                  <a:pt x="761" y="734"/>
                  <a:pt x="760" y="735"/>
                </a:cubicBezTo>
                <a:cubicBezTo>
                  <a:pt x="759" y="735"/>
                  <a:pt x="760" y="736"/>
                  <a:pt x="759" y="737"/>
                </a:cubicBezTo>
                <a:cubicBezTo>
                  <a:pt x="759" y="737"/>
                  <a:pt x="759" y="738"/>
                  <a:pt x="758" y="738"/>
                </a:cubicBezTo>
                <a:cubicBezTo>
                  <a:pt x="757" y="739"/>
                  <a:pt x="758" y="741"/>
                  <a:pt x="757" y="742"/>
                </a:cubicBezTo>
                <a:cubicBezTo>
                  <a:pt x="756" y="743"/>
                  <a:pt x="755" y="744"/>
                  <a:pt x="754" y="744"/>
                </a:cubicBezTo>
                <a:cubicBezTo>
                  <a:pt x="753" y="744"/>
                  <a:pt x="753" y="744"/>
                  <a:pt x="752" y="743"/>
                </a:cubicBezTo>
                <a:cubicBezTo>
                  <a:pt x="751" y="743"/>
                  <a:pt x="751" y="743"/>
                  <a:pt x="750" y="743"/>
                </a:cubicBezTo>
                <a:cubicBezTo>
                  <a:pt x="748" y="743"/>
                  <a:pt x="749" y="742"/>
                  <a:pt x="749" y="740"/>
                </a:cubicBezTo>
                <a:cubicBezTo>
                  <a:pt x="749" y="739"/>
                  <a:pt x="748" y="738"/>
                  <a:pt x="747" y="737"/>
                </a:cubicBezTo>
                <a:cubicBezTo>
                  <a:pt x="746" y="736"/>
                  <a:pt x="746" y="735"/>
                  <a:pt x="746" y="734"/>
                </a:cubicBezTo>
                <a:cubicBezTo>
                  <a:pt x="745" y="731"/>
                  <a:pt x="742" y="730"/>
                  <a:pt x="741" y="727"/>
                </a:cubicBezTo>
                <a:cubicBezTo>
                  <a:pt x="741" y="726"/>
                  <a:pt x="740" y="725"/>
                  <a:pt x="740" y="723"/>
                </a:cubicBezTo>
                <a:cubicBezTo>
                  <a:pt x="740" y="722"/>
                  <a:pt x="739" y="721"/>
                  <a:pt x="739" y="720"/>
                </a:cubicBezTo>
                <a:cubicBezTo>
                  <a:pt x="739" y="719"/>
                  <a:pt x="739" y="718"/>
                  <a:pt x="738" y="718"/>
                </a:cubicBezTo>
                <a:cubicBezTo>
                  <a:pt x="737" y="717"/>
                  <a:pt x="737" y="717"/>
                  <a:pt x="736" y="716"/>
                </a:cubicBezTo>
                <a:cubicBezTo>
                  <a:pt x="736" y="715"/>
                  <a:pt x="735" y="713"/>
                  <a:pt x="733" y="712"/>
                </a:cubicBezTo>
                <a:cubicBezTo>
                  <a:pt x="732" y="712"/>
                  <a:pt x="731" y="712"/>
                  <a:pt x="730" y="710"/>
                </a:cubicBezTo>
                <a:close/>
                <a:moveTo>
                  <a:pt x="958" y="1218"/>
                </a:moveTo>
                <a:cubicBezTo>
                  <a:pt x="957" y="1219"/>
                  <a:pt x="956" y="1220"/>
                  <a:pt x="955" y="1221"/>
                </a:cubicBezTo>
                <a:cubicBezTo>
                  <a:pt x="954" y="1223"/>
                  <a:pt x="954" y="1224"/>
                  <a:pt x="953" y="1225"/>
                </a:cubicBezTo>
                <a:cubicBezTo>
                  <a:pt x="952" y="1226"/>
                  <a:pt x="950" y="1227"/>
                  <a:pt x="949" y="1227"/>
                </a:cubicBezTo>
                <a:cubicBezTo>
                  <a:pt x="947" y="1228"/>
                  <a:pt x="946" y="1229"/>
                  <a:pt x="945" y="1230"/>
                </a:cubicBezTo>
                <a:cubicBezTo>
                  <a:pt x="944" y="1231"/>
                  <a:pt x="943" y="1232"/>
                  <a:pt x="941" y="1232"/>
                </a:cubicBezTo>
                <a:cubicBezTo>
                  <a:pt x="940" y="1232"/>
                  <a:pt x="939" y="1233"/>
                  <a:pt x="938" y="1233"/>
                </a:cubicBezTo>
                <a:cubicBezTo>
                  <a:pt x="936" y="1233"/>
                  <a:pt x="936" y="1234"/>
                  <a:pt x="935" y="1235"/>
                </a:cubicBezTo>
                <a:cubicBezTo>
                  <a:pt x="934" y="1236"/>
                  <a:pt x="934" y="1236"/>
                  <a:pt x="933" y="1236"/>
                </a:cubicBezTo>
                <a:cubicBezTo>
                  <a:pt x="932" y="1237"/>
                  <a:pt x="930" y="1237"/>
                  <a:pt x="929" y="1237"/>
                </a:cubicBezTo>
                <a:cubicBezTo>
                  <a:pt x="927" y="1238"/>
                  <a:pt x="926" y="1238"/>
                  <a:pt x="924" y="1238"/>
                </a:cubicBezTo>
                <a:cubicBezTo>
                  <a:pt x="922" y="1238"/>
                  <a:pt x="921" y="1237"/>
                  <a:pt x="919" y="1237"/>
                </a:cubicBezTo>
                <a:cubicBezTo>
                  <a:pt x="918" y="1236"/>
                  <a:pt x="917" y="1236"/>
                  <a:pt x="915" y="1235"/>
                </a:cubicBezTo>
                <a:cubicBezTo>
                  <a:pt x="914" y="1234"/>
                  <a:pt x="913" y="1234"/>
                  <a:pt x="911" y="1234"/>
                </a:cubicBezTo>
                <a:cubicBezTo>
                  <a:pt x="909" y="1234"/>
                  <a:pt x="908" y="1234"/>
                  <a:pt x="907" y="1234"/>
                </a:cubicBezTo>
                <a:cubicBezTo>
                  <a:pt x="905" y="1235"/>
                  <a:pt x="903" y="1236"/>
                  <a:pt x="902" y="1236"/>
                </a:cubicBezTo>
                <a:cubicBezTo>
                  <a:pt x="900" y="1237"/>
                  <a:pt x="899" y="1237"/>
                  <a:pt x="897" y="1237"/>
                </a:cubicBezTo>
                <a:cubicBezTo>
                  <a:pt x="896" y="1238"/>
                  <a:pt x="894" y="1237"/>
                  <a:pt x="893" y="1238"/>
                </a:cubicBezTo>
                <a:cubicBezTo>
                  <a:pt x="891" y="1238"/>
                  <a:pt x="890" y="1238"/>
                  <a:pt x="888" y="1238"/>
                </a:cubicBezTo>
                <a:cubicBezTo>
                  <a:pt x="887" y="1237"/>
                  <a:pt x="886" y="1237"/>
                  <a:pt x="885" y="1237"/>
                </a:cubicBezTo>
                <a:cubicBezTo>
                  <a:pt x="884" y="1237"/>
                  <a:pt x="883" y="1237"/>
                  <a:pt x="882" y="1236"/>
                </a:cubicBezTo>
                <a:cubicBezTo>
                  <a:pt x="881" y="1236"/>
                  <a:pt x="881" y="1236"/>
                  <a:pt x="880" y="1235"/>
                </a:cubicBezTo>
                <a:cubicBezTo>
                  <a:pt x="878" y="1235"/>
                  <a:pt x="877" y="1235"/>
                  <a:pt x="875" y="1235"/>
                </a:cubicBezTo>
                <a:cubicBezTo>
                  <a:pt x="874" y="1234"/>
                  <a:pt x="872" y="1235"/>
                  <a:pt x="871" y="1234"/>
                </a:cubicBezTo>
                <a:cubicBezTo>
                  <a:pt x="869" y="1233"/>
                  <a:pt x="868" y="1233"/>
                  <a:pt x="866" y="1232"/>
                </a:cubicBezTo>
                <a:cubicBezTo>
                  <a:pt x="864" y="1230"/>
                  <a:pt x="862" y="1227"/>
                  <a:pt x="859" y="1228"/>
                </a:cubicBezTo>
                <a:cubicBezTo>
                  <a:pt x="858" y="1228"/>
                  <a:pt x="857" y="1229"/>
                  <a:pt x="855" y="1230"/>
                </a:cubicBezTo>
                <a:cubicBezTo>
                  <a:pt x="854" y="1230"/>
                  <a:pt x="853" y="1230"/>
                  <a:pt x="851" y="1229"/>
                </a:cubicBezTo>
                <a:cubicBezTo>
                  <a:pt x="850" y="1228"/>
                  <a:pt x="849" y="1227"/>
                  <a:pt x="848" y="1226"/>
                </a:cubicBezTo>
                <a:cubicBezTo>
                  <a:pt x="847" y="1225"/>
                  <a:pt x="847" y="1224"/>
                  <a:pt x="847" y="1222"/>
                </a:cubicBezTo>
                <a:cubicBezTo>
                  <a:pt x="846" y="1219"/>
                  <a:pt x="842" y="1218"/>
                  <a:pt x="840" y="1220"/>
                </a:cubicBezTo>
                <a:cubicBezTo>
                  <a:pt x="837" y="1222"/>
                  <a:pt x="834" y="1221"/>
                  <a:pt x="832" y="1220"/>
                </a:cubicBezTo>
                <a:cubicBezTo>
                  <a:pt x="830" y="1219"/>
                  <a:pt x="827" y="1217"/>
                  <a:pt x="827" y="1215"/>
                </a:cubicBezTo>
                <a:cubicBezTo>
                  <a:pt x="827" y="1213"/>
                  <a:pt x="829" y="1213"/>
                  <a:pt x="829" y="1212"/>
                </a:cubicBezTo>
                <a:cubicBezTo>
                  <a:pt x="828" y="1212"/>
                  <a:pt x="828" y="1212"/>
                  <a:pt x="827" y="1212"/>
                </a:cubicBezTo>
                <a:cubicBezTo>
                  <a:pt x="826" y="1213"/>
                  <a:pt x="825" y="1213"/>
                  <a:pt x="825" y="1213"/>
                </a:cubicBezTo>
                <a:cubicBezTo>
                  <a:pt x="823" y="1212"/>
                  <a:pt x="822" y="1212"/>
                  <a:pt x="820" y="1213"/>
                </a:cubicBezTo>
                <a:cubicBezTo>
                  <a:pt x="818" y="1213"/>
                  <a:pt x="817" y="1214"/>
                  <a:pt x="815" y="1214"/>
                </a:cubicBezTo>
                <a:cubicBezTo>
                  <a:pt x="815" y="1214"/>
                  <a:pt x="814" y="1214"/>
                  <a:pt x="813" y="1214"/>
                </a:cubicBezTo>
                <a:cubicBezTo>
                  <a:pt x="812" y="1213"/>
                  <a:pt x="811" y="1213"/>
                  <a:pt x="810" y="1213"/>
                </a:cubicBezTo>
                <a:cubicBezTo>
                  <a:pt x="808" y="1213"/>
                  <a:pt x="806" y="1213"/>
                  <a:pt x="804" y="1213"/>
                </a:cubicBezTo>
                <a:cubicBezTo>
                  <a:pt x="803" y="1213"/>
                  <a:pt x="801" y="1213"/>
                  <a:pt x="800" y="1213"/>
                </a:cubicBezTo>
                <a:cubicBezTo>
                  <a:pt x="796" y="1212"/>
                  <a:pt x="792" y="1212"/>
                  <a:pt x="789" y="1213"/>
                </a:cubicBezTo>
                <a:cubicBezTo>
                  <a:pt x="786" y="1214"/>
                  <a:pt x="784" y="1216"/>
                  <a:pt x="781" y="1216"/>
                </a:cubicBezTo>
                <a:cubicBezTo>
                  <a:pt x="779" y="1217"/>
                  <a:pt x="778" y="1217"/>
                  <a:pt x="777" y="1217"/>
                </a:cubicBezTo>
                <a:cubicBezTo>
                  <a:pt x="776" y="1217"/>
                  <a:pt x="775" y="1218"/>
                  <a:pt x="774" y="1219"/>
                </a:cubicBezTo>
                <a:cubicBezTo>
                  <a:pt x="773" y="1219"/>
                  <a:pt x="772" y="1220"/>
                  <a:pt x="770" y="1220"/>
                </a:cubicBezTo>
                <a:cubicBezTo>
                  <a:pt x="769" y="1221"/>
                  <a:pt x="767" y="1222"/>
                  <a:pt x="766" y="1223"/>
                </a:cubicBezTo>
                <a:cubicBezTo>
                  <a:pt x="764" y="1224"/>
                  <a:pt x="762" y="1225"/>
                  <a:pt x="761" y="1226"/>
                </a:cubicBezTo>
                <a:cubicBezTo>
                  <a:pt x="759" y="1227"/>
                  <a:pt x="758" y="1228"/>
                  <a:pt x="756" y="1230"/>
                </a:cubicBezTo>
                <a:cubicBezTo>
                  <a:pt x="756" y="1231"/>
                  <a:pt x="755" y="1232"/>
                  <a:pt x="754" y="1233"/>
                </a:cubicBezTo>
                <a:cubicBezTo>
                  <a:pt x="753" y="1234"/>
                  <a:pt x="751" y="1234"/>
                  <a:pt x="750" y="1234"/>
                </a:cubicBezTo>
                <a:cubicBezTo>
                  <a:pt x="747" y="1234"/>
                  <a:pt x="744" y="1235"/>
                  <a:pt x="741" y="1234"/>
                </a:cubicBezTo>
                <a:cubicBezTo>
                  <a:pt x="740" y="1233"/>
                  <a:pt x="738" y="1233"/>
                  <a:pt x="737" y="1233"/>
                </a:cubicBezTo>
                <a:cubicBezTo>
                  <a:pt x="736" y="1232"/>
                  <a:pt x="736" y="1232"/>
                  <a:pt x="735" y="1232"/>
                </a:cubicBezTo>
                <a:cubicBezTo>
                  <a:pt x="734" y="1232"/>
                  <a:pt x="734" y="1232"/>
                  <a:pt x="733" y="1232"/>
                </a:cubicBezTo>
                <a:cubicBezTo>
                  <a:pt x="730" y="1231"/>
                  <a:pt x="727" y="1232"/>
                  <a:pt x="725" y="1233"/>
                </a:cubicBezTo>
                <a:cubicBezTo>
                  <a:pt x="724" y="1233"/>
                  <a:pt x="723" y="1233"/>
                  <a:pt x="721" y="1233"/>
                </a:cubicBezTo>
                <a:cubicBezTo>
                  <a:pt x="720" y="1233"/>
                  <a:pt x="719" y="1232"/>
                  <a:pt x="718" y="1232"/>
                </a:cubicBezTo>
                <a:cubicBezTo>
                  <a:pt x="717" y="1231"/>
                  <a:pt x="715" y="1231"/>
                  <a:pt x="714" y="1231"/>
                </a:cubicBezTo>
                <a:cubicBezTo>
                  <a:pt x="712" y="1230"/>
                  <a:pt x="711" y="1231"/>
                  <a:pt x="709" y="1231"/>
                </a:cubicBezTo>
                <a:cubicBezTo>
                  <a:pt x="708" y="1231"/>
                  <a:pt x="706" y="1230"/>
                  <a:pt x="705" y="1229"/>
                </a:cubicBezTo>
                <a:cubicBezTo>
                  <a:pt x="702" y="1228"/>
                  <a:pt x="699" y="1228"/>
                  <a:pt x="696" y="1226"/>
                </a:cubicBezTo>
                <a:cubicBezTo>
                  <a:pt x="695" y="1225"/>
                  <a:pt x="694" y="1224"/>
                  <a:pt x="693" y="1224"/>
                </a:cubicBezTo>
                <a:cubicBezTo>
                  <a:pt x="691" y="1223"/>
                  <a:pt x="690" y="1222"/>
                  <a:pt x="689" y="1221"/>
                </a:cubicBezTo>
                <a:cubicBezTo>
                  <a:pt x="688" y="1219"/>
                  <a:pt x="687" y="1216"/>
                  <a:pt x="687" y="1213"/>
                </a:cubicBezTo>
                <a:cubicBezTo>
                  <a:pt x="687" y="1210"/>
                  <a:pt x="684" y="1209"/>
                  <a:pt x="683" y="1207"/>
                </a:cubicBezTo>
                <a:cubicBezTo>
                  <a:pt x="682" y="1206"/>
                  <a:pt x="682" y="1204"/>
                  <a:pt x="681" y="1203"/>
                </a:cubicBezTo>
                <a:cubicBezTo>
                  <a:pt x="681" y="1202"/>
                  <a:pt x="680" y="1202"/>
                  <a:pt x="678" y="1202"/>
                </a:cubicBezTo>
                <a:cubicBezTo>
                  <a:pt x="677" y="1202"/>
                  <a:pt x="678" y="1200"/>
                  <a:pt x="679" y="1200"/>
                </a:cubicBezTo>
                <a:cubicBezTo>
                  <a:pt x="680" y="1199"/>
                  <a:pt x="681" y="1198"/>
                  <a:pt x="683" y="1197"/>
                </a:cubicBezTo>
                <a:cubicBezTo>
                  <a:pt x="683" y="1197"/>
                  <a:pt x="684" y="1197"/>
                  <a:pt x="684" y="1196"/>
                </a:cubicBezTo>
                <a:cubicBezTo>
                  <a:pt x="685" y="1195"/>
                  <a:pt x="685" y="1193"/>
                  <a:pt x="685" y="1192"/>
                </a:cubicBezTo>
                <a:cubicBezTo>
                  <a:pt x="685" y="1191"/>
                  <a:pt x="685" y="1190"/>
                  <a:pt x="685" y="1190"/>
                </a:cubicBezTo>
                <a:cubicBezTo>
                  <a:pt x="685" y="1188"/>
                  <a:pt x="685" y="1187"/>
                  <a:pt x="686" y="1186"/>
                </a:cubicBezTo>
                <a:cubicBezTo>
                  <a:pt x="687" y="1184"/>
                  <a:pt x="687" y="1183"/>
                  <a:pt x="688" y="1182"/>
                </a:cubicBezTo>
                <a:cubicBezTo>
                  <a:pt x="689" y="1182"/>
                  <a:pt x="690" y="1182"/>
                  <a:pt x="690" y="1182"/>
                </a:cubicBezTo>
                <a:cubicBezTo>
                  <a:pt x="691" y="1181"/>
                  <a:pt x="691" y="1181"/>
                  <a:pt x="692" y="1180"/>
                </a:cubicBezTo>
                <a:cubicBezTo>
                  <a:pt x="693" y="1180"/>
                  <a:pt x="694" y="1179"/>
                  <a:pt x="695" y="1180"/>
                </a:cubicBezTo>
                <a:cubicBezTo>
                  <a:pt x="695" y="1180"/>
                  <a:pt x="695" y="1181"/>
                  <a:pt x="696" y="1181"/>
                </a:cubicBezTo>
                <a:cubicBezTo>
                  <a:pt x="697" y="1181"/>
                  <a:pt x="697" y="1180"/>
                  <a:pt x="697" y="1179"/>
                </a:cubicBezTo>
                <a:cubicBezTo>
                  <a:pt x="697" y="1178"/>
                  <a:pt x="698" y="1177"/>
                  <a:pt x="698" y="1176"/>
                </a:cubicBezTo>
                <a:cubicBezTo>
                  <a:pt x="699" y="1174"/>
                  <a:pt x="699" y="1172"/>
                  <a:pt x="699" y="1171"/>
                </a:cubicBezTo>
                <a:cubicBezTo>
                  <a:pt x="699" y="1169"/>
                  <a:pt x="699" y="1167"/>
                  <a:pt x="699" y="1165"/>
                </a:cubicBezTo>
                <a:cubicBezTo>
                  <a:pt x="699" y="1163"/>
                  <a:pt x="699" y="1161"/>
                  <a:pt x="699" y="1160"/>
                </a:cubicBezTo>
                <a:cubicBezTo>
                  <a:pt x="700" y="1157"/>
                  <a:pt x="702" y="1155"/>
                  <a:pt x="704" y="1152"/>
                </a:cubicBezTo>
                <a:cubicBezTo>
                  <a:pt x="704" y="1152"/>
                  <a:pt x="705" y="1152"/>
                  <a:pt x="705" y="1151"/>
                </a:cubicBezTo>
                <a:cubicBezTo>
                  <a:pt x="705" y="1150"/>
                  <a:pt x="704" y="1151"/>
                  <a:pt x="704" y="1151"/>
                </a:cubicBezTo>
                <a:cubicBezTo>
                  <a:pt x="703" y="1151"/>
                  <a:pt x="702" y="1152"/>
                  <a:pt x="702" y="1151"/>
                </a:cubicBezTo>
                <a:cubicBezTo>
                  <a:pt x="702" y="1151"/>
                  <a:pt x="703" y="1150"/>
                  <a:pt x="704" y="1150"/>
                </a:cubicBezTo>
                <a:cubicBezTo>
                  <a:pt x="705" y="1149"/>
                  <a:pt x="706" y="1150"/>
                  <a:pt x="706" y="1148"/>
                </a:cubicBezTo>
                <a:cubicBezTo>
                  <a:pt x="707" y="1147"/>
                  <a:pt x="706" y="1147"/>
                  <a:pt x="706" y="1148"/>
                </a:cubicBezTo>
                <a:cubicBezTo>
                  <a:pt x="705" y="1148"/>
                  <a:pt x="705" y="1149"/>
                  <a:pt x="704" y="1149"/>
                </a:cubicBezTo>
                <a:cubicBezTo>
                  <a:pt x="703" y="1149"/>
                  <a:pt x="703" y="1148"/>
                  <a:pt x="703" y="1148"/>
                </a:cubicBezTo>
                <a:cubicBezTo>
                  <a:pt x="703" y="1147"/>
                  <a:pt x="703" y="1147"/>
                  <a:pt x="704" y="1146"/>
                </a:cubicBezTo>
                <a:cubicBezTo>
                  <a:pt x="705" y="1146"/>
                  <a:pt x="705" y="1145"/>
                  <a:pt x="705" y="1144"/>
                </a:cubicBezTo>
                <a:cubicBezTo>
                  <a:pt x="705" y="1144"/>
                  <a:pt x="705" y="1143"/>
                  <a:pt x="706" y="1143"/>
                </a:cubicBezTo>
                <a:cubicBezTo>
                  <a:pt x="706" y="1142"/>
                  <a:pt x="706" y="1142"/>
                  <a:pt x="707" y="1142"/>
                </a:cubicBezTo>
                <a:cubicBezTo>
                  <a:pt x="707" y="1141"/>
                  <a:pt x="707" y="1140"/>
                  <a:pt x="708" y="1140"/>
                </a:cubicBezTo>
                <a:cubicBezTo>
                  <a:pt x="708" y="1140"/>
                  <a:pt x="709" y="1141"/>
                  <a:pt x="709" y="1142"/>
                </a:cubicBezTo>
                <a:cubicBezTo>
                  <a:pt x="709" y="1142"/>
                  <a:pt x="708" y="1142"/>
                  <a:pt x="708" y="1143"/>
                </a:cubicBezTo>
                <a:cubicBezTo>
                  <a:pt x="707" y="1144"/>
                  <a:pt x="708" y="1144"/>
                  <a:pt x="709" y="1144"/>
                </a:cubicBezTo>
                <a:cubicBezTo>
                  <a:pt x="710" y="1144"/>
                  <a:pt x="710" y="1144"/>
                  <a:pt x="711" y="1144"/>
                </a:cubicBezTo>
                <a:cubicBezTo>
                  <a:pt x="711" y="1145"/>
                  <a:pt x="712" y="1145"/>
                  <a:pt x="713" y="1145"/>
                </a:cubicBezTo>
                <a:cubicBezTo>
                  <a:pt x="713" y="1145"/>
                  <a:pt x="714" y="1145"/>
                  <a:pt x="715" y="1145"/>
                </a:cubicBezTo>
                <a:cubicBezTo>
                  <a:pt x="716" y="1145"/>
                  <a:pt x="718" y="1145"/>
                  <a:pt x="719" y="1144"/>
                </a:cubicBezTo>
                <a:cubicBezTo>
                  <a:pt x="719" y="1143"/>
                  <a:pt x="719" y="1142"/>
                  <a:pt x="719" y="1142"/>
                </a:cubicBezTo>
                <a:cubicBezTo>
                  <a:pt x="719" y="1141"/>
                  <a:pt x="720" y="1140"/>
                  <a:pt x="720" y="1140"/>
                </a:cubicBezTo>
                <a:cubicBezTo>
                  <a:pt x="721" y="1138"/>
                  <a:pt x="720" y="1135"/>
                  <a:pt x="721" y="1133"/>
                </a:cubicBezTo>
                <a:cubicBezTo>
                  <a:pt x="721" y="1132"/>
                  <a:pt x="722" y="1130"/>
                  <a:pt x="721" y="1129"/>
                </a:cubicBezTo>
                <a:cubicBezTo>
                  <a:pt x="721" y="1128"/>
                  <a:pt x="721" y="1128"/>
                  <a:pt x="721" y="1127"/>
                </a:cubicBezTo>
                <a:cubicBezTo>
                  <a:pt x="721" y="1126"/>
                  <a:pt x="720" y="1126"/>
                  <a:pt x="720" y="1125"/>
                </a:cubicBezTo>
                <a:cubicBezTo>
                  <a:pt x="719" y="1124"/>
                  <a:pt x="721" y="1123"/>
                  <a:pt x="722" y="1123"/>
                </a:cubicBezTo>
                <a:cubicBezTo>
                  <a:pt x="724" y="1123"/>
                  <a:pt x="724" y="1121"/>
                  <a:pt x="726" y="1120"/>
                </a:cubicBezTo>
                <a:cubicBezTo>
                  <a:pt x="727" y="1120"/>
                  <a:pt x="729" y="1120"/>
                  <a:pt x="730" y="1120"/>
                </a:cubicBezTo>
                <a:cubicBezTo>
                  <a:pt x="732" y="1120"/>
                  <a:pt x="732" y="1118"/>
                  <a:pt x="733" y="1117"/>
                </a:cubicBezTo>
                <a:cubicBezTo>
                  <a:pt x="733" y="1116"/>
                  <a:pt x="734" y="1116"/>
                  <a:pt x="734" y="1116"/>
                </a:cubicBezTo>
                <a:cubicBezTo>
                  <a:pt x="735" y="1116"/>
                  <a:pt x="735" y="1115"/>
                  <a:pt x="735" y="1115"/>
                </a:cubicBezTo>
                <a:cubicBezTo>
                  <a:pt x="735" y="1114"/>
                  <a:pt x="735" y="1115"/>
                  <a:pt x="734" y="1114"/>
                </a:cubicBezTo>
                <a:cubicBezTo>
                  <a:pt x="733" y="1113"/>
                  <a:pt x="733" y="1112"/>
                  <a:pt x="732" y="1111"/>
                </a:cubicBezTo>
                <a:cubicBezTo>
                  <a:pt x="731" y="1110"/>
                  <a:pt x="730" y="1110"/>
                  <a:pt x="729" y="1108"/>
                </a:cubicBezTo>
                <a:cubicBezTo>
                  <a:pt x="729" y="1108"/>
                  <a:pt x="729" y="1107"/>
                  <a:pt x="730" y="1107"/>
                </a:cubicBezTo>
                <a:cubicBezTo>
                  <a:pt x="730" y="1106"/>
                  <a:pt x="731" y="1107"/>
                  <a:pt x="731" y="1107"/>
                </a:cubicBezTo>
                <a:cubicBezTo>
                  <a:pt x="732" y="1108"/>
                  <a:pt x="732" y="1108"/>
                  <a:pt x="733" y="1108"/>
                </a:cubicBezTo>
                <a:cubicBezTo>
                  <a:pt x="733" y="1109"/>
                  <a:pt x="733" y="1110"/>
                  <a:pt x="734" y="1110"/>
                </a:cubicBezTo>
                <a:cubicBezTo>
                  <a:pt x="734" y="1111"/>
                  <a:pt x="735" y="1111"/>
                  <a:pt x="736" y="1111"/>
                </a:cubicBezTo>
                <a:cubicBezTo>
                  <a:pt x="737" y="1110"/>
                  <a:pt x="736" y="1109"/>
                  <a:pt x="737" y="1108"/>
                </a:cubicBezTo>
                <a:cubicBezTo>
                  <a:pt x="738" y="1106"/>
                  <a:pt x="740" y="1105"/>
                  <a:pt x="742" y="1104"/>
                </a:cubicBezTo>
                <a:cubicBezTo>
                  <a:pt x="744" y="1102"/>
                  <a:pt x="746" y="1101"/>
                  <a:pt x="749" y="1101"/>
                </a:cubicBezTo>
                <a:cubicBezTo>
                  <a:pt x="750" y="1101"/>
                  <a:pt x="752" y="1102"/>
                  <a:pt x="753" y="1101"/>
                </a:cubicBezTo>
                <a:cubicBezTo>
                  <a:pt x="755" y="1101"/>
                  <a:pt x="755" y="1100"/>
                  <a:pt x="756" y="1099"/>
                </a:cubicBezTo>
                <a:cubicBezTo>
                  <a:pt x="757" y="1098"/>
                  <a:pt x="758" y="1098"/>
                  <a:pt x="759" y="1099"/>
                </a:cubicBezTo>
                <a:cubicBezTo>
                  <a:pt x="760" y="1099"/>
                  <a:pt x="760" y="1099"/>
                  <a:pt x="761" y="1100"/>
                </a:cubicBezTo>
                <a:cubicBezTo>
                  <a:pt x="762" y="1100"/>
                  <a:pt x="762" y="1100"/>
                  <a:pt x="763" y="1100"/>
                </a:cubicBezTo>
                <a:cubicBezTo>
                  <a:pt x="766" y="1101"/>
                  <a:pt x="763" y="1095"/>
                  <a:pt x="765" y="1095"/>
                </a:cubicBezTo>
                <a:cubicBezTo>
                  <a:pt x="766" y="1096"/>
                  <a:pt x="765" y="1098"/>
                  <a:pt x="766" y="1099"/>
                </a:cubicBezTo>
                <a:cubicBezTo>
                  <a:pt x="766" y="1100"/>
                  <a:pt x="767" y="1099"/>
                  <a:pt x="767" y="1100"/>
                </a:cubicBezTo>
                <a:cubicBezTo>
                  <a:pt x="768" y="1100"/>
                  <a:pt x="768" y="1101"/>
                  <a:pt x="768" y="1102"/>
                </a:cubicBezTo>
                <a:cubicBezTo>
                  <a:pt x="769" y="1102"/>
                  <a:pt x="772" y="1102"/>
                  <a:pt x="773" y="1102"/>
                </a:cubicBezTo>
                <a:cubicBezTo>
                  <a:pt x="773" y="1102"/>
                  <a:pt x="774" y="1102"/>
                  <a:pt x="775" y="1102"/>
                </a:cubicBezTo>
                <a:cubicBezTo>
                  <a:pt x="775" y="1101"/>
                  <a:pt x="776" y="1101"/>
                  <a:pt x="776" y="1102"/>
                </a:cubicBezTo>
                <a:cubicBezTo>
                  <a:pt x="776" y="1103"/>
                  <a:pt x="775" y="1103"/>
                  <a:pt x="774" y="1103"/>
                </a:cubicBezTo>
                <a:cubicBezTo>
                  <a:pt x="774" y="1104"/>
                  <a:pt x="773" y="1104"/>
                  <a:pt x="772" y="1105"/>
                </a:cubicBezTo>
                <a:cubicBezTo>
                  <a:pt x="771" y="1105"/>
                  <a:pt x="769" y="1105"/>
                  <a:pt x="768" y="1104"/>
                </a:cubicBezTo>
                <a:cubicBezTo>
                  <a:pt x="767" y="1104"/>
                  <a:pt x="765" y="1104"/>
                  <a:pt x="764" y="1103"/>
                </a:cubicBezTo>
                <a:cubicBezTo>
                  <a:pt x="763" y="1103"/>
                  <a:pt x="761" y="1103"/>
                  <a:pt x="760" y="1103"/>
                </a:cubicBezTo>
                <a:cubicBezTo>
                  <a:pt x="759" y="1103"/>
                  <a:pt x="757" y="1101"/>
                  <a:pt x="756" y="1101"/>
                </a:cubicBezTo>
                <a:cubicBezTo>
                  <a:pt x="756" y="1102"/>
                  <a:pt x="757" y="1102"/>
                  <a:pt x="757" y="1102"/>
                </a:cubicBezTo>
                <a:cubicBezTo>
                  <a:pt x="758" y="1103"/>
                  <a:pt x="757" y="1104"/>
                  <a:pt x="758" y="1104"/>
                </a:cubicBezTo>
                <a:cubicBezTo>
                  <a:pt x="758" y="1105"/>
                  <a:pt x="759" y="1104"/>
                  <a:pt x="760" y="1104"/>
                </a:cubicBezTo>
                <a:cubicBezTo>
                  <a:pt x="761" y="1105"/>
                  <a:pt x="761" y="1105"/>
                  <a:pt x="762" y="1105"/>
                </a:cubicBezTo>
                <a:cubicBezTo>
                  <a:pt x="763" y="1105"/>
                  <a:pt x="765" y="1107"/>
                  <a:pt x="764" y="1107"/>
                </a:cubicBezTo>
                <a:cubicBezTo>
                  <a:pt x="763" y="1108"/>
                  <a:pt x="762" y="1107"/>
                  <a:pt x="761" y="1108"/>
                </a:cubicBezTo>
                <a:cubicBezTo>
                  <a:pt x="761" y="1108"/>
                  <a:pt x="760" y="1109"/>
                  <a:pt x="759" y="1108"/>
                </a:cubicBezTo>
                <a:cubicBezTo>
                  <a:pt x="759" y="1108"/>
                  <a:pt x="758" y="1108"/>
                  <a:pt x="757" y="1108"/>
                </a:cubicBezTo>
                <a:cubicBezTo>
                  <a:pt x="757" y="1107"/>
                  <a:pt x="757" y="1107"/>
                  <a:pt x="756" y="1106"/>
                </a:cubicBezTo>
                <a:cubicBezTo>
                  <a:pt x="755" y="1106"/>
                  <a:pt x="756" y="1107"/>
                  <a:pt x="756" y="1108"/>
                </a:cubicBezTo>
                <a:cubicBezTo>
                  <a:pt x="757" y="1108"/>
                  <a:pt x="757" y="1108"/>
                  <a:pt x="758" y="1109"/>
                </a:cubicBezTo>
                <a:cubicBezTo>
                  <a:pt x="759" y="1110"/>
                  <a:pt x="760" y="1111"/>
                  <a:pt x="761" y="1111"/>
                </a:cubicBezTo>
                <a:cubicBezTo>
                  <a:pt x="763" y="1111"/>
                  <a:pt x="764" y="1112"/>
                  <a:pt x="765" y="1112"/>
                </a:cubicBezTo>
                <a:cubicBezTo>
                  <a:pt x="766" y="1111"/>
                  <a:pt x="767" y="1111"/>
                  <a:pt x="768" y="1111"/>
                </a:cubicBezTo>
                <a:cubicBezTo>
                  <a:pt x="769" y="1112"/>
                  <a:pt x="770" y="1113"/>
                  <a:pt x="771" y="1113"/>
                </a:cubicBezTo>
                <a:cubicBezTo>
                  <a:pt x="772" y="1113"/>
                  <a:pt x="773" y="1114"/>
                  <a:pt x="774" y="1115"/>
                </a:cubicBezTo>
                <a:cubicBezTo>
                  <a:pt x="776" y="1115"/>
                  <a:pt x="778" y="1114"/>
                  <a:pt x="779" y="1114"/>
                </a:cubicBezTo>
                <a:cubicBezTo>
                  <a:pt x="782" y="1113"/>
                  <a:pt x="785" y="1112"/>
                  <a:pt x="788" y="1112"/>
                </a:cubicBezTo>
                <a:cubicBezTo>
                  <a:pt x="790" y="1111"/>
                  <a:pt x="790" y="1112"/>
                  <a:pt x="791" y="1113"/>
                </a:cubicBezTo>
                <a:cubicBezTo>
                  <a:pt x="791" y="1115"/>
                  <a:pt x="793" y="1115"/>
                  <a:pt x="794" y="1115"/>
                </a:cubicBezTo>
                <a:cubicBezTo>
                  <a:pt x="795" y="1115"/>
                  <a:pt x="795" y="1115"/>
                  <a:pt x="796" y="1115"/>
                </a:cubicBezTo>
                <a:cubicBezTo>
                  <a:pt x="797" y="1115"/>
                  <a:pt x="797" y="1114"/>
                  <a:pt x="798" y="1115"/>
                </a:cubicBezTo>
                <a:cubicBezTo>
                  <a:pt x="799" y="1115"/>
                  <a:pt x="798" y="1116"/>
                  <a:pt x="798" y="1117"/>
                </a:cubicBezTo>
                <a:cubicBezTo>
                  <a:pt x="798" y="1118"/>
                  <a:pt x="798" y="1118"/>
                  <a:pt x="799" y="1119"/>
                </a:cubicBezTo>
                <a:cubicBezTo>
                  <a:pt x="799" y="1121"/>
                  <a:pt x="796" y="1120"/>
                  <a:pt x="795" y="1120"/>
                </a:cubicBezTo>
                <a:cubicBezTo>
                  <a:pt x="794" y="1120"/>
                  <a:pt x="794" y="1120"/>
                  <a:pt x="793" y="1121"/>
                </a:cubicBezTo>
                <a:cubicBezTo>
                  <a:pt x="792" y="1121"/>
                  <a:pt x="792" y="1122"/>
                  <a:pt x="791" y="1122"/>
                </a:cubicBezTo>
                <a:cubicBezTo>
                  <a:pt x="790" y="1123"/>
                  <a:pt x="788" y="1123"/>
                  <a:pt x="787" y="1123"/>
                </a:cubicBezTo>
                <a:cubicBezTo>
                  <a:pt x="785" y="1124"/>
                  <a:pt x="784" y="1124"/>
                  <a:pt x="783" y="1126"/>
                </a:cubicBezTo>
                <a:cubicBezTo>
                  <a:pt x="782" y="1127"/>
                  <a:pt x="781" y="1128"/>
                  <a:pt x="780" y="1128"/>
                </a:cubicBezTo>
                <a:cubicBezTo>
                  <a:pt x="779" y="1128"/>
                  <a:pt x="777" y="1129"/>
                  <a:pt x="776" y="1130"/>
                </a:cubicBezTo>
                <a:cubicBezTo>
                  <a:pt x="775" y="1131"/>
                  <a:pt x="776" y="1132"/>
                  <a:pt x="777" y="1132"/>
                </a:cubicBezTo>
                <a:cubicBezTo>
                  <a:pt x="778" y="1133"/>
                  <a:pt x="778" y="1133"/>
                  <a:pt x="779" y="1134"/>
                </a:cubicBezTo>
                <a:cubicBezTo>
                  <a:pt x="779" y="1134"/>
                  <a:pt x="780" y="1134"/>
                  <a:pt x="781" y="1134"/>
                </a:cubicBezTo>
                <a:cubicBezTo>
                  <a:pt x="782" y="1135"/>
                  <a:pt x="784" y="1134"/>
                  <a:pt x="785" y="1135"/>
                </a:cubicBezTo>
                <a:cubicBezTo>
                  <a:pt x="786" y="1135"/>
                  <a:pt x="786" y="1136"/>
                  <a:pt x="787" y="1136"/>
                </a:cubicBezTo>
                <a:cubicBezTo>
                  <a:pt x="787" y="1136"/>
                  <a:pt x="788" y="1136"/>
                  <a:pt x="789" y="1136"/>
                </a:cubicBezTo>
                <a:cubicBezTo>
                  <a:pt x="790" y="1137"/>
                  <a:pt x="792" y="1137"/>
                  <a:pt x="793" y="1137"/>
                </a:cubicBezTo>
                <a:cubicBezTo>
                  <a:pt x="794" y="1137"/>
                  <a:pt x="796" y="1138"/>
                  <a:pt x="797" y="1139"/>
                </a:cubicBezTo>
                <a:cubicBezTo>
                  <a:pt x="797" y="1140"/>
                  <a:pt x="798" y="1142"/>
                  <a:pt x="797" y="1143"/>
                </a:cubicBezTo>
                <a:cubicBezTo>
                  <a:pt x="797" y="1144"/>
                  <a:pt x="797" y="1145"/>
                  <a:pt x="796" y="1145"/>
                </a:cubicBezTo>
                <a:cubicBezTo>
                  <a:pt x="796" y="1146"/>
                  <a:pt x="796" y="1147"/>
                  <a:pt x="796" y="1148"/>
                </a:cubicBezTo>
                <a:cubicBezTo>
                  <a:pt x="796" y="1149"/>
                  <a:pt x="796" y="1151"/>
                  <a:pt x="794" y="1151"/>
                </a:cubicBezTo>
                <a:cubicBezTo>
                  <a:pt x="793" y="1151"/>
                  <a:pt x="792" y="1152"/>
                  <a:pt x="793" y="1152"/>
                </a:cubicBezTo>
                <a:cubicBezTo>
                  <a:pt x="794" y="1152"/>
                  <a:pt x="795" y="1152"/>
                  <a:pt x="795" y="1152"/>
                </a:cubicBezTo>
                <a:cubicBezTo>
                  <a:pt x="795" y="1153"/>
                  <a:pt x="796" y="1153"/>
                  <a:pt x="796" y="1153"/>
                </a:cubicBezTo>
                <a:cubicBezTo>
                  <a:pt x="798" y="1155"/>
                  <a:pt x="800" y="1156"/>
                  <a:pt x="803" y="1155"/>
                </a:cubicBezTo>
                <a:cubicBezTo>
                  <a:pt x="803" y="1154"/>
                  <a:pt x="804" y="1154"/>
                  <a:pt x="805" y="1153"/>
                </a:cubicBezTo>
                <a:cubicBezTo>
                  <a:pt x="806" y="1153"/>
                  <a:pt x="807" y="1152"/>
                  <a:pt x="809" y="1152"/>
                </a:cubicBezTo>
                <a:cubicBezTo>
                  <a:pt x="810" y="1151"/>
                  <a:pt x="812" y="1150"/>
                  <a:pt x="813" y="1149"/>
                </a:cubicBezTo>
                <a:cubicBezTo>
                  <a:pt x="814" y="1149"/>
                  <a:pt x="815" y="1148"/>
                  <a:pt x="816" y="1147"/>
                </a:cubicBezTo>
                <a:cubicBezTo>
                  <a:pt x="818" y="1147"/>
                  <a:pt x="819" y="1147"/>
                  <a:pt x="821" y="1146"/>
                </a:cubicBezTo>
                <a:cubicBezTo>
                  <a:pt x="822" y="1145"/>
                  <a:pt x="823" y="1144"/>
                  <a:pt x="824" y="1143"/>
                </a:cubicBezTo>
                <a:cubicBezTo>
                  <a:pt x="826" y="1143"/>
                  <a:pt x="827" y="1142"/>
                  <a:pt x="829" y="1142"/>
                </a:cubicBezTo>
                <a:cubicBezTo>
                  <a:pt x="831" y="1142"/>
                  <a:pt x="833" y="1139"/>
                  <a:pt x="835" y="1138"/>
                </a:cubicBezTo>
                <a:cubicBezTo>
                  <a:pt x="837" y="1138"/>
                  <a:pt x="838" y="1138"/>
                  <a:pt x="839" y="1139"/>
                </a:cubicBezTo>
                <a:cubicBezTo>
                  <a:pt x="840" y="1140"/>
                  <a:pt x="840" y="1140"/>
                  <a:pt x="841" y="1140"/>
                </a:cubicBezTo>
                <a:cubicBezTo>
                  <a:pt x="841" y="1140"/>
                  <a:pt x="842" y="1141"/>
                  <a:pt x="842" y="1141"/>
                </a:cubicBezTo>
                <a:cubicBezTo>
                  <a:pt x="844" y="1142"/>
                  <a:pt x="846" y="1141"/>
                  <a:pt x="847" y="1140"/>
                </a:cubicBezTo>
                <a:cubicBezTo>
                  <a:pt x="848" y="1140"/>
                  <a:pt x="849" y="1140"/>
                  <a:pt x="849" y="1140"/>
                </a:cubicBezTo>
                <a:cubicBezTo>
                  <a:pt x="851" y="1140"/>
                  <a:pt x="852" y="1140"/>
                  <a:pt x="852" y="1138"/>
                </a:cubicBezTo>
                <a:cubicBezTo>
                  <a:pt x="852" y="1138"/>
                  <a:pt x="852" y="1137"/>
                  <a:pt x="853" y="1136"/>
                </a:cubicBezTo>
                <a:cubicBezTo>
                  <a:pt x="853" y="1136"/>
                  <a:pt x="854" y="1135"/>
                  <a:pt x="854" y="1135"/>
                </a:cubicBezTo>
                <a:cubicBezTo>
                  <a:pt x="855" y="1134"/>
                  <a:pt x="855" y="1134"/>
                  <a:pt x="855" y="1133"/>
                </a:cubicBezTo>
                <a:cubicBezTo>
                  <a:pt x="856" y="1132"/>
                  <a:pt x="857" y="1133"/>
                  <a:pt x="857" y="1133"/>
                </a:cubicBezTo>
                <a:cubicBezTo>
                  <a:pt x="858" y="1132"/>
                  <a:pt x="859" y="1132"/>
                  <a:pt x="858" y="1132"/>
                </a:cubicBezTo>
                <a:cubicBezTo>
                  <a:pt x="857" y="1131"/>
                  <a:pt x="856" y="1132"/>
                  <a:pt x="856" y="1132"/>
                </a:cubicBezTo>
                <a:cubicBezTo>
                  <a:pt x="854" y="1132"/>
                  <a:pt x="853" y="1132"/>
                  <a:pt x="851" y="1132"/>
                </a:cubicBezTo>
                <a:cubicBezTo>
                  <a:pt x="850" y="1132"/>
                  <a:pt x="848" y="1132"/>
                  <a:pt x="847" y="1132"/>
                </a:cubicBezTo>
                <a:cubicBezTo>
                  <a:pt x="846" y="1132"/>
                  <a:pt x="844" y="1132"/>
                  <a:pt x="843" y="1132"/>
                </a:cubicBezTo>
                <a:cubicBezTo>
                  <a:pt x="842" y="1131"/>
                  <a:pt x="840" y="1132"/>
                  <a:pt x="839" y="1132"/>
                </a:cubicBezTo>
                <a:cubicBezTo>
                  <a:pt x="838" y="1132"/>
                  <a:pt x="836" y="1134"/>
                  <a:pt x="835" y="1133"/>
                </a:cubicBezTo>
                <a:cubicBezTo>
                  <a:pt x="834" y="1133"/>
                  <a:pt x="834" y="1132"/>
                  <a:pt x="833" y="1132"/>
                </a:cubicBezTo>
                <a:cubicBezTo>
                  <a:pt x="832" y="1131"/>
                  <a:pt x="832" y="1130"/>
                  <a:pt x="831" y="1129"/>
                </a:cubicBezTo>
                <a:cubicBezTo>
                  <a:pt x="830" y="1128"/>
                  <a:pt x="829" y="1127"/>
                  <a:pt x="828" y="1126"/>
                </a:cubicBezTo>
                <a:cubicBezTo>
                  <a:pt x="827" y="1124"/>
                  <a:pt x="826" y="1122"/>
                  <a:pt x="824" y="1120"/>
                </a:cubicBezTo>
                <a:cubicBezTo>
                  <a:pt x="823" y="1119"/>
                  <a:pt x="820" y="1113"/>
                  <a:pt x="823" y="1111"/>
                </a:cubicBezTo>
                <a:cubicBezTo>
                  <a:pt x="823" y="1111"/>
                  <a:pt x="824" y="1111"/>
                  <a:pt x="825" y="1111"/>
                </a:cubicBezTo>
                <a:cubicBezTo>
                  <a:pt x="825" y="1110"/>
                  <a:pt x="826" y="1110"/>
                  <a:pt x="826" y="1110"/>
                </a:cubicBezTo>
                <a:cubicBezTo>
                  <a:pt x="827" y="1109"/>
                  <a:pt x="828" y="1110"/>
                  <a:pt x="828" y="1109"/>
                </a:cubicBezTo>
                <a:cubicBezTo>
                  <a:pt x="829" y="1109"/>
                  <a:pt x="829" y="1108"/>
                  <a:pt x="828" y="1107"/>
                </a:cubicBezTo>
                <a:cubicBezTo>
                  <a:pt x="828" y="1106"/>
                  <a:pt x="830" y="1104"/>
                  <a:pt x="830" y="1106"/>
                </a:cubicBezTo>
                <a:cubicBezTo>
                  <a:pt x="830" y="1107"/>
                  <a:pt x="831" y="1107"/>
                  <a:pt x="831" y="1108"/>
                </a:cubicBezTo>
                <a:cubicBezTo>
                  <a:pt x="831" y="1108"/>
                  <a:pt x="831" y="1108"/>
                  <a:pt x="831" y="1109"/>
                </a:cubicBezTo>
                <a:cubicBezTo>
                  <a:pt x="831" y="1109"/>
                  <a:pt x="830" y="1109"/>
                  <a:pt x="829" y="1110"/>
                </a:cubicBezTo>
                <a:cubicBezTo>
                  <a:pt x="828" y="1110"/>
                  <a:pt x="828" y="1111"/>
                  <a:pt x="827" y="1112"/>
                </a:cubicBezTo>
                <a:cubicBezTo>
                  <a:pt x="827" y="1113"/>
                  <a:pt x="826" y="1113"/>
                  <a:pt x="825" y="1113"/>
                </a:cubicBezTo>
                <a:cubicBezTo>
                  <a:pt x="826" y="1114"/>
                  <a:pt x="828" y="1113"/>
                  <a:pt x="828" y="1112"/>
                </a:cubicBezTo>
                <a:cubicBezTo>
                  <a:pt x="829" y="1111"/>
                  <a:pt x="829" y="1111"/>
                  <a:pt x="830" y="1110"/>
                </a:cubicBezTo>
                <a:cubicBezTo>
                  <a:pt x="832" y="1110"/>
                  <a:pt x="833" y="1109"/>
                  <a:pt x="834" y="1108"/>
                </a:cubicBezTo>
                <a:cubicBezTo>
                  <a:pt x="835" y="1107"/>
                  <a:pt x="835" y="1105"/>
                  <a:pt x="837" y="1104"/>
                </a:cubicBezTo>
                <a:cubicBezTo>
                  <a:pt x="838" y="1104"/>
                  <a:pt x="839" y="1103"/>
                  <a:pt x="839" y="1103"/>
                </a:cubicBezTo>
                <a:cubicBezTo>
                  <a:pt x="840" y="1103"/>
                  <a:pt x="840" y="1102"/>
                  <a:pt x="841" y="1102"/>
                </a:cubicBezTo>
                <a:cubicBezTo>
                  <a:pt x="842" y="1101"/>
                  <a:pt x="844" y="1100"/>
                  <a:pt x="845" y="1101"/>
                </a:cubicBezTo>
                <a:cubicBezTo>
                  <a:pt x="847" y="1101"/>
                  <a:pt x="848" y="1101"/>
                  <a:pt x="850" y="1100"/>
                </a:cubicBezTo>
                <a:cubicBezTo>
                  <a:pt x="851" y="1100"/>
                  <a:pt x="853" y="1098"/>
                  <a:pt x="854" y="1098"/>
                </a:cubicBezTo>
                <a:cubicBezTo>
                  <a:pt x="855" y="1098"/>
                  <a:pt x="855" y="1097"/>
                  <a:pt x="856" y="1097"/>
                </a:cubicBezTo>
                <a:cubicBezTo>
                  <a:pt x="857" y="1097"/>
                  <a:pt x="857" y="1096"/>
                  <a:pt x="858" y="1097"/>
                </a:cubicBezTo>
                <a:cubicBezTo>
                  <a:pt x="859" y="1097"/>
                  <a:pt x="859" y="1098"/>
                  <a:pt x="859" y="1098"/>
                </a:cubicBezTo>
                <a:cubicBezTo>
                  <a:pt x="860" y="1099"/>
                  <a:pt x="860" y="1099"/>
                  <a:pt x="860" y="1100"/>
                </a:cubicBezTo>
                <a:cubicBezTo>
                  <a:pt x="860" y="1100"/>
                  <a:pt x="860" y="1101"/>
                  <a:pt x="861" y="1101"/>
                </a:cubicBezTo>
                <a:cubicBezTo>
                  <a:pt x="862" y="1101"/>
                  <a:pt x="862" y="1100"/>
                  <a:pt x="862" y="1099"/>
                </a:cubicBezTo>
                <a:cubicBezTo>
                  <a:pt x="862" y="1098"/>
                  <a:pt x="863" y="1097"/>
                  <a:pt x="864" y="1096"/>
                </a:cubicBezTo>
                <a:cubicBezTo>
                  <a:pt x="866" y="1096"/>
                  <a:pt x="866" y="1095"/>
                  <a:pt x="868" y="1095"/>
                </a:cubicBezTo>
                <a:cubicBezTo>
                  <a:pt x="869" y="1095"/>
                  <a:pt x="870" y="1095"/>
                  <a:pt x="871" y="1094"/>
                </a:cubicBezTo>
                <a:cubicBezTo>
                  <a:pt x="872" y="1094"/>
                  <a:pt x="873" y="1093"/>
                  <a:pt x="874" y="1093"/>
                </a:cubicBezTo>
                <a:cubicBezTo>
                  <a:pt x="874" y="1092"/>
                  <a:pt x="875" y="1091"/>
                  <a:pt x="877" y="1090"/>
                </a:cubicBezTo>
                <a:cubicBezTo>
                  <a:pt x="877" y="1090"/>
                  <a:pt x="878" y="1090"/>
                  <a:pt x="879" y="1090"/>
                </a:cubicBezTo>
                <a:cubicBezTo>
                  <a:pt x="880" y="1089"/>
                  <a:pt x="882" y="1090"/>
                  <a:pt x="883" y="1090"/>
                </a:cubicBezTo>
                <a:cubicBezTo>
                  <a:pt x="884" y="1090"/>
                  <a:pt x="886" y="1090"/>
                  <a:pt x="887" y="1089"/>
                </a:cubicBezTo>
                <a:cubicBezTo>
                  <a:pt x="888" y="1089"/>
                  <a:pt x="890" y="1089"/>
                  <a:pt x="891" y="1088"/>
                </a:cubicBezTo>
                <a:cubicBezTo>
                  <a:pt x="892" y="1088"/>
                  <a:pt x="893" y="1088"/>
                  <a:pt x="893" y="1088"/>
                </a:cubicBezTo>
                <a:cubicBezTo>
                  <a:pt x="894" y="1088"/>
                  <a:pt x="895" y="1088"/>
                  <a:pt x="895" y="1088"/>
                </a:cubicBezTo>
                <a:cubicBezTo>
                  <a:pt x="896" y="1089"/>
                  <a:pt x="899" y="1089"/>
                  <a:pt x="900" y="1088"/>
                </a:cubicBezTo>
                <a:cubicBezTo>
                  <a:pt x="901" y="1088"/>
                  <a:pt x="902" y="1087"/>
                  <a:pt x="903" y="1086"/>
                </a:cubicBezTo>
                <a:cubicBezTo>
                  <a:pt x="904" y="1086"/>
                  <a:pt x="906" y="1085"/>
                  <a:pt x="907" y="1086"/>
                </a:cubicBezTo>
                <a:cubicBezTo>
                  <a:pt x="908" y="1086"/>
                  <a:pt x="909" y="1086"/>
                  <a:pt x="909" y="1086"/>
                </a:cubicBezTo>
                <a:cubicBezTo>
                  <a:pt x="909" y="1087"/>
                  <a:pt x="909" y="1088"/>
                  <a:pt x="908" y="1088"/>
                </a:cubicBezTo>
                <a:cubicBezTo>
                  <a:pt x="908" y="1089"/>
                  <a:pt x="909" y="1090"/>
                  <a:pt x="908" y="1090"/>
                </a:cubicBezTo>
                <a:cubicBezTo>
                  <a:pt x="908" y="1091"/>
                  <a:pt x="907" y="1091"/>
                  <a:pt x="906" y="1092"/>
                </a:cubicBezTo>
                <a:cubicBezTo>
                  <a:pt x="904" y="1093"/>
                  <a:pt x="900" y="1094"/>
                  <a:pt x="898" y="1095"/>
                </a:cubicBezTo>
                <a:cubicBezTo>
                  <a:pt x="897" y="1095"/>
                  <a:pt x="896" y="1095"/>
                  <a:pt x="895" y="1095"/>
                </a:cubicBezTo>
                <a:cubicBezTo>
                  <a:pt x="894" y="1095"/>
                  <a:pt x="893" y="1095"/>
                  <a:pt x="893" y="1095"/>
                </a:cubicBezTo>
                <a:cubicBezTo>
                  <a:pt x="891" y="1096"/>
                  <a:pt x="894" y="1097"/>
                  <a:pt x="894" y="1098"/>
                </a:cubicBezTo>
                <a:cubicBezTo>
                  <a:pt x="896" y="1099"/>
                  <a:pt x="895" y="1100"/>
                  <a:pt x="893" y="1100"/>
                </a:cubicBezTo>
                <a:cubicBezTo>
                  <a:pt x="892" y="1100"/>
                  <a:pt x="891" y="1100"/>
                  <a:pt x="889" y="1101"/>
                </a:cubicBezTo>
                <a:cubicBezTo>
                  <a:pt x="886" y="1101"/>
                  <a:pt x="883" y="1100"/>
                  <a:pt x="880" y="1100"/>
                </a:cubicBezTo>
                <a:cubicBezTo>
                  <a:pt x="878" y="1100"/>
                  <a:pt x="880" y="1101"/>
                  <a:pt x="880" y="1102"/>
                </a:cubicBezTo>
                <a:cubicBezTo>
                  <a:pt x="881" y="1103"/>
                  <a:pt x="881" y="1104"/>
                  <a:pt x="881" y="1104"/>
                </a:cubicBezTo>
                <a:cubicBezTo>
                  <a:pt x="881" y="1105"/>
                  <a:pt x="882" y="1105"/>
                  <a:pt x="883" y="1106"/>
                </a:cubicBezTo>
                <a:cubicBezTo>
                  <a:pt x="884" y="1107"/>
                  <a:pt x="885" y="1108"/>
                  <a:pt x="887" y="1108"/>
                </a:cubicBezTo>
                <a:cubicBezTo>
                  <a:pt x="888" y="1109"/>
                  <a:pt x="889" y="1109"/>
                  <a:pt x="890" y="1110"/>
                </a:cubicBezTo>
                <a:cubicBezTo>
                  <a:pt x="891" y="1111"/>
                  <a:pt x="891" y="1111"/>
                  <a:pt x="892" y="1111"/>
                </a:cubicBezTo>
                <a:cubicBezTo>
                  <a:pt x="893" y="1112"/>
                  <a:pt x="893" y="1112"/>
                  <a:pt x="894" y="1112"/>
                </a:cubicBezTo>
                <a:cubicBezTo>
                  <a:pt x="894" y="1113"/>
                  <a:pt x="895" y="1113"/>
                  <a:pt x="895" y="1114"/>
                </a:cubicBezTo>
                <a:cubicBezTo>
                  <a:pt x="895" y="1115"/>
                  <a:pt x="894" y="1115"/>
                  <a:pt x="893" y="1115"/>
                </a:cubicBezTo>
                <a:cubicBezTo>
                  <a:pt x="892" y="1114"/>
                  <a:pt x="891" y="1114"/>
                  <a:pt x="890" y="1113"/>
                </a:cubicBezTo>
                <a:cubicBezTo>
                  <a:pt x="888" y="1112"/>
                  <a:pt x="888" y="1114"/>
                  <a:pt x="887" y="1115"/>
                </a:cubicBezTo>
                <a:cubicBezTo>
                  <a:pt x="887" y="1115"/>
                  <a:pt x="886" y="1115"/>
                  <a:pt x="885" y="1115"/>
                </a:cubicBezTo>
                <a:cubicBezTo>
                  <a:pt x="885" y="1115"/>
                  <a:pt x="884" y="1115"/>
                  <a:pt x="883" y="1115"/>
                </a:cubicBezTo>
                <a:cubicBezTo>
                  <a:pt x="882" y="1115"/>
                  <a:pt x="882" y="1117"/>
                  <a:pt x="882" y="1118"/>
                </a:cubicBezTo>
                <a:cubicBezTo>
                  <a:pt x="881" y="1120"/>
                  <a:pt x="881" y="1121"/>
                  <a:pt x="880" y="1123"/>
                </a:cubicBezTo>
                <a:cubicBezTo>
                  <a:pt x="879" y="1123"/>
                  <a:pt x="879" y="1123"/>
                  <a:pt x="878" y="1124"/>
                </a:cubicBezTo>
                <a:cubicBezTo>
                  <a:pt x="877" y="1124"/>
                  <a:pt x="877" y="1124"/>
                  <a:pt x="876" y="1124"/>
                </a:cubicBezTo>
                <a:cubicBezTo>
                  <a:pt x="875" y="1125"/>
                  <a:pt x="877" y="1126"/>
                  <a:pt x="877" y="1127"/>
                </a:cubicBezTo>
                <a:cubicBezTo>
                  <a:pt x="877" y="1128"/>
                  <a:pt x="877" y="1128"/>
                  <a:pt x="878" y="1129"/>
                </a:cubicBezTo>
                <a:cubicBezTo>
                  <a:pt x="878" y="1129"/>
                  <a:pt x="879" y="1130"/>
                  <a:pt x="879" y="1130"/>
                </a:cubicBezTo>
                <a:cubicBezTo>
                  <a:pt x="880" y="1134"/>
                  <a:pt x="874" y="1133"/>
                  <a:pt x="872" y="1133"/>
                </a:cubicBezTo>
                <a:cubicBezTo>
                  <a:pt x="871" y="1133"/>
                  <a:pt x="870" y="1132"/>
                  <a:pt x="868" y="1132"/>
                </a:cubicBezTo>
                <a:cubicBezTo>
                  <a:pt x="867" y="1132"/>
                  <a:pt x="866" y="1131"/>
                  <a:pt x="865" y="1131"/>
                </a:cubicBezTo>
                <a:cubicBezTo>
                  <a:pt x="864" y="1131"/>
                  <a:pt x="863" y="1131"/>
                  <a:pt x="863" y="1131"/>
                </a:cubicBezTo>
                <a:cubicBezTo>
                  <a:pt x="862" y="1130"/>
                  <a:pt x="862" y="1130"/>
                  <a:pt x="861" y="1130"/>
                </a:cubicBezTo>
                <a:cubicBezTo>
                  <a:pt x="860" y="1130"/>
                  <a:pt x="858" y="1131"/>
                  <a:pt x="860" y="1132"/>
                </a:cubicBezTo>
                <a:cubicBezTo>
                  <a:pt x="861" y="1132"/>
                  <a:pt x="861" y="1132"/>
                  <a:pt x="862" y="1133"/>
                </a:cubicBezTo>
                <a:cubicBezTo>
                  <a:pt x="862" y="1133"/>
                  <a:pt x="863" y="1133"/>
                  <a:pt x="863" y="1134"/>
                </a:cubicBezTo>
                <a:cubicBezTo>
                  <a:pt x="863" y="1135"/>
                  <a:pt x="862" y="1134"/>
                  <a:pt x="861" y="1135"/>
                </a:cubicBezTo>
                <a:cubicBezTo>
                  <a:pt x="861" y="1135"/>
                  <a:pt x="860" y="1135"/>
                  <a:pt x="860" y="1136"/>
                </a:cubicBezTo>
                <a:cubicBezTo>
                  <a:pt x="859" y="1136"/>
                  <a:pt x="856" y="1136"/>
                  <a:pt x="857" y="1137"/>
                </a:cubicBezTo>
                <a:cubicBezTo>
                  <a:pt x="858" y="1137"/>
                  <a:pt x="859" y="1137"/>
                  <a:pt x="859" y="1137"/>
                </a:cubicBezTo>
                <a:cubicBezTo>
                  <a:pt x="860" y="1137"/>
                  <a:pt x="860" y="1138"/>
                  <a:pt x="861" y="1138"/>
                </a:cubicBezTo>
                <a:cubicBezTo>
                  <a:pt x="862" y="1138"/>
                  <a:pt x="862" y="1138"/>
                  <a:pt x="863" y="1139"/>
                </a:cubicBezTo>
                <a:cubicBezTo>
                  <a:pt x="863" y="1139"/>
                  <a:pt x="864" y="1139"/>
                  <a:pt x="865" y="1140"/>
                </a:cubicBezTo>
                <a:cubicBezTo>
                  <a:pt x="865" y="1140"/>
                  <a:pt x="866" y="1140"/>
                  <a:pt x="866" y="1141"/>
                </a:cubicBezTo>
                <a:cubicBezTo>
                  <a:pt x="867" y="1141"/>
                  <a:pt x="867" y="1142"/>
                  <a:pt x="867" y="1142"/>
                </a:cubicBezTo>
                <a:cubicBezTo>
                  <a:pt x="868" y="1143"/>
                  <a:pt x="869" y="1143"/>
                  <a:pt x="869" y="1143"/>
                </a:cubicBezTo>
                <a:cubicBezTo>
                  <a:pt x="870" y="1144"/>
                  <a:pt x="870" y="1145"/>
                  <a:pt x="870" y="1145"/>
                </a:cubicBezTo>
                <a:cubicBezTo>
                  <a:pt x="871" y="1146"/>
                  <a:pt x="871" y="1146"/>
                  <a:pt x="872" y="1147"/>
                </a:cubicBezTo>
                <a:cubicBezTo>
                  <a:pt x="872" y="1147"/>
                  <a:pt x="873" y="1148"/>
                  <a:pt x="873" y="1148"/>
                </a:cubicBezTo>
                <a:cubicBezTo>
                  <a:pt x="874" y="1149"/>
                  <a:pt x="876" y="1149"/>
                  <a:pt x="877" y="1149"/>
                </a:cubicBezTo>
                <a:cubicBezTo>
                  <a:pt x="879" y="1149"/>
                  <a:pt x="880" y="1148"/>
                  <a:pt x="881" y="1149"/>
                </a:cubicBezTo>
                <a:cubicBezTo>
                  <a:pt x="882" y="1149"/>
                  <a:pt x="882" y="1150"/>
                  <a:pt x="882" y="1150"/>
                </a:cubicBezTo>
                <a:cubicBezTo>
                  <a:pt x="883" y="1150"/>
                  <a:pt x="883" y="1151"/>
                  <a:pt x="884" y="1151"/>
                </a:cubicBezTo>
                <a:cubicBezTo>
                  <a:pt x="886" y="1153"/>
                  <a:pt x="887" y="1156"/>
                  <a:pt x="891" y="1157"/>
                </a:cubicBezTo>
                <a:cubicBezTo>
                  <a:pt x="893" y="1157"/>
                  <a:pt x="896" y="1157"/>
                  <a:pt x="899" y="1158"/>
                </a:cubicBezTo>
                <a:cubicBezTo>
                  <a:pt x="900" y="1159"/>
                  <a:pt x="901" y="1161"/>
                  <a:pt x="902" y="1162"/>
                </a:cubicBezTo>
                <a:cubicBezTo>
                  <a:pt x="903" y="1163"/>
                  <a:pt x="904" y="1163"/>
                  <a:pt x="905" y="1164"/>
                </a:cubicBezTo>
                <a:cubicBezTo>
                  <a:pt x="906" y="1165"/>
                  <a:pt x="907" y="1165"/>
                  <a:pt x="908" y="1166"/>
                </a:cubicBezTo>
                <a:cubicBezTo>
                  <a:pt x="909" y="1168"/>
                  <a:pt x="911" y="1168"/>
                  <a:pt x="912" y="1169"/>
                </a:cubicBezTo>
                <a:cubicBezTo>
                  <a:pt x="913" y="1170"/>
                  <a:pt x="914" y="1171"/>
                  <a:pt x="915" y="1172"/>
                </a:cubicBezTo>
                <a:cubicBezTo>
                  <a:pt x="916" y="1173"/>
                  <a:pt x="917" y="1174"/>
                  <a:pt x="918" y="1175"/>
                </a:cubicBezTo>
                <a:cubicBezTo>
                  <a:pt x="920" y="1177"/>
                  <a:pt x="922" y="1179"/>
                  <a:pt x="924" y="1181"/>
                </a:cubicBezTo>
                <a:cubicBezTo>
                  <a:pt x="927" y="1183"/>
                  <a:pt x="929" y="1184"/>
                  <a:pt x="932" y="1185"/>
                </a:cubicBezTo>
                <a:cubicBezTo>
                  <a:pt x="934" y="1186"/>
                  <a:pt x="936" y="1187"/>
                  <a:pt x="939" y="1187"/>
                </a:cubicBezTo>
                <a:cubicBezTo>
                  <a:pt x="940" y="1188"/>
                  <a:pt x="942" y="1188"/>
                  <a:pt x="944" y="1190"/>
                </a:cubicBezTo>
                <a:cubicBezTo>
                  <a:pt x="945" y="1191"/>
                  <a:pt x="945" y="1192"/>
                  <a:pt x="946" y="1194"/>
                </a:cubicBezTo>
                <a:cubicBezTo>
                  <a:pt x="948" y="1197"/>
                  <a:pt x="951" y="1195"/>
                  <a:pt x="953" y="1198"/>
                </a:cubicBezTo>
                <a:cubicBezTo>
                  <a:pt x="954" y="1199"/>
                  <a:pt x="953" y="1201"/>
                  <a:pt x="954" y="1202"/>
                </a:cubicBezTo>
                <a:cubicBezTo>
                  <a:pt x="954" y="1204"/>
                  <a:pt x="954" y="1205"/>
                  <a:pt x="955" y="1206"/>
                </a:cubicBezTo>
                <a:cubicBezTo>
                  <a:pt x="956" y="1208"/>
                  <a:pt x="957" y="1209"/>
                  <a:pt x="957" y="1210"/>
                </a:cubicBezTo>
                <a:cubicBezTo>
                  <a:pt x="958" y="1211"/>
                  <a:pt x="958" y="1212"/>
                  <a:pt x="958" y="1214"/>
                </a:cubicBezTo>
                <a:cubicBezTo>
                  <a:pt x="958" y="1215"/>
                  <a:pt x="959" y="1216"/>
                  <a:pt x="958" y="1218"/>
                </a:cubicBezTo>
                <a:close/>
                <a:moveTo>
                  <a:pt x="827" y="1128"/>
                </a:moveTo>
                <a:cubicBezTo>
                  <a:pt x="827" y="1128"/>
                  <a:pt x="827" y="1128"/>
                  <a:pt x="827" y="1127"/>
                </a:cubicBezTo>
                <a:cubicBezTo>
                  <a:pt x="828" y="1127"/>
                  <a:pt x="830" y="1130"/>
                  <a:pt x="830" y="1130"/>
                </a:cubicBezTo>
                <a:cubicBezTo>
                  <a:pt x="831" y="1131"/>
                  <a:pt x="832" y="1132"/>
                  <a:pt x="833" y="1133"/>
                </a:cubicBezTo>
                <a:cubicBezTo>
                  <a:pt x="833" y="1133"/>
                  <a:pt x="834" y="1133"/>
                  <a:pt x="834" y="1134"/>
                </a:cubicBezTo>
                <a:cubicBezTo>
                  <a:pt x="834" y="1135"/>
                  <a:pt x="833" y="1135"/>
                  <a:pt x="832" y="1134"/>
                </a:cubicBezTo>
                <a:cubicBezTo>
                  <a:pt x="832" y="1134"/>
                  <a:pt x="831" y="1134"/>
                  <a:pt x="831" y="1134"/>
                </a:cubicBezTo>
                <a:cubicBezTo>
                  <a:pt x="830" y="1134"/>
                  <a:pt x="830" y="1133"/>
                  <a:pt x="829" y="1133"/>
                </a:cubicBezTo>
                <a:cubicBezTo>
                  <a:pt x="828" y="1131"/>
                  <a:pt x="826" y="1133"/>
                  <a:pt x="827" y="1130"/>
                </a:cubicBezTo>
                <a:cubicBezTo>
                  <a:pt x="827" y="1130"/>
                  <a:pt x="827" y="1129"/>
                  <a:pt x="827" y="1128"/>
                </a:cubicBezTo>
                <a:close/>
                <a:moveTo>
                  <a:pt x="1070" y="1175"/>
                </a:moveTo>
                <a:cubicBezTo>
                  <a:pt x="1070" y="1175"/>
                  <a:pt x="1069" y="1175"/>
                  <a:pt x="1069" y="1175"/>
                </a:cubicBezTo>
                <a:cubicBezTo>
                  <a:pt x="1068" y="1175"/>
                  <a:pt x="1069" y="1175"/>
                  <a:pt x="1069" y="1174"/>
                </a:cubicBezTo>
                <a:cubicBezTo>
                  <a:pt x="1069" y="1174"/>
                  <a:pt x="1070" y="1172"/>
                  <a:pt x="1071" y="1173"/>
                </a:cubicBezTo>
                <a:cubicBezTo>
                  <a:pt x="1071" y="1173"/>
                  <a:pt x="1070" y="1175"/>
                  <a:pt x="1070" y="1175"/>
                </a:cubicBezTo>
                <a:close/>
                <a:moveTo>
                  <a:pt x="1213" y="1238"/>
                </a:moveTo>
                <a:cubicBezTo>
                  <a:pt x="1212" y="1239"/>
                  <a:pt x="1210" y="1238"/>
                  <a:pt x="1209" y="1238"/>
                </a:cubicBezTo>
                <a:cubicBezTo>
                  <a:pt x="1208" y="1239"/>
                  <a:pt x="1206" y="1239"/>
                  <a:pt x="1205" y="1240"/>
                </a:cubicBezTo>
                <a:cubicBezTo>
                  <a:pt x="1205" y="1240"/>
                  <a:pt x="1205" y="1241"/>
                  <a:pt x="1205" y="1242"/>
                </a:cubicBezTo>
                <a:cubicBezTo>
                  <a:pt x="1205" y="1242"/>
                  <a:pt x="1206" y="1242"/>
                  <a:pt x="1206" y="1243"/>
                </a:cubicBezTo>
                <a:cubicBezTo>
                  <a:pt x="1207" y="1245"/>
                  <a:pt x="1205" y="1244"/>
                  <a:pt x="1203" y="1244"/>
                </a:cubicBezTo>
                <a:cubicBezTo>
                  <a:pt x="1203" y="1244"/>
                  <a:pt x="1203" y="1243"/>
                  <a:pt x="1202" y="1243"/>
                </a:cubicBezTo>
                <a:cubicBezTo>
                  <a:pt x="1201" y="1243"/>
                  <a:pt x="1200" y="1243"/>
                  <a:pt x="1200" y="1243"/>
                </a:cubicBezTo>
                <a:cubicBezTo>
                  <a:pt x="1199" y="1244"/>
                  <a:pt x="1199" y="1244"/>
                  <a:pt x="1198" y="1244"/>
                </a:cubicBezTo>
                <a:cubicBezTo>
                  <a:pt x="1197" y="1244"/>
                  <a:pt x="1197" y="1244"/>
                  <a:pt x="1196" y="1245"/>
                </a:cubicBezTo>
                <a:cubicBezTo>
                  <a:pt x="1196" y="1245"/>
                  <a:pt x="1195" y="1245"/>
                  <a:pt x="1194" y="1245"/>
                </a:cubicBezTo>
                <a:cubicBezTo>
                  <a:pt x="1194" y="1245"/>
                  <a:pt x="1194" y="1244"/>
                  <a:pt x="1194" y="1243"/>
                </a:cubicBezTo>
                <a:cubicBezTo>
                  <a:pt x="1194" y="1242"/>
                  <a:pt x="1194" y="1242"/>
                  <a:pt x="1194" y="1241"/>
                </a:cubicBezTo>
                <a:cubicBezTo>
                  <a:pt x="1193" y="1241"/>
                  <a:pt x="1193" y="1241"/>
                  <a:pt x="1193" y="1240"/>
                </a:cubicBezTo>
                <a:cubicBezTo>
                  <a:pt x="1192" y="1240"/>
                  <a:pt x="1192" y="1238"/>
                  <a:pt x="1191" y="1239"/>
                </a:cubicBezTo>
                <a:cubicBezTo>
                  <a:pt x="1191" y="1239"/>
                  <a:pt x="1191" y="1240"/>
                  <a:pt x="1191" y="1241"/>
                </a:cubicBezTo>
                <a:cubicBezTo>
                  <a:pt x="1191" y="1242"/>
                  <a:pt x="1191" y="1241"/>
                  <a:pt x="1190" y="1242"/>
                </a:cubicBezTo>
                <a:cubicBezTo>
                  <a:pt x="1189" y="1242"/>
                  <a:pt x="1189" y="1243"/>
                  <a:pt x="1188" y="1243"/>
                </a:cubicBezTo>
                <a:cubicBezTo>
                  <a:pt x="1187" y="1243"/>
                  <a:pt x="1186" y="1242"/>
                  <a:pt x="1185" y="1242"/>
                </a:cubicBezTo>
                <a:cubicBezTo>
                  <a:pt x="1184" y="1241"/>
                  <a:pt x="1183" y="1242"/>
                  <a:pt x="1182" y="1241"/>
                </a:cubicBezTo>
                <a:cubicBezTo>
                  <a:pt x="1181" y="1240"/>
                  <a:pt x="1181" y="1239"/>
                  <a:pt x="1180" y="1238"/>
                </a:cubicBezTo>
                <a:cubicBezTo>
                  <a:pt x="1180" y="1237"/>
                  <a:pt x="1178" y="1235"/>
                  <a:pt x="1177" y="1235"/>
                </a:cubicBezTo>
                <a:cubicBezTo>
                  <a:pt x="1177" y="1235"/>
                  <a:pt x="1177" y="1235"/>
                  <a:pt x="1177" y="1235"/>
                </a:cubicBezTo>
                <a:cubicBezTo>
                  <a:pt x="1177" y="1236"/>
                  <a:pt x="1178" y="1236"/>
                  <a:pt x="1178" y="1237"/>
                </a:cubicBezTo>
                <a:cubicBezTo>
                  <a:pt x="1178" y="1238"/>
                  <a:pt x="1178" y="1238"/>
                  <a:pt x="1177" y="1239"/>
                </a:cubicBezTo>
                <a:cubicBezTo>
                  <a:pt x="1177" y="1240"/>
                  <a:pt x="1177" y="1241"/>
                  <a:pt x="1177" y="1243"/>
                </a:cubicBezTo>
                <a:cubicBezTo>
                  <a:pt x="1177" y="1244"/>
                  <a:pt x="1176" y="1245"/>
                  <a:pt x="1175" y="1246"/>
                </a:cubicBezTo>
                <a:cubicBezTo>
                  <a:pt x="1175" y="1246"/>
                  <a:pt x="1175" y="1247"/>
                  <a:pt x="1175" y="1248"/>
                </a:cubicBezTo>
                <a:cubicBezTo>
                  <a:pt x="1174" y="1250"/>
                  <a:pt x="1174" y="1252"/>
                  <a:pt x="1174" y="1254"/>
                </a:cubicBezTo>
                <a:cubicBezTo>
                  <a:pt x="1174" y="1255"/>
                  <a:pt x="1175" y="1255"/>
                  <a:pt x="1175" y="1256"/>
                </a:cubicBezTo>
                <a:cubicBezTo>
                  <a:pt x="1175" y="1257"/>
                  <a:pt x="1175" y="1257"/>
                  <a:pt x="1176" y="1258"/>
                </a:cubicBezTo>
                <a:cubicBezTo>
                  <a:pt x="1176" y="1260"/>
                  <a:pt x="1178" y="1260"/>
                  <a:pt x="1179" y="1260"/>
                </a:cubicBezTo>
                <a:cubicBezTo>
                  <a:pt x="1181" y="1260"/>
                  <a:pt x="1182" y="1260"/>
                  <a:pt x="1184" y="1260"/>
                </a:cubicBezTo>
                <a:cubicBezTo>
                  <a:pt x="1185" y="1261"/>
                  <a:pt x="1187" y="1260"/>
                  <a:pt x="1188" y="1261"/>
                </a:cubicBezTo>
                <a:cubicBezTo>
                  <a:pt x="1188" y="1261"/>
                  <a:pt x="1189" y="1262"/>
                  <a:pt x="1189" y="1263"/>
                </a:cubicBezTo>
                <a:cubicBezTo>
                  <a:pt x="1189" y="1264"/>
                  <a:pt x="1188" y="1264"/>
                  <a:pt x="1188" y="1265"/>
                </a:cubicBezTo>
                <a:cubicBezTo>
                  <a:pt x="1188" y="1266"/>
                  <a:pt x="1189" y="1267"/>
                  <a:pt x="1190" y="1268"/>
                </a:cubicBezTo>
                <a:cubicBezTo>
                  <a:pt x="1191" y="1268"/>
                  <a:pt x="1192" y="1269"/>
                  <a:pt x="1192" y="1269"/>
                </a:cubicBezTo>
                <a:cubicBezTo>
                  <a:pt x="1192" y="1270"/>
                  <a:pt x="1192" y="1271"/>
                  <a:pt x="1191" y="1270"/>
                </a:cubicBezTo>
                <a:cubicBezTo>
                  <a:pt x="1190" y="1270"/>
                  <a:pt x="1190" y="1269"/>
                  <a:pt x="1190" y="1269"/>
                </a:cubicBezTo>
                <a:cubicBezTo>
                  <a:pt x="1189" y="1269"/>
                  <a:pt x="1189" y="1268"/>
                  <a:pt x="1188" y="1269"/>
                </a:cubicBezTo>
                <a:cubicBezTo>
                  <a:pt x="1187" y="1269"/>
                  <a:pt x="1186" y="1271"/>
                  <a:pt x="1185" y="1270"/>
                </a:cubicBezTo>
                <a:cubicBezTo>
                  <a:pt x="1183" y="1269"/>
                  <a:pt x="1186" y="1268"/>
                  <a:pt x="1186" y="1267"/>
                </a:cubicBezTo>
                <a:cubicBezTo>
                  <a:pt x="1186" y="1266"/>
                  <a:pt x="1185" y="1266"/>
                  <a:pt x="1185" y="1267"/>
                </a:cubicBezTo>
                <a:cubicBezTo>
                  <a:pt x="1184" y="1268"/>
                  <a:pt x="1184" y="1268"/>
                  <a:pt x="1184" y="1269"/>
                </a:cubicBezTo>
                <a:cubicBezTo>
                  <a:pt x="1183" y="1270"/>
                  <a:pt x="1182" y="1271"/>
                  <a:pt x="1182" y="1273"/>
                </a:cubicBezTo>
                <a:cubicBezTo>
                  <a:pt x="1182" y="1274"/>
                  <a:pt x="1182" y="1274"/>
                  <a:pt x="1183" y="1275"/>
                </a:cubicBezTo>
                <a:cubicBezTo>
                  <a:pt x="1183" y="1275"/>
                  <a:pt x="1183" y="1276"/>
                  <a:pt x="1183" y="1277"/>
                </a:cubicBezTo>
                <a:cubicBezTo>
                  <a:pt x="1183" y="1278"/>
                  <a:pt x="1184" y="1278"/>
                  <a:pt x="1185" y="1277"/>
                </a:cubicBezTo>
                <a:cubicBezTo>
                  <a:pt x="1185" y="1277"/>
                  <a:pt x="1185" y="1276"/>
                  <a:pt x="1185" y="1275"/>
                </a:cubicBezTo>
                <a:cubicBezTo>
                  <a:pt x="1185" y="1275"/>
                  <a:pt x="1184" y="1274"/>
                  <a:pt x="1185" y="1273"/>
                </a:cubicBezTo>
                <a:cubicBezTo>
                  <a:pt x="1186" y="1273"/>
                  <a:pt x="1186" y="1274"/>
                  <a:pt x="1187" y="1275"/>
                </a:cubicBezTo>
                <a:cubicBezTo>
                  <a:pt x="1187" y="1276"/>
                  <a:pt x="1189" y="1275"/>
                  <a:pt x="1190" y="1276"/>
                </a:cubicBezTo>
                <a:cubicBezTo>
                  <a:pt x="1192" y="1277"/>
                  <a:pt x="1192" y="1279"/>
                  <a:pt x="1193" y="1280"/>
                </a:cubicBezTo>
                <a:cubicBezTo>
                  <a:pt x="1194" y="1281"/>
                  <a:pt x="1195" y="1281"/>
                  <a:pt x="1196" y="1282"/>
                </a:cubicBezTo>
                <a:cubicBezTo>
                  <a:pt x="1197" y="1283"/>
                  <a:pt x="1198" y="1285"/>
                  <a:pt x="1198" y="1286"/>
                </a:cubicBezTo>
                <a:cubicBezTo>
                  <a:pt x="1198" y="1287"/>
                  <a:pt x="1197" y="1287"/>
                  <a:pt x="1197" y="1288"/>
                </a:cubicBezTo>
                <a:cubicBezTo>
                  <a:pt x="1197" y="1289"/>
                  <a:pt x="1196" y="1290"/>
                  <a:pt x="1196" y="1291"/>
                </a:cubicBezTo>
                <a:cubicBezTo>
                  <a:pt x="1196" y="1292"/>
                  <a:pt x="1196" y="1293"/>
                  <a:pt x="1196" y="1294"/>
                </a:cubicBezTo>
                <a:cubicBezTo>
                  <a:pt x="1196" y="1296"/>
                  <a:pt x="1195" y="1297"/>
                  <a:pt x="1195" y="1299"/>
                </a:cubicBezTo>
                <a:cubicBezTo>
                  <a:pt x="1195" y="1303"/>
                  <a:pt x="1195" y="1306"/>
                  <a:pt x="1196" y="1309"/>
                </a:cubicBezTo>
                <a:cubicBezTo>
                  <a:pt x="1196" y="1311"/>
                  <a:pt x="1196" y="1313"/>
                  <a:pt x="1197" y="1316"/>
                </a:cubicBezTo>
                <a:cubicBezTo>
                  <a:pt x="1197" y="1318"/>
                  <a:pt x="1197" y="1319"/>
                  <a:pt x="1197" y="1321"/>
                </a:cubicBezTo>
                <a:cubicBezTo>
                  <a:pt x="1198" y="1323"/>
                  <a:pt x="1198" y="1325"/>
                  <a:pt x="1198" y="1326"/>
                </a:cubicBezTo>
                <a:cubicBezTo>
                  <a:pt x="1199" y="1327"/>
                  <a:pt x="1199" y="1329"/>
                  <a:pt x="1199" y="1330"/>
                </a:cubicBezTo>
                <a:cubicBezTo>
                  <a:pt x="1200" y="1332"/>
                  <a:pt x="1198" y="1333"/>
                  <a:pt x="1197" y="1333"/>
                </a:cubicBezTo>
                <a:cubicBezTo>
                  <a:pt x="1196" y="1333"/>
                  <a:pt x="1196" y="1333"/>
                  <a:pt x="1195" y="1332"/>
                </a:cubicBezTo>
                <a:cubicBezTo>
                  <a:pt x="1194" y="1332"/>
                  <a:pt x="1194" y="1332"/>
                  <a:pt x="1195" y="1331"/>
                </a:cubicBezTo>
                <a:cubicBezTo>
                  <a:pt x="1195" y="1331"/>
                  <a:pt x="1196" y="1331"/>
                  <a:pt x="1195" y="1330"/>
                </a:cubicBezTo>
                <a:cubicBezTo>
                  <a:pt x="1195" y="1330"/>
                  <a:pt x="1194" y="1330"/>
                  <a:pt x="1193" y="1330"/>
                </a:cubicBezTo>
                <a:cubicBezTo>
                  <a:pt x="1192" y="1331"/>
                  <a:pt x="1191" y="1331"/>
                  <a:pt x="1189" y="1331"/>
                </a:cubicBezTo>
                <a:cubicBezTo>
                  <a:pt x="1185" y="1330"/>
                  <a:pt x="1182" y="1333"/>
                  <a:pt x="1178" y="1334"/>
                </a:cubicBezTo>
                <a:cubicBezTo>
                  <a:pt x="1177" y="1334"/>
                  <a:pt x="1175" y="1334"/>
                  <a:pt x="1173" y="1334"/>
                </a:cubicBezTo>
                <a:cubicBezTo>
                  <a:pt x="1171" y="1335"/>
                  <a:pt x="1169" y="1335"/>
                  <a:pt x="1167" y="1336"/>
                </a:cubicBezTo>
                <a:cubicBezTo>
                  <a:pt x="1164" y="1337"/>
                  <a:pt x="1160" y="1337"/>
                  <a:pt x="1156" y="1337"/>
                </a:cubicBezTo>
                <a:cubicBezTo>
                  <a:pt x="1154" y="1337"/>
                  <a:pt x="1152" y="1336"/>
                  <a:pt x="1150" y="1336"/>
                </a:cubicBezTo>
                <a:cubicBezTo>
                  <a:pt x="1148" y="1335"/>
                  <a:pt x="1146" y="1335"/>
                  <a:pt x="1144" y="1334"/>
                </a:cubicBezTo>
                <a:cubicBezTo>
                  <a:pt x="1142" y="1333"/>
                  <a:pt x="1140" y="1333"/>
                  <a:pt x="1139" y="1332"/>
                </a:cubicBezTo>
                <a:cubicBezTo>
                  <a:pt x="1137" y="1331"/>
                  <a:pt x="1135" y="1331"/>
                  <a:pt x="1134" y="1330"/>
                </a:cubicBezTo>
                <a:cubicBezTo>
                  <a:pt x="1132" y="1330"/>
                  <a:pt x="1131" y="1329"/>
                  <a:pt x="1129" y="1328"/>
                </a:cubicBezTo>
                <a:cubicBezTo>
                  <a:pt x="1128" y="1327"/>
                  <a:pt x="1128" y="1326"/>
                  <a:pt x="1127" y="1324"/>
                </a:cubicBezTo>
                <a:cubicBezTo>
                  <a:pt x="1126" y="1323"/>
                  <a:pt x="1125" y="1322"/>
                  <a:pt x="1124" y="1321"/>
                </a:cubicBezTo>
                <a:cubicBezTo>
                  <a:pt x="1121" y="1319"/>
                  <a:pt x="1118" y="1318"/>
                  <a:pt x="1115" y="1318"/>
                </a:cubicBezTo>
                <a:cubicBezTo>
                  <a:pt x="1113" y="1317"/>
                  <a:pt x="1112" y="1317"/>
                  <a:pt x="1110" y="1316"/>
                </a:cubicBezTo>
                <a:cubicBezTo>
                  <a:pt x="1109" y="1316"/>
                  <a:pt x="1108" y="1316"/>
                  <a:pt x="1106" y="1316"/>
                </a:cubicBezTo>
                <a:cubicBezTo>
                  <a:pt x="1105" y="1315"/>
                  <a:pt x="1104" y="1315"/>
                  <a:pt x="1103" y="1314"/>
                </a:cubicBezTo>
                <a:cubicBezTo>
                  <a:pt x="1102" y="1312"/>
                  <a:pt x="1102" y="1311"/>
                  <a:pt x="1102" y="1310"/>
                </a:cubicBezTo>
                <a:cubicBezTo>
                  <a:pt x="1100" y="1307"/>
                  <a:pt x="1100" y="1304"/>
                  <a:pt x="1099" y="1301"/>
                </a:cubicBezTo>
                <a:cubicBezTo>
                  <a:pt x="1099" y="1300"/>
                  <a:pt x="1098" y="1299"/>
                  <a:pt x="1098" y="1297"/>
                </a:cubicBezTo>
                <a:cubicBezTo>
                  <a:pt x="1098" y="1296"/>
                  <a:pt x="1098" y="1294"/>
                  <a:pt x="1098" y="1293"/>
                </a:cubicBezTo>
                <a:cubicBezTo>
                  <a:pt x="1099" y="1290"/>
                  <a:pt x="1099" y="1287"/>
                  <a:pt x="1100" y="1285"/>
                </a:cubicBezTo>
                <a:cubicBezTo>
                  <a:pt x="1100" y="1283"/>
                  <a:pt x="1100" y="1282"/>
                  <a:pt x="1100" y="1280"/>
                </a:cubicBezTo>
                <a:cubicBezTo>
                  <a:pt x="1101" y="1279"/>
                  <a:pt x="1102" y="1278"/>
                  <a:pt x="1103" y="1280"/>
                </a:cubicBezTo>
                <a:cubicBezTo>
                  <a:pt x="1103" y="1281"/>
                  <a:pt x="1103" y="1281"/>
                  <a:pt x="1103" y="1282"/>
                </a:cubicBezTo>
                <a:cubicBezTo>
                  <a:pt x="1104" y="1282"/>
                  <a:pt x="1104" y="1284"/>
                  <a:pt x="1104" y="1284"/>
                </a:cubicBezTo>
                <a:cubicBezTo>
                  <a:pt x="1105" y="1282"/>
                  <a:pt x="1104" y="1282"/>
                  <a:pt x="1104" y="1280"/>
                </a:cubicBezTo>
                <a:cubicBezTo>
                  <a:pt x="1104" y="1279"/>
                  <a:pt x="1106" y="1279"/>
                  <a:pt x="1106" y="1278"/>
                </a:cubicBezTo>
                <a:cubicBezTo>
                  <a:pt x="1106" y="1277"/>
                  <a:pt x="1106" y="1275"/>
                  <a:pt x="1107" y="1275"/>
                </a:cubicBezTo>
                <a:cubicBezTo>
                  <a:pt x="1108" y="1275"/>
                  <a:pt x="1110" y="1277"/>
                  <a:pt x="1109" y="1275"/>
                </a:cubicBezTo>
                <a:cubicBezTo>
                  <a:pt x="1109" y="1274"/>
                  <a:pt x="1109" y="1274"/>
                  <a:pt x="1109" y="1274"/>
                </a:cubicBezTo>
                <a:cubicBezTo>
                  <a:pt x="1108" y="1273"/>
                  <a:pt x="1108" y="1273"/>
                  <a:pt x="1108" y="1272"/>
                </a:cubicBezTo>
                <a:cubicBezTo>
                  <a:pt x="1108" y="1271"/>
                  <a:pt x="1107" y="1271"/>
                  <a:pt x="1107" y="1270"/>
                </a:cubicBezTo>
                <a:cubicBezTo>
                  <a:pt x="1106" y="1269"/>
                  <a:pt x="1108" y="1268"/>
                  <a:pt x="1108" y="1266"/>
                </a:cubicBezTo>
                <a:cubicBezTo>
                  <a:pt x="1109" y="1265"/>
                  <a:pt x="1109" y="1264"/>
                  <a:pt x="1109" y="1263"/>
                </a:cubicBezTo>
                <a:cubicBezTo>
                  <a:pt x="1109" y="1261"/>
                  <a:pt x="1111" y="1261"/>
                  <a:pt x="1111" y="1259"/>
                </a:cubicBezTo>
                <a:cubicBezTo>
                  <a:pt x="1112" y="1258"/>
                  <a:pt x="1112" y="1256"/>
                  <a:pt x="1113" y="1255"/>
                </a:cubicBezTo>
                <a:cubicBezTo>
                  <a:pt x="1113" y="1254"/>
                  <a:pt x="1114" y="1254"/>
                  <a:pt x="1114" y="1254"/>
                </a:cubicBezTo>
                <a:cubicBezTo>
                  <a:pt x="1115" y="1254"/>
                  <a:pt x="1116" y="1254"/>
                  <a:pt x="1116" y="1253"/>
                </a:cubicBezTo>
                <a:cubicBezTo>
                  <a:pt x="1117" y="1253"/>
                  <a:pt x="1117" y="1252"/>
                  <a:pt x="1118" y="1252"/>
                </a:cubicBezTo>
                <a:cubicBezTo>
                  <a:pt x="1119" y="1252"/>
                  <a:pt x="1119" y="1252"/>
                  <a:pt x="1120" y="1252"/>
                </a:cubicBezTo>
                <a:cubicBezTo>
                  <a:pt x="1121" y="1252"/>
                  <a:pt x="1122" y="1252"/>
                  <a:pt x="1122" y="1252"/>
                </a:cubicBezTo>
                <a:cubicBezTo>
                  <a:pt x="1123" y="1252"/>
                  <a:pt x="1124" y="1252"/>
                  <a:pt x="1125" y="1252"/>
                </a:cubicBezTo>
                <a:cubicBezTo>
                  <a:pt x="1126" y="1252"/>
                  <a:pt x="1127" y="1254"/>
                  <a:pt x="1128" y="1254"/>
                </a:cubicBezTo>
                <a:cubicBezTo>
                  <a:pt x="1129" y="1254"/>
                  <a:pt x="1128" y="1253"/>
                  <a:pt x="1128" y="1253"/>
                </a:cubicBezTo>
                <a:cubicBezTo>
                  <a:pt x="1128" y="1252"/>
                  <a:pt x="1128" y="1251"/>
                  <a:pt x="1128" y="1251"/>
                </a:cubicBezTo>
                <a:cubicBezTo>
                  <a:pt x="1128" y="1251"/>
                  <a:pt x="1127" y="1250"/>
                  <a:pt x="1127" y="1250"/>
                </a:cubicBezTo>
                <a:cubicBezTo>
                  <a:pt x="1126" y="1250"/>
                  <a:pt x="1126" y="1249"/>
                  <a:pt x="1126" y="1249"/>
                </a:cubicBezTo>
                <a:cubicBezTo>
                  <a:pt x="1125" y="1247"/>
                  <a:pt x="1123" y="1247"/>
                  <a:pt x="1122" y="1246"/>
                </a:cubicBezTo>
                <a:cubicBezTo>
                  <a:pt x="1121" y="1246"/>
                  <a:pt x="1121" y="1246"/>
                  <a:pt x="1120" y="1246"/>
                </a:cubicBezTo>
                <a:cubicBezTo>
                  <a:pt x="1119" y="1246"/>
                  <a:pt x="1117" y="1246"/>
                  <a:pt x="1116" y="1246"/>
                </a:cubicBezTo>
                <a:cubicBezTo>
                  <a:pt x="1114" y="1246"/>
                  <a:pt x="1113" y="1244"/>
                  <a:pt x="1112" y="1243"/>
                </a:cubicBezTo>
                <a:cubicBezTo>
                  <a:pt x="1111" y="1242"/>
                  <a:pt x="1110" y="1241"/>
                  <a:pt x="1109" y="1240"/>
                </a:cubicBezTo>
                <a:cubicBezTo>
                  <a:pt x="1108" y="1239"/>
                  <a:pt x="1108" y="1238"/>
                  <a:pt x="1107" y="1236"/>
                </a:cubicBezTo>
                <a:cubicBezTo>
                  <a:pt x="1106" y="1235"/>
                  <a:pt x="1105" y="1234"/>
                  <a:pt x="1104" y="1233"/>
                </a:cubicBezTo>
                <a:cubicBezTo>
                  <a:pt x="1104" y="1231"/>
                  <a:pt x="1103" y="1230"/>
                  <a:pt x="1103" y="1229"/>
                </a:cubicBezTo>
                <a:cubicBezTo>
                  <a:pt x="1102" y="1227"/>
                  <a:pt x="1101" y="1226"/>
                  <a:pt x="1101" y="1225"/>
                </a:cubicBezTo>
                <a:cubicBezTo>
                  <a:pt x="1100" y="1224"/>
                  <a:pt x="1099" y="1223"/>
                  <a:pt x="1098" y="1222"/>
                </a:cubicBezTo>
                <a:cubicBezTo>
                  <a:pt x="1097" y="1221"/>
                  <a:pt x="1096" y="1220"/>
                  <a:pt x="1095" y="1218"/>
                </a:cubicBezTo>
                <a:cubicBezTo>
                  <a:pt x="1094" y="1216"/>
                  <a:pt x="1092" y="1215"/>
                  <a:pt x="1090" y="1213"/>
                </a:cubicBezTo>
                <a:cubicBezTo>
                  <a:pt x="1087" y="1211"/>
                  <a:pt x="1086" y="1208"/>
                  <a:pt x="1084" y="1205"/>
                </a:cubicBezTo>
                <a:cubicBezTo>
                  <a:pt x="1083" y="1204"/>
                  <a:pt x="1082" y="1203"/>
                  <a:pt x="1081" y="1202"/>
                </a:cubicBezTo>
                <a:cubicBezTo>
                  <a:pt x="1080" y="1201"/>
                  <a:pt x="1078" y="1200"/>
                  <a:pt x="1077" y="1198"/>
                </a:cubicBezTo>
                <a:cubicBezTo>
                  <a:pt x="1076" y="1197"/>
                  <a:pt x="1077" y="1196"/>
                  <a:pt x="1076" y="1194"/>
                </a:cubicBezTo>
                <a:cubicBezTo>
                  <a:pt x="1076" y="1193"/>
                  <a:pt x="1075" y="1192"/>
                  <a:pt x="1074" y="1191"/>
                </a:cubicBezTo>
                <a:cubicBezTo>
                  <a:pt x="1073" y="1190"/>
                  <a:pt x="1071" y="1190"/>
                  <a:pt x="1072" y="1189"/>
                </a:cubicBezTo>
                <a:cubicBezTo>
                  <a:pt x="1072" y="1188"/>
                  <a:pt x="1073" y="1187"/>
                  <a:pt x="1073" y="1186"/>
                </a:cubicBezTo>
                <a:cubicBezTo>
                  <a:pt x="1073" y="1186"/>
                  <a:pt x="1073" y="1185"/>
                  <a:pt x="1073" y="1184"/>
                </a:cubicBezTo>
                <a:cubicBezTo>
                  <a:pt x="1073" y="1183"/>
                  <a:pt x="1073" y="1181"/>
                  <a:pt x="1073" y="1180"/>
                </a:cubicBezTo>
                <a:cubicBezTo>
                  <a:pt x="1073" y="1178"/>
                  <a:pt x="1073" y="1177"/>
                  <a:pt x="1073" y="1176"/>
                </a:cubicBezTo>
                <a:cubicBezTo>
                  <a:pt x="1074" y="1174"/>
                  <a:pt x="1074" y="1173"/>
                  <a:pt x="1074" y="1172"/>
                </a:cubicBezTo>
                <a:cubicBezTo>
                  <a:pt x="1074" y="1171"/>
                  <a:pt x="1074" y="1171"/>
                  <a:pt x="1074" y="1170"/>
                </a:cubicBezTo>
                <a:cubicBezTo>
                  <a:pt x="1074" y="1170"/>
                  <a:pt x="1075" y="1169"/>
                  <a:pt x="1075" y="1169"/>
                </a:cubicBezTo>
                <a:cubicBezTo>
                  <a:pt x="1075" y="1168"/>
                  <a:pt x="1074" y="1167"/>
                  <a:pt x="1073" y="1168"/>
                </a:cubicBezTo>
                <a:cubicBezTo>
                  <a:pt x="1072" y="1168"/>
                  <a:pt x="1072" y="1170"/>
                  <a:pt x="1071" y="1169"/>
                </a:cubicBezTo>
                <a:cubicBezTo>
                  <a:pt x="1070" y="1169"/>
                  <a:pt x="1070" y="1169"/>
                  <a:pt x="1070" y="1168"/>
                </a:cubicBezTo>
                <a:cubicBezTo>
                  <a:pt x="1070" y="1168"/>
                  <a:pt x="1070" y="1168"/>
                  <a:pt x="1070" y="1167"/>
                </a:cubicBezTo>
                <a:cubicBezTo>
                  <a:pt x="1069" y="1166"/>
                  <a:pt x="1069" y="1165"/>
                  <a:pt x="1069" y="1164"/>
                </a:cubicBezTo>
                <a:cubicBezTo>
                  <a:pt x="1068" y="1163"/>
                  <a:pt x="1068" y="1162"/>
                  <a:pt x="1067" y="1161"/>
                </a:cubicBezTo>
                <a:cubicBezTo>
                  <a:pt x="1066" y="1160"/>
                  <a:pt x="1065" y="1159"/>
                  <a:pt x="1064" y="1158"/>
                </a:cubicBezTo>
                <a:cubicBezTo>
                  <a:pt x="1063" y="1157"/>
                  <a:pt x="1062" y="1157"/>
                  <a:pt x="1061" y="1156"/>
                </a:cubicBezTo>
                <a:cubicBezTo>
                  <a:pt x="1060" y="1156"/>
                  <a:pt x="1058" y="1155"/>
                  <a:pt x="1057" y="1155"/>
                </a:cubicBezTo>
                <a:cubicBezTo>
                  <a:pt x="1055" y="1154"/>
                  <a:pt x="1056" y="1153"/>
                  <a:pt x="1056" y="1152"/>
                </a:cubicBezTo>
                <a:cubicBezTo>
                  <a:pt x="1057" y="1150"/>
                  <a:pt x="1058" y="1150"/>
                  <a:pt x="1059" y="1148"/>
                </a:cubicBezTo>
                <a:cubicBezTo>
                  <a:pt x="1060" y="1147"/>
                  <a:pt x="1061" y="1146"/>
                  <a:pt x="1062" y="1145"/>
                </a:cubicBezTo>
                <a:cubicBezTo>
                  <a:pt x="1063" y="1143"/>
                  <a:pt x="1065" y="1141"/>
                  <a:pt x="1066" y="1139"/>
                </a:cubicBezTo>
                <a:cubicBezTo>
                  <a:pt x="1068" y="1137"/>
                  <a:pt x="1069" y="1134"/>
                  <a:pt x="1070" y="1131"/>
                </a:cubicBezTo>
                <a:cubicBezTo>
                  <a:pt x="1070" y="1130"/>
                  <a:pt x="1071" y="1129"/>
                  <a:pt x="1071" y="1127"/>
                </a:cubicBezTo>
                <a:cubicBezTo>
                  <a:pt x="1071" y="1127"/>
                  <a:pt x="1070" y="1124"/>
                  <a:pt x="1071" y="1123"/>
                </a:cubicBezTo>
                <a:cubicBezTo>
                  <a:pt x="1071" y="1123"/>
                  <a:pt x="1072" y="1124"/>
                  <a:pt x="1072" y="1125"/>
                </a:cubicBezTo>
                <a:cubicBezTo>
                  <a:pt x="1072" y="1126"/>
                  <a:pt x="1073" y="1126"/>
                  <a:pt x="1073" y="1127"/>
                </a:cubicBezTo>
                <a:cubicBezTo>
                  <a:pt x="1073" y="1127"/>
                  <a:pt x="1073" y="1128"/>
                  <a:pt x="1074" y="1128"/>
                </a:cubicBezTo>
                <a:cubicBezTo>
                  <a:pt x="1074" y="1128"/>
                  <a:pt x="1074" y="1127"/>
                  <a:pt x="1074" y="1127"/>
                </a:cubicBezTo>
                <a:cubicBezTo>
                  <a:pt x="1074" y="1126"/>
                  <a:pt x="1074" y="1125"/>
                  <a:pt x="1074" y="1124"/>
                </a:cubicBezTo>
                <a:cubicBezTo>
                  <a:pt x="1075" y="1123"/>
                  <a:pt x="1075" y="1124"/>
                  <a:pt x="1076" y="1125"/>
                </a:cubicBezTo>
                <a:cubicBezTo>
                  <a:pt x="1076" y="1125"/>
                  <a:pt x="1076" y="1125"/>
                  <a:pt x="1076" y="1125"/>
                </a:cubicBezTo>
                <a:cubicBezTo>
                  <a:pt x="1077" y="1125"/>
                  <a:pt x="1077" y="1125"/>
                  <a:pt x="1077" y="1126"/>
                </a:cubicBezTo>
                <a:cubicBezTo>
                  <a:pt x="1078" y="1126"/>
                  <a:pt x="1077" y="1127"/>
                  <a:pt x="1078" y="1127"/>
                </a:cubicBezTo>
                <a:cubicBezTo>
                  <a:pt x="1079" y="1127"/>
                  <a:pt x="1079" y="1126"/>
                  <a:pt x="1079" y="1125"/>
                </a:cubicBezTo>
                <a:cubicBezTo>
                  <a:pt x="1079" y="1123"/>
                  <a:pt x="1080" y="1124"/>
                  <a:pt x="1081" y="1124"/>
                </a:cubicBezTo>
                <a:cubicBezTo>
                  <a:pt x="1082" y="1124"/>
                  <a:pt x="1082" y="1123"/>
                  <a:pt x="1083" y="1123"/>
                </a:cubicBezTo>
                <a:cubicBezTo>
                  <a:pt x="1084" y="1123"/>
                  <a:pt x="1084" y="1124"/>
                  <a:pt x="1085" y="1124"/>
                </a:cubicBezTo>
                <a:cubicBezTo>
                  <a:pt x="1086" y="1124"/>
                  <a:pt x="1087" y="1123"/>
                  <a:pt x="1088" y="1122"/>
                </a:cubicBezTo>
                <a:cubicBezTo>
                  <a:pt x="1088" y="1120"/>
                  <a:pt x="1090" y="1120"/>
                  <a:pt x="1091" y="1118"/>
                </a:cubicBezTo>
                <a:cubicBezTo>
                  <a:pt x="1091" y="1118"/>
                  <a:pt x="1092" y="1117"/>
                  <a:pt x="1093" y="1117"/>
                </a:cubicBezTo>
                <a:cubicBezTo>
                  <a:pt x="1093" y="1117"/>
                  <a:pt x="1094" y="1118"/>
                  <a:pt x="1094" y="1118"/>
                </a:cubicBezTo>
                <a:cubicBezTo>
                  <a:pt x="1095" y="1119"/>
                  <a:pt x="1095" y="1119"/>
                  <a:pt x="1096" y="1119"/>
                </a:cubicBezTo>
                <a:cubicBezTo>
                  <a:pt x="1096" y="1120"/>
                  <a:pt x="1096" y="1120"/>
                  <a:pt x="1097" y="1120"/>
                </a:cubicBezTo>
                <a:cubicBezTo>
                  <a:pt x="1097" y="1120"/>
                  <a:pt x="1097" y="1120"/>
                  <a:pt x="1097" y="1119"/>
                </a:cubicBezTo>
                <a:cubicBezTo>
                  <a:pt x="1097" y="1119"/>
                  <a:pt x="1096" y="1119"/>
                  <a:pt x="1096" y="1118"/>
                </a:cubicBezTo>
                <a:cubicBezTo>
                  <a:pt x="1096" y="1118"/>
                  <a:pt x="1096" y="1117"/>
                  <a:pt x="1096" y="1116"/>
                </a:cubicBezTo>
                <a:cubicBezTo>
                  <a:pt x="1095" y="1116"/>
                  <a:pt x="1095" y="1116"/>
                  <a:pt x="1095" y="1115"/>
                </a:cubicBezTo>
                <a:cubicBezTo>
                  <a:pt x="1095" y="1114"/>
                  <a:pt x="1095" y="1114"/>
                  <a:pt x="1096" y="1114"/>
                </a:cubicBezTo>
                <a:cubicBezTo>
                  <a:pt x="1098" y="1113"/>
                  <a:pt x="1099" y="1112"/>
                  <a:pt x="1101" y="1113"/>
                </a:cubicBezTo>
                <a:cubicBezTo>
                  <a:pt x="1102" y="1113"/>
                  <a:pt x="1104" y="1113"/>
                  <a:pt x="1104" y="1111"/>
                </a:cubicBezTo>
                <a:cubicBezTo>
                  <a:pt x="1104" y="1110"/>
                  <a:pt x="1104" y="1110"/>
                  <a:pt x="1105" y="1109"/>
                </a:cubicBezTo>
                <a:cubicBezTo>
                  <a:pt x="1105" y="1109"/>
                  <a:pt x="1106" y="1110"/>
                  <a:pt x="1106" y="1110"/>
                </a:cubicBezTo>
                <a:cubicBezTo>
                  <a:pt x="1107" y="1110"/>
                  <a:pt x="1107" y="1110"/>
                  <a:pt x="1107" y="1110"/>
                </a:cubicBezTo>
                <a:cubicBezTo>
                  <a:pt x="1108" y="1109"/>
                  <a:pt x="1106" y="1109"/>
                  <a:pt x="1106" y="1108"/>
                </a:cubicBezTo>
                <a:cubicBezTo>
                  <a:pt x="1105" y="1107"/>
                  <a:pt x="1106" y="1106"/>
                  <a:pt x="1106" y="1105"/>
                </a:cubicBezTo>
                <a:cubicBezTo>
                  <a:pt x="1107" y="1105"/>
                  <a:pt x="1107" y="1105"/>
                  <a:pt x="1107" y="1104"/>
                </a:cubicBezTo>
                <a:cubicBezTo>
                  <a:pt x="1108" y="1104"/>
                  <a:pt x="1107" y="1103"/>
                  <a:pt x="1108" y="1102"/>
                </a:cubicBezTo>
                <a:cubicBezTo>
                  <a:pt x="1108" y="1102"/>
                  <a:pt x="1109" y="1102"/>
                  <a:pt x="1110" y="1102"/>
                </a:cubicBezTo>
                <a:cubicBezTo>
                  <a:pt x="1113" y="1102"/>
                  <a:pt x="1116" y="1103"/>
                  <a:pt x="1120" y="1102"/>
                </a:cubicBezTo>
                <a:cubicBezTo>
                  <a:pt x="1122" y="1101"/>
                  <a:pt x="1123" y="1100"/>
                  <a:pt x="1124" y="1098"/>
                </a:cubicBezTo>
                <a:cubicBezTo>
                  <a:pt x="1126" y="1097"/>
                  <a:pt x="1128" y="1096"/>
                  <a:pt x="1129" y="1095"/>
                </a:cubicBezTo>
                <a:cubicBezTo>
                  <a:pt x="1130" y="1095"/>
                  <a:pt x="1131" y="1095"/>
                  <a:pt x="1132" y="1095"/>
                </a:cubicBezTo>
                <a:cubicBezTo>
                  <a:pt x="1133" y="1094"/>
                  <a:pt x="1134" y="1093"/>
                  <a:pt x="1134" y="1093"/>
                </a:cubicBezTo>
                <a:cubicBezTo>
                  <a:pt x="1135" y="1092"/>
                  <a:pt x="1136" y="1093"/>
                  <a:pt x="1137" y="1092"/>
                </a:cubicBezTo>
                <a:cubicBezTo>
                  <a:pt x="1138" y="1092"/>
                  <a:pt x="1138" y="1092"/>
                  <a:pt x="1138" y="1091"/>
                </a:cubicBezTo>
                <a:cubicBezTo>
                  <a:pt x="1139" y="1090"/>
                  <a:pt x="1141" y="1091"/>
                  <a:pt x="1143" y="1090"/>
                </a:cubicBezTo>
                <a:cubicBezTo>
                  <a:pt x="1144" y="1089"/>
                  <a:pt x="1144" y="1088"/>
                  <a:pt x="1146" y="1089"/>
                </a:cubicBezTo>
                <a:cubicBezTo>
                  <a:pt x="1147" y="1089"/>
                  <a:pt x="1147" y="1089"/>
                  <a:pt x="1148" y="1090"/>
                </a:cubicBezTo>
                <a:cubicBezTo>
                  <a:pt x="1149" y="1090"/>
                  <a:pt x="1149" y="1090"/>
                  <a:pt x="1150" y="1090"/>
                </a:cubicBezTo>
                <a:cubicBezTo>
                  <a:pt x="1152" y="1090"/>
                  <a:pt x="1153" y="1091"/>
                  <a:pt x="1154" y="1091"/>
                </a:cubicBezTo>
                <a:cubicBezTo>
                  <a:pt x="1156" y="1092"/>
                  <a:pt x="1157" y="1092"/>
                  <a:pt x="1158" y="1092"/>
                </a:cubicBezTo>
                <a:cubicBezTo>
                  <a:pt x="1160" y="1093"/>
                  <a:pt x="1161" y="1094"/>
                  <a:pt x="1162" y="1095"/>
                </a:cubicBezTo>
                <a:cubicBezTo>
                  <a:pt x="1163" y="1095"/>
                  <a:pt x="1164" y="1097"/>
                  <a:pt x="1166" y="1096"/>
                </a:cubicBezTo>
                <a:cubicBezTo>
                  <a:pt x="1166" y="1095"/>
                  <a:pt x="1166" y="1095"/>
                  <a:pt x="1166" y="1095"/>
                </a:cubicBezTo>
                <a:cubicBezTo>
                  <a:pt x="1168" y="1094"/>
                  <a:pt x="1168" y="1092"/>
                  <a:pt x="1170" y="1091"/>
                </a:cubicBezTo>
                <a:cubicBezTo>
                  <a:pt x="1172" y="1091"/>
                  <a:pt x="1172" y="1093"/>
                  <a:pt x="1173" y="1094"/>
                </a:cubicBezTo>
                <a:cubicBezTo>
                  <a:pt x="1175" y="1094"/>
                  <a:pt x="1176" y="1093"/>
                  <a:pt x="1177" y="1094"/>
                </a:cubicBezTo>
                <a:cubicBezTo>
                  <a:pt x="1179" y="1095"/>
                  <a:pt x="1180" y="1096"/>
                  <a:pt x="1181" y="1097"/>
                </a:cubicBezTo>
                <a:cubicBezTo>
                  <a:pt x="1181" y="1098"/>
                  <a:pt x="1182" y="1099"/>
                  <a:pt x="1182" y="1101"/>
                </a:cubicBezTo>
                <a:cubicBezTo>
                  <a:pt x="1183" y="1101"/>
                  <a:pt x="1183" y="1102"/>
                  <a:pt x="1183" y="1102"/>
                </a:cubicBezTo>
                <a:cubicBezTo>
                  <a:pt x="1183" y="1103"/>
                  <a:pt x="1184" y="1104"/>
                  <a:pt x="1184" y="1106"/>
                </a:cubicBezTo>
                <a:cubicBezTo>
                  <a:pt x="1184" y="1107"/>
                  <a:pt x="1185" y="1108"/>
                  <a:pt x="1185" y="1109"/>
                </a:cubicBezTo>
                <a:cubicBezTo>
                  <a:pt x="1185" y="1111"/>
                  <a:pt x="1185" y="1114"/>
                  <a:pt x="1184" y="1117"/>
                </a:cubicBezTo>
                <a:cubicBezTo>
                  <a:pt x="1182" y="1119"/>
                  <a:pt x="1181" y="1122"/>
                  <a:pt x="1181" y="1125"/>
                </a:cubicBezTo>
                <a:cubicBezTo>
                  <a:pt x="1181" y="1127"/>
                  <a:pt x="1182" y="1130"/>
                  <a:pt x="1183" y="1131"/>
                </a:cubicBezTo>
                <a:cubicBezTo>
                  <a:pt x="1185" y="1132"/>
                  <a:pt x="1186" y="1132"/>
                  <a:pt x="1188" y="1132"/>
                </a:cubicBezTo>
                <a:cubicBezTo>
                  <a:pt x="1189" y="1133"/>
                  <a:pt x="1191" y="1133"/>
                  <a:pt x="1192" y="1133"/>
                </a:cubicBezTo>
                <a:cubicBezTo>
                  <a:pt x="1194" y="1132"/>
                  <a:pt x="1195" y="1132"/>
                  <a:pt x="1196" y="1131"/>
                </a:cubicBezTo>
                <a:cubicBezTo>
                  <a:pt x="1197" y="1131"/>
                  <a:pt x="1198" y="1130"/>
                  <a:pt x="1199" y="1129"/>
                </a:cubicBezTo>
                <a:cubicBezTo>
                  <a:pt x="1200" y="1128"/>
                  <a:pt x="1202" y="1128"/>
                  <a:pt x="1203" y="1129"/>
                </a:cubicBezTo>
                <a:cubicBezTo>
                  <a:pt x="1203" y="1130"/>
                  <a:pt x="1203" y="1131"/>
                  <a:pt x="1203" y="1131"/>
                </a:cubicBezTo>
                <a:cubicBezTo>
                  <a:pt x="1204" y="1132"/>
                  <a:pt x="1204" y="1132"/>
                  <a:pt x="1204" y="1133"/>
                </a:cubicBezTo>
                <a:cubicBezTo>
                  <a:pt x="1204" y="1135"/>
                  <a:pt x="1203" y="1136"/>
                  <a:pt x="1204" y="1137"/>
                </a:cubicBezTo>
                <a:cubicBezTo>
                  <a:pt x="1205" y="1138"/>
                  <a:pt x="1207" y="1139"/>
                  <a:pt x="1205" y="1140"/>
                </a:cubicBezTo>
                <a:cubicBezTo>
                  <a:pt x="1204" y="1140"/>
                  <a:pt x="1202" y="1140"/>
                  <a:pt x="1201" y="1140"/>
                </a:cubicBezTo>
                <a:cubicBezTo>
                  <a:pt x="1200" y="1141"/>
                  <a:pt x="1198" y="1141"/>
                  <a:pt x="1197" y="1142"/>
                </a:cubicBezTo>
                <a:cubicBezTo>
                  <a:pt x="1196" y="1142"/>
                  <a:pt x="1195" y="1141"/>
                  <a:pt x="1193" y="1142"/>
                </a:cubicBezTo>
                <a:cubicBezTo>
                  <a:pt x="1190" y="1143"/>
                  <a:pt x="1189" y="1147"/>
                  <a:pt x="1188" y="1149"/>
                </a:cubicBezTo>
                <a:cubicBezTo>
                  <a:pt x="1187" y="1151"/>
                  <a:pt x="1187" y="1152"/>
                  <a:pt x="1186" y="1153"/>
                </a:cubicBezTo>
                <a:cubicBezTo>
                  <a:pt x="1185" y="1155"/>
                  <a:pt x="1183" y="1155"/>
                  <a:pt x="1184" y="1153"/>
                </a:cubicBezTo>
                <a:cubicBezTo>
                  <a:pt x="1185" y="1152"/>
                  <a:pt x="1185" y="1152"/>
                  <a:pt x="1186" y="1151"/>
                </a:cubicBezTo>
                <a:cubicBezTo>
                  <a:pt x="1186" y="1150"/>
                  <a:pt x="1187" y="1150"/>
                  <a:pt x="1187" y="1149"/>
                </a:cubicBezTo>
                <a:cubicBezTo>
                  <a:pt x="1187" y="1148"/>
                  <a:pt x="1188" y="1147"/>
                  <a:pt x="1188" y="1145"/>
                </a:cubicBezTo>
                <a:cubicBezTo>
                  <a:pt x="1189" y="1143"/>
                  <a:pt x="1192" y="1141"/>
                  <a:pt x="1194" y="1140"/>
                </a:cubicBezTo>
                <a:cubicBezTo>
                  <a:pt x="1195" y="1140"/>
                  <a:pt x="1195" y="1141"/>
                  <a:pt x="1196" y="1141"/>
                </a:cubicBezTo>
                <a:cubicBezTo>
                  <a:pt x="1197" y="1141"/>
                  <a:pt x="1197" y="1141"/>
                  <a:pt x="1198" y="1140"/>
                </a:cubicBezTo>
                <a:cubicBezTo>
                  <a:pt x="1199" y="1140"/>
                  <a:pt x="1200" y="1138"/>
                  <a:pt x="1200" y="1137"/>
                </a:cubicBezTo>
                <a:cubicBezTo>
                  <a:pt x="1200" y="1136"/>
                  <a:pt x="1199" y="1134"/>
                  <a:pt x="1198" y="1134"/>
                </a:cubicBezTo>
                <a:cubicBezTo>
                  <a:pt x="1196" y="1134"/>
                  <a:pt x="1195" y="1136"/>
                  <a:pt x="1193" y="1136"/>
                </a:cubicBezTo>
                <a:cubicBezTo>
                  <a:pt x="1192" y="1137"/>
                  <a:pt x="1191" y="1135"/>
                  <a:pt x="1189" y="1135"/>
                </a:cubicBezTo>
                <a:cubicBezTo>
                  <a:pt x="1188" y="1134"/>
                  <a:pt x="1186" y="1135"/>
                  <a:pt x="1184" y="1135"/>
                </a:cubicBezTo>
                <a:cubicBezTo>
                  <a:pt x="1183" y="1135"/>
                  <a:pt x="1181" y="1135"/>
                  <a:pt x="1179" y="1134"/>
                </a:cubicBezTo>
                <a:cubicBezTo>
                  <a:pt x="1177" y="1134"/>
                  <a:pt x="1176" y="1134"/>
                  <a:pt x="1174" y="1133"/>
                </a:cubicBezTo>
                <a:cubicBezTo>
                  <a:pt x="1171" y="1133"/>
                  <a:pt x="1168" y="1133"/>
                  <a:pt x="1165" y="1133"/>
                </a:cubicBezTo>
                <a:cubicBezTo>
                  <a:pt x="1163" y="1133"/>
                  <a:pt x="1163" y="1132"/>
                  <a:pt x="1161" y="1132"/>
                </a:cubicBezTo>
                <a:cubicBezTo>
                  <a:pt x="1160" y="1132"/>
                  <a:pt x="1159" y="1132"/>
                  <a:pt x="1158" y="1131"/>
                </a:cubicBezTo>
                <a:cubicBezTo>
                  <a:pt x="1157" y="1131"/>
                  <a:pt x="1155" y="1128"/>
                  <a:pt x="1154" y="1130"/>
                </a:cubicBezTo>
                <a:cubicBezTo>
                  <a:pt x="1154" y="1131"/>
                  <a:pt x="1154" y="1132"/>
                  <a:pt x="1153" y="1132"/>
                </a:cubicBezTo>
                <a:cubicBezTo>
                  <a:pt x="1152" y="1132"/>
                  <a:pt x="1152" y="1133"/>
                  <a:pt x="1151" y="1132"/>
                </a:cubicBezTo>
                <a:cubicBezTo>
                  <a:pt x="1150" y="1132"/>
                  <a:pt x="1150" y="1132"/>
                  <a:pt x="1149" y="1132"/>
                </a:cubicBezTo>
                <a:cubicBezTo>
                  <a:pt x="1148" y="1132"/>
                  <a:pt x="1147" y="1134"/>
                  <a:pt x="1146" y="1135"/>
                </a:cubicBezTo>
                <a:cubicBezTo>
                  <a:pt x="1145" y="1136"/>
                  <a:pt x="1145" y="1138"/>
                  <a:pt x="1145" y="1139"/>
                </a:cubicBezTo>
                <a:cubicBezTo>
                  <a:pt x="1144" y="1140"/>
                  <a:pt x="1142" y="1140"/>
                  <a:pt x="1141" y="1141"/>
                </a:cubicBezTo>
                <a:cubicBezTo>
                  <a:pt x="1140" y="1141"/>
                  <a:pt x="1139" y="1142"/>
                  <a:pt x="1140" y="1144"/>
                </a:cubicBezTo>
                <a:cubicBezTo>
                  <a:pt x="1141" y="1144"/>
                  <a:pt x="1141" y="1144"/>
                  <a:pt x="1142" y="1145"/>
                </a:cubicBezTo>
                <a:cubicBezTo>
                  <a:pt x="1143" y="1145"/>
                  <a:pt x="1143" y="1146"/>
                  <a:pt x="1144" y="1146"/>
                </a:cubicBezTo>
                <a:cubicBezTo>
                  <a:pt x="1144" y="1147"/>
                  <a:pt x="1145" y="1147"/>
                  <a:pt x="1145" y="1148"/>
                </a:cubicBezTo>
                <a:cubicBezTo>
                  <a:pt x="1146" y="1149"/>
                  <a:pt x="1145" y="1149"/>
                  <a:pt x="1146" y="1150"/>
                </a:cubicBezTo>
                <a:cubicBezTo>
                  <a:pt x="1147" y="1151"/>
                  <a:pt x="1148" y="1151"/>
                  <a:pt x="1149" y="1151"/>
                </a:cubicBezTo>
                <a:cubicBezTo>
                  <a:pt x="1150" y="1151"/>
                  <a:pt x="1151" y="1151"/>
                  <a:pt x="1151" y="1152"/>
                </a:cubicBezTo>
                <a:cubicBezTo>
                  <a:pt x="1150" y="1152"/>
                  <a:pt x="1149" y="1152"/>
                  <a:pt x="1149" y="1153"/>
                </a:cubicBezTo>
                <a:cubicBezTo>
                  <a:pt x="1148" y="1153"/>
                  <a:pt x="1148" y="1153"/>
                  <a:pt x="1148" y="1153"/>
                </a:cubicBezTo>
                <a:cubicBezTo>
                  <a:pt x="1147" y="1152"/>
                  <a:pt x="1147" y="1151"/>
                  <a:pt x="1146" y="1152"/>
                </a:cubicBezTo>
                <a:cubicBezTo>
                  <a:pt x="1145" y="1152"/>
                  <a:pt x="1145" y="1152"/>
                  <a:pt x="1145" y="1153"/>
                </a:cubicBezTo>
                <a:cubicBezTo>
                  <a:pt x="1144" y="1153"/>
                  <a:pt x="1143" y="1153"/>
                  <a:pt x="1142" y="1153"/>
                </a:cubicBezTo>
                <a:cubicBezTo>
                  <a:pt x="1141" y="1153"/>
                  <a:pt x="1141" y="1152"/>
                  <a:pt x="1140" y="1151"/>
                </a:cubicBezTo>
                <a:cubicBezTo>
                  <a:pt x="1139" y="1150"/>
                  <a:pt x="1138" y="1150"/>
                  <a:pt x="1136" y="1150"/>
                </a:cubicBezTo>
                <a:cubicBezTo>
                  <a:pt x="1135" y="1150"/>
                  <a:pt x="1133" y="1150"/>
                  <a:pt x="1131" y="1150"/>
                </a:cubicBezTo>
                <a:cubicBezTo>
                  <a:pt x="1130" y="1149"/>
                  <a:pt x="1129" y="1148"/>
                  <a:pt x="1127" y="1149"/>
                </a:cubicBezTo>
                <a:cubicBezTo>
                  <a:pt x="1126" y="1150"/>
                  <a:pt x="1126" y="1151"/>
                  <a:pt x="1125" y="1152"/>
                </a:cubicBezTo>
                <a:cubicBezTo>
                  <a:pt x="1124" y="1154"/>
                  <a:pt x="1125" y="1155"/>
                  <a:pt x="1126" y="1156"/>
                </a:cubicBezTo>
                <a:cubicBezTo>
                  <a:pt x="1127" y="1157"/>
                  <a:pt x="1128" y="1158"/>
                  <a:pt x="1130" y="1158"/>
                </a:cubicBezTo>
                <a:cubicBezTo>
                  <a:pt x="1131" y="1158"/>
                  <a:pt x="1133" y="1157"/>
                  <a:pt x="1134" y="1158"/>
                </a:cubicBezTo>
                <a:cubicBezTo>
                  <a:pt x="1135" y="1159"/>
                  <a:pt x="1137" y="1161"/>
                  <a:pt x="1138" y="1162"/>
                </a:cubicBezTo>
                <a:cubicBezTo>
                  <a:pt x="1139" y="1163"/>
                  <a:pt x="1141" y="1166"/>
                  <a:pt x="1141" y="1168"/>
                </a:cubicBezTo>
                <a:cubicBezTo>
                  <a:pt x="1141" y="1169"/>
                  <a:pt x="1141" y="1170"/>
                  <a:pt x="1142" y="1171"/>
                </a:cubicBezTo>
                <a:cubicBezTo>
                  <a:pt x="1142" y="1172"/>
                  <a:pt x="1142" y="1172"/>
                  <a:pt x="1143" y="1173"/>
                </a:cubicBezTo>
                <a:cubicBezTo>
                  <a:pt x="1144" y="1176"/>
                  <a:pt x="1146" y="1179"/>
                  <a:pt x="1146" y="1183"/>
                </a:cubicBezTo>
                <a:cubicBezTo>
                  <a:pt x="1146" y="1184"/>
                  <a:pt x="1145" y="1186"/>
                  <a:pt x="1147" y="1186"/>
                </a:cubicBezTo>
                <a:cubicBezTo>
                  <a:pt x="1147" y="1186"/>
                  <a:pt x="1148" y="1185"/>
                  <a:pt x="1149" y="1185"/>
                </a:cubicBezTo>
                <a:cubicBezTo>
                  <a:pt x="1149" y="1185"/>
                  <a:pt x="1150" y="1185"/>
                  <a:pt x="1151" y="1185"/>
                </a:cubicBezTo>
                <a:cubicBezTo>
                  <a:pt x="1152" y="1185"/>
                  <a:pt x="1153" y="1185"/>
                  <a:pt x="1154" y="1187"/>
                </a:cubicBezTo>
                <a:cubicBezTo>
                  <a:pt x="1155" y="1188"/>
                  <a:pt x="1156" y="1189"/>
                  <a:pt x="1157" y="1190"/>
                </a:cubicBezTo>
                <a:cubicBezTo>
                  <a:pt x="1157" y="1191"/>
                  <a:pt x="1158" y="1193"/>
                  <a:pt x="1159" y="1193"/>
                </a:cubicBezTo>
                <a:cubicBezTo>
                  <a:pt x="1161" y="1193"/>
                  <a:pt x="1162" y="1192"/>
                  <a:pt x="1163" y="1192"/>
                </a:cubicBezTo>
                <a:cubicBezTo>
                  <a:pt x="1164" y="1192"/>
                  <a:pt x="1165" y="1194"/>
                  <a:pt x="1166" y="1194"/>
                </a:cubicBezTo>
                <a:cubicBezTo>
                  <a:pt x="1168" y="1194"/>
                  <a:pt x="1169" y="1193"/>
                  <a:pt x="1170" y="1193"/>
                </a:cubicBezTo>
                <a:cubicBezTo>
                  <a:pt x="1171" y="1194"/>
                  <a:pt x="1173" y="1194"/>
                  <a:pt x="1173" y="1196"/>
                </a:cubicBezTo>
                <a:cubicBezTo>
                  <a:pt x="1173" y="1196"/>
                  <a:pt x="1172" y="1196"/>
                  <a:pt x="1172" y="1196"/>
                </a:cubicBezTo>
                <a:cubicBezTo>
                  <a:pt x="1171" y="1197"/>
                  <a:pt x="1172" y="1197"/>
                  <a:pt x="1172" y="1198"/>
                </a:cubicBezTo>
                <a:cubicBezTo>
                  <a:pt x="1173" y="1199"/>
                  <a:pt x="1173" y="1201"/>
                  <a:pt x="1173" y="1202"/>
                </a:cubicBezTo>
                <a:cubicBezTo>
                  <a:pt x="1172" y="1203"/>
                  <a:pt x="1171" y="1204"/>
                  <a:pt x="1170" y="1206"/>
                </a:cubicBezTo>
                <a:cubicBezTo>
                  <a:pt x="1170" y="1206"/>
                  <a:pt x="1169" y="1207"/>
                  <a:pt x="1169" y="1208"/>
                </a:cubicBezTo>
                <a:cubicBezTo>
                  <a:pt x="1168" y="1209"/>
                  <a:pt x="1168" y="1210"/>
                  <a:pt x="1168" y="1211"/>
                </a:cubicBezTo>
                <a:cubicBezTo>
                  <a:pt x="1168" y="1213"/>
                  <a:pt x="1168" y="1215"/>
                  <a:pt x="1168" y="1218"/>
                </a:cubicBezTo>
                <a:cubicBezTo>
                  <a:pt x="1168" y="1219"/>
                  <a:pt x="1169" y="1220"/>
                  <a:pt x="1170" y="1221"/>
                </a:cubicBezTo>
                <a:cubicBezTo>
                  <a:pt x="1171" y="1223"/>
                  <a:pt x="1171" y="1224"/>
                  <a:pt x="1172" y="1225"/>
                </a:cubicBezTo>
                <a:cubicBezTo>
                  <a:pt x="1172" y="1227"/>
                  <a:pt x="1174" y="1228"/>
                  <a:pt x="1175" y="1230"/>
                </a:cubicBezTo>
                <a:cubicBezTo>
                  <a:pt x="1175" y="1231"/>
                  <a:pt x="1176" y="1233"/>
                  <a:pt x="1177" y="1235"/>
                </a:cubicBezTo>
                <a:cubicBezTo>
                  <a:pt x="1177" y="1235"/>
                  <a:pt x="1177" y="1235"/>
                  <a:pt x="1177" y="1235"/>
                </a:cubicBezTo>
                <a:cubicBezTo>
                  <a:pt x="1177" y="1234"/>
                  <a:pt x="1178" y="1233"/>
                  <a:pt x="1177" y="1232"/>
                </a:cubicBezTo>
                <a:cubicBezTo>
                  <a:pt x="1177" y="1232"/>
                  <a:pt x="1177" y="1231"/>
                  <a:pt x="1177" y="1230"/>
                </a:cubicBezTo>
                <a:cubicBezTo>
                  <a:pt x="1176" y="1229"/>
                  <a:pt x="1176" y="1227"/>
                  <a:pt x="1177" y="1226"/>
                </a:cubicBezTo>
                <a:cubicBezTo>
                  <a:pt x="1177" y="1225"/>
                  <a:pt x="1177" y="1225"/>
                  <a:pt x="1178" y="1224"/>
                </a:cubicBezTo>
                <a:cubicBezTo>
                  <a:pt x="1178" y="1224"/>
                  <a:pt x="1178" y="1223"/>
                  <a:pt x="1178" y="1222"/>
                </a:cubicBezTo>
                <a:cubicBezTo>
                  <a:pt x="1178" y="1221"/>
                  <a:pt x="1179" y="1219"/>
                  <a:pt x="1177" y="1220"/>
                </a:cubicBezTo>
                <a:cubicBezTo>
                  <a:pt x="1176" y="1221"/>
                  <a:pt x="1176" y="1221"/>
                  <a:pt x="1176" y="1220"/>
                </a:cubicBezTo>
                <a:cubicBezTo>
                  <a:pt x="1176" y="1219"/>
                  <a:pt x="1177" y="1219"/>
                  <a:pt x="1177" y="1218"/>
                </a:cubicBezTo>
                <a:cubicBezTo>
                  <a:pt x="1177" y="1218"/>
                  <a:pt x="1177" y="1217"/>
                  <a:pt x="1177" y="1216"/>
                </a:cubicBezTo>
                <a:cubicBezTo>
                  <a:pt x="1178" y="1215"/>
                  <a:pt x="1179" y="1214"/>
                  <a:pt x="1180" y="1213"/>
                </a:cubicBezTo>
                <a:cubicBezTo>
                  <a:pt x="1180" y="1213"/>
                  <a:pt x="1181" y="1212"/>
                  <a:pt x="1181" y="1212"/>
                </a:cubicBezTo>
                <a:cubicBezTo>
                  <a:pt x="1183" y="1211"/>
                  <a:pt x="1184" y="1212"/>
                  <a:pt x="1186" y="1211"/>
                </a:cubicBezTo>
                <a:cubicBezTo>
                  <a:pt x="1186" y="1211"/>
                  <a:pt x="1187" y="1211"/>
                  <a:pt x="1187" y="1210"/>
                </a:cubicBezTo>
                <a:cubicBezTo>
                  <a:pt x="1188" y="1210"/>
                  <a:pt x="1189" y="1210"/>
                  <a:pt x="1190" y="1210"/>
                </a:cubicBezTo>
                <a:cubicBezTo>
                  <a:pt x="1191" y="1210"/>
                  <a:pt x="1192" y="1209"/>
                  <a:pt x="1194" y="1209"/>
                </a:cubicBezTo>
                <a:cubicBezTo>
                  <a:pt x="1194" y="1209"/>
                  <a:pt x="1195" y="1209"/>
                  <a:pt x="1195" y="1210"/>
                </a:cubicBezTo>
                <a:cubicBezTo>
                  <a:pt x="1195" y="1210"/>
                  <a:pt x="1195" y="1210"/>
                  <a:pt x="1195" y="1210"/>
                </a:cubicBezTo>
                <a:cubicBezTo>
                  <a:pt x="1196" y="1211"/>
                  <a:pt x="1196" y="1211"/>
                  <a:pt x="1197" y="1211"/>
                </a:cubicBezTo>
                <a:cubicBezTo>
                  <a:pt x="1198" y="1212"/>
                  <a:pt x="1198" y="1214"/>
                  <a:pt x="1198" y="1216"/>
                </a:cubicBezTo>
                <a:cubicBezTo>
                  <a:pt x="1198" y="1217"/>
                  <a:pt x="1198" y="1217"/>
                  <a:pt x="1198" y="1218"/>
                </a:cubicBezTo>
                <a:cubicBezTo>
                  <a:pt x="1199" y="1219"/>
                  <a:pt x="1199" y="1220"/>
                  <a:pt x="1200" y="1220"/>
                </a:cubicBezTo>
                <a:cubicBezTo>
                  <a:pt x="1200" y="1221"/>
                  <a:pt x="1200" y="1222"/>
                  <a:pt x="1200" y="1223"/>
                </a:cubicBezTo>
                <a:cubicBezTo>
                  <a:pt x="1200" y="1225"/>
                  <a:pt x="1201" y="1225"/>
                  <a:pt x="1202" y="1226"/>
                </a:cubicBezTo>
                <a:cubicBezTo>
                  <a:pt x="1203" y="1227"/>
                  <a:pt x="1204" y="1229"/>
                  <a:pt x="1205" y="1229"/>
                </a:cubicBezTo>
                <a:cubicBezTo>
                  <a:pt x="1207" y="1230"/>
                  <a:pt x="1208" y="1230"/>
                  <a:pt x="1209" y="1231"/>
                </a:cubicBezTo>
                <a:cubicBezTo>
                  <a:pt x="1211" y="1232"/>
                  <a:pt x="1212" y="1233"/>
                  <a:pt x="1213" y="1235"/>
                </a:cubicBezTo>
                <a:cubicBezTo>
                  <a:pt x="1214" y="1236"/>
                  <a:pt x="1214" y="1237"/>
                  <a:pt x="1213" y="1238"/>
                </a:cubicBezTo>
                <a:close/>
                <a:moveTo>
                  <a:pt x="1342" y="1108"/>
                </a:moveTo>
                <a:cubicBezTo>
                  <a:pt x="1341" y="1109"/>
                  <a:pt x="1341" y="1110"/>
                  <a:pt x="1340" y="1112"/>
                </a:cubicBezTo>
                <a:cubicBezTo>
                  <a:pt x="1339" y="1113"/>
                  <a:pt x="1338" y="1113"/>
                  <a:pt x="1336" y="1113"/>
                </a:cubicBezTo>
                <a:cubicBezTo>
                  <a:pt x="1334" y="1113"/>
                  <a:pt x="1334" y="1114"/>
                  <a:pt x="1333" y="1115"/>
                </a:cubicBezTo>
                <a:cubicBezTo>
                  <a:pt x="1332" y="1116"/>
                  <a:pt x="1331" y="1117"/>
                  <a:pt x="1329" y="1118"/>
                </a:cubicBezTo>
                <a:cubicBezTo>
                  <a:pt x="1329" y="1118"/>
                  <a:pt x="1328" y="1118"/>
                  <a:pt x="1327" y="1119"/>
                </a:cubicBezTo>
                <a:cubicBezTo>
                  <a:pt x="1326" y="1120"/>
                  <a:pt x="1326" y="1121"/>
                  <a:pt x="1324" y="1122"/>
                </a:cubicBezTo>
                <a:cubicBezTo>
                  <a:pt x="1323" y="1122"/>
                  <a:pt x="1321" y="1121"/>
                  <a:pt x="1320" y="1120"/>
                </a:cubicBezTo>
                <a:cubicBezTo>
                  <a:pt x="1319" y="1120"/>
                  <a:pt x="1318" y="1120"/>
                  <a:pt x="1316" y="1120"/>
                </a:cubicBezTo>
                <a:cubicBezTo>
                  <a:pt x="1315" y="1120"/>
                  <a:pt x="1315" y="1119"/>
                  <a:pt x="1314" y="1119"/>
                </a:cubicBezTo>
                <a:cubicBezTo>
                  <a:pt x="1311" y="1119"/>
                  <a:pt x="1313" y="1120"/>
                  <a:pt x="1313" y="1121"/>
                </a:cubicBezTo>
                <a:cubicBezTo>
                  <a:pt x="1314" y="1123"/>
                  <a:pt x="1312" y="1122"/>
                  <a:pt x="1311" y="1123"/>
                </a:cubicBezTo>
                <a:cubicBezTo>
                  <a:pt x="1311" y="1124"/>
                  <a:pt x="1312" y="1125"/>
                  <a:pt x="1312" y="1126"/>
                </a:cubicBezTo>
                <a:cubicBezTo>
                  <a:pt x="1312" y="1127"/>
                  <a:pt x="1310" y="1127"/>
                  <a:pt x="1311" y="1129"/>
                </a:cubicBezTo>
                <a:cubicBezTo>
                  <a:pt x="1313" y="1130"/>
                  <a:pt x="1316" y="1128"/>
                  <a:pt x="1317" y="1129"/>
                </a:cubicBezTo>
                <a:cubicBezTo>
                  <a:pt x="1319" y="1130"/>
                  <a:pt x="1320" y="1132"/>
                  <a:pt x="1320" y="1134"/>
                </a:cubicBezTo>
                <a:cubicBezTo>
                  <a:pt x="1320" y="1136"/>
                  <a:pt x="1319" y="1138"/>
                  <a:pt x="1319" y="1140"/>
                </a:cubicBezTo>
                <a:cubicBezTo>
                  <a:pt x="1318" y="1142"/>
                  <a:pt x="1317" y="1143"/>
                  <a:pt x="1317" y="1145"/>
                </a:cubicBezTo>
                <a:cubicBezTo>
                  <a:pt x="1317" y="1146"/>
                  <a:pt x="1318" y="1147"/>
                  <a:pt x="1318" y="1148"/>
                </a:cubicBezTo>
                <a:cubicBezTo>
                  <a:pt x="1319" y="1150"/>
                  <a:pt x="1319" y="1153"/>
                  <a:pt x="1319" y="1155"/>
                </a:cubicBezTo>
                <a:cubicBezTo>
                  <a:pt x="1318" y="1156"/>
                  <a:pt x="1318" y="1157"/>
                  <a:pt x="1318" y="1158"/>
                </a:cubicBezTo>
                <a:cubicBezTo>
                  <a:pt x="1317" y="1160"/>
                  <a:pt x="1317" y="1161"/>
                  <a:pt x="1316" y="1161"/>
                </a:cubicBezTo>
                <a:cubicBezTo>
                  <a:pt x="1315" y="1162"/>
                  <a:pt x="1314" y="1162"/>
                  <a:pt x="1314" y="1163"/>
                </a:cubicBezTo>
                <a:cubicBezTo>
                  <a:pt x="1313" y="1164"/>
                  <a:pt x="1315" y="1165"/>
                  <a:pt x="1313" y="1166"/>
                </a:cubicBezTo>
                <a:cubicBezTo>
                  <a:pt x="1311" y="1166"/>
                  <a:pt x="1312" y="1164"/>
                  <a:pt x="1311" y="1164"/>
                </a:cubicBezTo>
                <a:cubicBezTo>
                  <a:pt x="1310" y="1163"/>
                  <a:pt x="1309" y="1165"/>
                  <a:pt x="1308" y="1164"/>
                </a:cubicBezTo>
                <a:cubicBezTo>
                  <a:pt x="1307" y="1164"/>
                  <a:pt x="1306" y="1163"/>
                  <a:pt x="1306" y="1162"/>
                </a:cubicBezTo>
                <a:cubicBezTo>
                  <a:pt x="1306" y="1161"/>
                  <a:pt x="1305" y="1160"/>
                  <a:pt x="1304" y="1159"/>
                </a:cubicBezTo>
                <a:cubicBezTo>
                  <a:pt x="1303" y="1157"/>
                  <a:pt x="1302" y="1155"/>
                  <a:pt x="1301" y="1154"/>
                </a:cubicBezTo>
                <a:cubicBezTo>
                  <a:pt x="1301" y="1151"/>
                  <a:pt x="1302" y="1150"/>
                  <a:pt x="1302" y="1147"/>
                </a:cubicBezTo>
                <a:cubicBezTo>
                  <a:pt x="1302" y="1145"/>
                  <a:pt x="1302" y="1144"/>
                  <a:pt x="1303" y="1142"/>
                </a:cubicBezTo>
                <a:cubicBezTo>
                  <a:pt x="1304" y="1141"/>
                  <a:pt x="1307" y="1138"/>
                  <a:pt x="1306" y="1136"/>
                </a:cubicBezTo>
                <a:cubicBezTo>
                  <a:pt x="1306" y="1135"/>
                  <a:pt x="1305" y="1136"/>
                  <a:pt x="1304" y="1135"/>
                </a:cubicBezTo>
                <a:cubicBezTo>
                  <a:pt x="1304" y="1133"/>
                  <a:pt x="1305" y="1133"/>
                  <a:pt x="1305" y="1132"/>
                </a:cubicBezTo>
                <a:cubicBezTo>
                  <a:pt x="1306" y="1129"/>
                  <a:pt x="1301" y="1127"/>
                  <a:pt x="1300" y="1124"/>
                </a:cubicBezTo>
                <a:cubicBezTo>
                  <a:pt x="1300" y="1123"/>
                  <a:pt x="1299" y="1121"/>
                  <a:pt x="1298" y="1123"/>
                </a:cubicBezTo>
                <a:cubicBezTo>
                  <a:pt x="1298" y="1123"/>
                  <a:pt x="1299" y="1125"/>
                  <a:pt x="1298" y="1126"/>
                </a:cubicBezTo>
                <a:cubicBezTo>
                  <a:pt x="1297" y="1125"/>
                  <a:pt x="1297" y="1123"/>
                  <a:pt x="1296" y="1123"/>
                </a:cubicBezTo>
                <a:cubicBezTo>
                  <a:pt x="1295" y="1126"/>
                  <a:pt x="1297" y="1128"/>
                  <a:pt x="1294" y="1129"/>
                </a:cubicBezTo>
                <a:cubicBezTo>
                  <a:pt x="1291" y="1130"/>
                  <a:pt x="1291" y="1132"/>
                  <a:pt x="1291" y="1135"/>
                </a:cubicBezTo>
                <a:cubicBezTo>
                  <a:pt x="1291" y="1137"/>
                  <a:pt x="1293" y="1139"/>
                  <a:pt x="1291" y="1141"/>
                </a:cubicBezTo>
                <a:cubicBezTo>
                  <a:pt x="1291" y="1141"/>
                  <a:pt x="1289" y="1142"/>
                  <a:pt x="1290" y="1143"/>
                </a:cubicBezTo>
                <a:cubicBezTo>
                  <a:pt x="1291" y="1145"/>
                  <a:pt x="1292" y="1142"/>
                  <a:pt x="1293" y="1142"/>
                </a:cubicBezTo>
                <a:cubicBezTo>
                  <a:pt x="1295" y="1142"/>
                  <a:pt x="1293" y="1144"/>
                  <a:pt x="1292" y="1144"/>
                </a:cubicBezTo>
                <a:cubicBezTo>
                  <a:pt x="1291" y="1146"/>
                  <a:pt x="1291" y="1146"/>
                  <a:pt x="1292" y="1147"/>
                </a:cubicBezTo>
                <a:cubicBezTo>
                  <a:pt x="1293" y="1148"/>
                  <a:pt x="1294" y="1150"/>
                  <a:pt x="1293" y="1150"/>
                </a:cubicBezTo>
                <a:cubicBezTo>
                  <a:pt x="1291" y="1150"/>
                  <a:pt x="1291" y="1149"/>
                  <a:pt x="1290" y="1148"/>
                </a:cubicBezTo>
                <a:cubicBezTo>
                  <a:pt x="1289" y="1148"/>
                  <a:pt x="1288" y="1148"/>
                  <a:pt x="1289" y="1150"/>
                </a:cubicBezTo>
                <a:cubicBezTo>
                  <a:pt x="1289" y="1150"/>
                  <a:pt x="1291" y="1150"/>
                  <a:pt x="1290" y="1152"/>
                </a:cubicBezTo>
                <a:cubicBezTo>
                  <a:pt x="1290" y="1153"/>
                  <a:pt x="1289" y="1153"/>
                  <a:pt x="1288" y="1154"/>
                </a:cubicBezTo>
                <a:cubicBezTo>
                  <a:pt x="1287" y="1155"/>
                  <a:pt x="1286" y="1157"/>
                  <a:pt x="1284" y="1157"/>
                </a:cubicBezTo>
                <a:cubicBezTo>
                  <a:pt x="1282" y="1157"/>
                  <a:pt x="1281" y="1155"/>
                  <a:pt x="1282" y="1153"/>
                </a:cubicBezTo>
                <a:cubicBezTo>
                  <a:pt x="1283" y="1152"/>
                  <a:pt x="1283" y="1151"/>
                  <a:pt x="1283" y="1150"/>
                </a:cubicBezTo>
                <a:cubicBezTo>
                  <a:pt x="1283" y="1149"/>
                  <a:pt x="1282" y="1148"/>
                  <a:pt x="1282" y="1147"/>
                </a:cubicBezTo>
                <a:cubicBezTo>
                  <a:pt x="1281" y="1145"/>
                  <a:pt x="1283" y="1143"/>
                  <a:pt x="1283" y="1141"/>
                </a:cubicBezTo>
                <a:cubicBezTo>
                  <a:pt x="1283" y="1140"/>
                  <a:pt x="1284" y="1139"/>
                  <a:pt x="1285" y="1138"/>
                </a:cubicBezTo>
                <a:cubicBezTo>
                  <a:pt x="1285" y="1137"/>
                  <a:pt x="1285" y="1136"/>
                  <a:pt x="1286" y="1136"/>
                </a:cubicBezTo>
                <a:cubicBezTo>
                  <a:pt x="1287" y="1132"/>
                  <a:pt x="1290" y="1129"/>
                  <a:pt x="1291" y="1125"/>
                </a:cubicBezTo>
                <a:cubicBezTo>
                  <a:pt x="1291" y="1122"/>
                  <a:pt x="1292" y="1120"/>
                  <a:pt x="1294" y="1120"/>
                </a:cubicBezTo>
                <a:cubicBezTo>
                  <a:pt x="1295" y="1120"/>
                  <a:pt x="1296" y="1120"/>
                  <a:pt x="1296" y="1120"/>
                </a:cubicBezTo>
                <a:cubicBezTo>
                  <a:pt x="1297" y="1120"/>
                  <a:pt x="1297" y="1120"/>
                  <a:pt x="1298" y="1120"/>
                </a:cubicBezTo>
                <a:cubicBezTo>
                  <a:pt x="1299" y="1119"/>
                  <a:pt x="1300" y="1120"/>
                  <a:pt x="1301" y="1119"/>
                </a:cubicBezTo>
                <a:cubicBezTo>
                  <a:pt x="1301" y="1119"/>
                  <a:pt x="1302" y="1119"/>
                  <a:pt x="1303" y="1119"/>
                </a:cubicBezTo>
                <a:cubicBezTo>
                  <a:pt x="1304" y="1121"/>
                  <a:pt x="1301" y="1122"/>
                  <a:pt x="1301" y="1124"/>
                </a:cubicBezTo>
                <a:cubicBezTo>
                  <a:pt x="1301" y="1125"/>
                  <a:pt x="1302" y="1126"/>
                  <a:pt x="1303" y="1125"/>
                </a:cubicBezTo>
                <a:cubicBezTo>
                  <a:pt x="1304" y="1125"/>
                  <a:pt x="1304" y="1124"/>
                  <a:pt x="1304" y="1124"/>
                </a:cubicBezTo>
                <a:cubicBezTo>
                  <a:pt x="1305" y="1124"/>
                  <a:pt x="1305" y="1125"/>
                  <a:pt x="1305" y="1126"/>
                </a:cubicBezTo>
                <a:cubicBezTo>
                  <a:pt x="1305" y="1126"/>
                  <a:pt x="1305" y="1126"/>
                  <a:pt x="1305" y="1127"/>
                </a:cubicBezTo>
                <a:cubicBezTo>
                  <a:pt x="1306" y="1127"/>
                  <a:pt x="1306" y="1126"/>
                  <a:pt x="1307" y="1126"/>
                </a:cubicBezTo>
                <a:cubicBezTo>
                  <a:pt x="1307" y="1125"/>
                  <a:pt x="1307" y="1125"/>
                  <a:pt x="1307" y="1124"/>
                </a:cubicBezTo>
                <a:cubicBezTo>
                  <a:pt x="1308" y="1124"/>
                  <a:pt x="1308" y="1124"/>
                  <a:pt x="1309" y="1124"/>
                </a:cubicBezTo>
                <a:cubicBezTo>
                  <a:pt x="1310" y="1124"/>
                  <a:pt x="1310" y="1124"/>
                  <a:pt x="1310" y="1122"/>
                </a:cubicBezTo>
                <a:cubicBezTo>
                  <a:pt x="1309" y="1121"/>
                  <a:pt x="1309" y="1120"/>
                  <a:pt x="1310" y="1119"/>
                </a:cubicBezTo>
                <a:cubicBezTo>
                  <a:pt x="1312" y="1117"/>
                  <a:pt x="1311" y="1117"/>
                  <a:pt x="1310" y="1114"/>
                </a:cubicBezTo>
                <a:cubicBezTo>
                  <a:pt x="1309" y="1113"/>
                  <a:pt x="1309" y="1113"/>
                  <a:pt x="1308" y="1112"/>
                </a:cubicBezTo>
                <a:cubicBezTo>
                  <a:pt x="1307" y="1111"/>
                  <a:pt x="1307" y="1110"/>
                  <a:pt x="1309" y="1110"/>
                </a:cubicBezTo>
                <a:cubicBezTo>
                  <a:pt x="1311" y="1111"/>
                  <a:pt x="1312" y="1112"/>
                  <a:pt x="1312" y="1115"/>
                </a:cubicBezTo>
                <a:cubicBezTo>
                  <a:pt x="1313" y="1116"/>
                  <a:pt x="1312" y="1117"/>
                  <a:pt x="1313" y="1117"/>
                </a:cubicBezTo>
                <a:cubicBezTo>
                  <a:pt x="1315" y="1118"/>
                  <a:pt x="1315" y="1117"/>
                  <a:pt x="1316" y="1117"/>
                </a:cubicBezTo>
                <a:cubicBezTo>
                  <a:pt x="1317" y="1116"/>
                  <a:pt x="1318" y="1117"/>
                  <a:pt x="1319" y="1117"/>
                </a:cubicBezTo>
                <a:cubicBezTo>
                  <a:pt x="1320" y="1117"/>
                  <a:pt x="1321" y="1117"/>
                  <a:pt x="1322" y="1116"/>
                </a:cubicBezTo>
                <a:cubicBezTo>
                  <a:pt x="1325" y="1115"/>
                  <a:pt x="1326" y="1116"/>
                  <a:pt x="1329" y="1116"/>
                </a:cubicBezTo>
                <a:cubicBezTo>
                  <a:pt x="1330" y="1116"/>
                  <a:pt x="1331" y="1116"/>
                  <a:pt x="1332" y="1115"/>
                </a:cubicBezTo>
                <a:cubicBezTo>
                  <a:pt x="1333" y="1114"/>
                  <a:pt x="1333" y="1112"/>
                  <a:pt x="1332" y="1110"/>
                </a:cubicBezTo>
                <a:cubicBezTo>
                  <a:pt x="1330" y="1107"/>
                  <a:pt x="1329" y="1111"/>
                  <a:pt x="1327" y="1111"/>
                </a:cubicBezTo>
                <a:cubicBezTo>
                  <a:pt x="1326" y="1110"/>
                  <a:pt x="1326" y="1109"/>
                  <a:pt x="1325" y="1109"/>
                </a:cubicBezTo>
                <a:cubicBezTo>
                  <a:pt x="1324" y="1108"/>
                  <a:pt x="1322" y="1108"/>
                  <a:pt x="1321" y="1109"/>
                </a:cubicBezTo>
                <a:cubicBezTo>
                  <a:pt x="1319" y="1110"/>
                  <a:pt x="1318" y="1110"/>
                  <a:pt x="1317" y="1107"/>
                </a:cubicBezTo>
                <a:cubicBezTo>
                  <a:pt x="1316" y="1104"/>
                  <a:pt x="1318" y="1104"/>
                  <a:pt x="1320" y="1102"/>
                </a:cubicBezTo>
                <a:cubicBezTo>
                  <a:pt x="1323" y="1101"/>
                  <a:pt x="1324" y="1103"/>
                  <a:pt x="1324" y="1105"/>
                </a:cubicBezTo>
                <a:cubicBezTo>
                  <a:pt x="1324" y="1106"/>
                  <a:pt x="1325" y="1107"/>
                  <a:pt x="1326" y="1106"/>
                </a:cubicBezTo>
                <a:cubicBezTo>
                  <a:pt x="1327" y="1105"/>
                  <a:pt x="1326" y="1104"/>
                  <a:pt x="1328" y="1104"/>
                </a:cubicBezTo>
                <a:cubicBezTo>
                  <a:pt x="1329" y="1105"/>
                  <a:pt x="1330" y="1105"/>
                  <a:pt x="1331" y="1104"/>
                </a:cubicBezTo>
                <a:cubicBezTo>
                  <a:pt x="1332" y="1102"/>
                  <a:pt x="1331" y="1102"/>
                  <a:pt x="1329" y="1102"/>
                </a:cubicBezTo>
                <a:cubicBezTo>
                  <a:pt x="1329" y="1101"/>
                  <a:pt x="1326" y="1101"/>
                  <a:pt x="1328" y="1100"/>
                </a:cubicBezTo>
                <a:cubicBezTo>
                  <a:pt x="1329" y="1099"/>
                  <a:pt x="1330" y="1101"/>
                  <a:pt x="1331" y="1101"/>
                </a:cubicBezTo>
                <a:cubicBezTo>
                  <a:pt x="1331" y="1102"/>
                  <a:pt x="1333" y="1101"/>
                  <a:pt x="1333" y="1102"/>
                </a:cubicBezTo>
                <a:cubicBezTo>
                  <a:pt x="1334" y="1103"/>
                  <a:pt x="1333" y="1104"/>
                  <a:pt x="1333" y="1105"/>
                </a:cubicBezTo>
                <a:cubicBezTo>
                  <a:pt x="1333" y="1107"/>
                  <a:pt x="1337" y="1108"/>
                  <a:pt x="1338" y="1108"/>
                </a:cubicBezTo>
                <a:cubicBezTo>
                  <a:pt x="1339" y="1108"/>
                  <a:pt x="1340" y="1107"/>
                  <a:pt x="1341" y="1107"/>
                </a:cubicBezTo>
                <a:cubicBezTo>
                  <a:pt x="1342" y="1106"/>
                  <a:pt x="1343" y="1104"/>
                  <a:pt x="1344" y="1104"/>
                </a:cubicBezTo>
                <a:cubicBezTo>
                  <a:pt x="1344" y="1106"/>
                  <a:pt x="1343" y="1107"/>
                  <a:pt x="1342" y="1108"/>
                </a:cubicBezTo>
                <a:close/>
                <a:moveTo>
                  <a:pt x="1694" y="1102"/>
                </a:moveTo>
                <a:cubicBezTo>
                  <a:pt x="1693" y="1103"/>
                  <a:pt x="1693" y="1104"/>
                  <a:pt x="1692" y="1105"/>
                </a:cubicBezTo>
                <a:cubicBezTo>
                  <a:pt x="1690" y="1110"/>
                  <a:pt x="1684" y="1108"/>
                  <a:pt x="1680" y="1108"/>
                </a:cubicBezTo>
                <a:cubicBezTo>
                  <a:pt x="1679" y="1108"/>
                  <a:pt x="1677" y="1108"/>
                  <a:pt x="1676" y="1108"/>
                </a:cubicBezTo>
                <a:cubicBezTo>
                  <a:pt x="1675" y="1107"/>
                  <a:pt x="1673" y="1106"/>
                  <a:pt x="1672" y="1106"/>
                </a:cubicBezTo>
                <a:cubicBezTo>
                  <a:pt x="1669" y="1105"/>
                  <a:pt x="1666" y="1106"/>
                  <a:pt x="1663" y="1105"/>
                </a:cubicBezTo>
                <a:cubicBezTo>
                  <a:pt x="1662" y="1104"/>
                  <a:pt x="1660" y="1104"/>
                  <a:pt x="1659" y="1103"/>
                </a:cubicBezTo>
                <a:cubicBezTo>
                  <a:pt x="1657" y="1103"/>
                  <a:pt x="1656" y="1103"/>
                  <a:pt x="1654" y="1103"/>
                </a:cubicBezTo>
                <a:cubicBezTo>
                  <a:pt x="1650" y="1103"/>
                  <a:pt x="1647" y="1103"/>
                  <a:pt x="1643" y="1102"/>
                </a:cubicBezTo>
                <a:cubicBezTo>
                  <a:pt x="1640" y="1102"/>
                  <a:pt x="1637" y="1102"/>
                  <a:pt x="1634" y="1102"/>
                </a:cubicBezTo>
                <a:cubicBezTo>
                  <a:pt x="1632" y="1102"/>
                  <a:pt x="1629" y="1102"/>
                  <a:pt x="1627" y="1102"/>
                </a:cubicBezTo>
                <a:cubicBezTo>
                  <a:pt x="1627" y="1102"/>
                  <a:pt x="1626" y="1102"/>
                  <a:pt x="1625" y="1102"/>
                </a:cubicBezTo>
                <a:cubicBezTo>
                  <a:pt x="1624" y="1102"/>
                  <a:pt x="1624" y="1102"/>
                  <a:pt x="1623" y="1102"/>
                </a:cubicBezTo>
                <a:cubicBezTo>
                  <a:pt x="1622" y="1101"/>
                  <a:pt x="1623" y="1104"/>
                  <a:pt x="1622" y="1104"/>
                </a:cubicBezTo>
                <a:cubicBezTo>
                  <a:pt x="1622" y="1105"/>
                  <a:pt x="1621" y="1105"/>
                  <a:pt x="1620" y="1105"/>
                </a:cubicBezTo>
                <a:cubicBezTo>
                  <a:pt x="1619" y="1105"/>
                  <a:pt x="1618" y="1105"/>
                  <a:pt x="1617" y="1105"/>
                </a:cubicBezTo>
                <a:cubicBezTo>
                  <a:pt x="1616" y="1106"/>
                  <a:pt x="1614" y="1106"/>
                  <a:pt x="1613" y="1107"/>
                </a:cubicBezTo>
                <a:cubicBezTo>
                  <a:pt x="1612" y="1108"/>
                  <a:pt x="1611" y="1110"/>
                  <a:pt x="1611" y="1111"/>
                </a:cubicBezTo>
                <a:cubicBezTo>
                  <a:pt x="1610" y="1112"/>
                  <a:pt x="1610" y="1113"/>
                  <a:pt x="1609" y="1114"/>
                </a:cubicBezTo>
                <a:cubicBezTo>
                  <a:pt x="1607" y="1115"/>
                  <a:pt x="1606" y="1115"/>
                  <a:pt x="1604" y="1116"/>
                </a:cubicBezTo>
                <a:cubicBezTo>
                  <a:pt x="1603" y="1117"/>
                  <a:pt x="1602" y="1117"/>
                  <a:pt x="1600" y="1117"/>
                </a:cubicBezTo>
                <a:cubicBezTo>
                  <a:pt x="1599" y="1117"/>
                  <a:pt x="1596" y="1117"/>
                  <a:pt x="1598" y="1118"/>
                </a:cubicBezTo>
                <a:cubicBezTo>
                  <a:pt x="1599" y="1119"/>
                  <a:pt x="1599" y="1120"/>
                  <a:pt x="1599" y="1121"/>
                </a:cubicBezTo>
                <a:cubicBezTo>
                  <a:pt x="1598" y="1123"/>
                  <a:pt x="1597" y="1123"/>
                  <a:pt x="1597" y="1125"/>
                </a:cubicBezTo>
                <a:cubicBezTo>
                  <a:pt x="1596" y="1126"/>
                  <a:pt x="1596" y="1127"/>
                  <a:pt x="1595" y="1128"/>
                </a:cubicBezTo>
                <a:cubicBezTo>
                  <a:pt x="1595" y="1129"/>
                  <a:pt x="1594" y="1131"/>
                  <a:pt x="1595" y="1132"/>
                </a:cubicBezTo>
                <a:cubicBezTo>
                  <a:pt x="1595" y="1133"/>
                  <a:pt x="1596" y="1133"/>
                  <a:pt x="1597" y="1133"/>
                </a:cubicBezTo>
                <a:cubicBezTo>
                  <a:pt x="1597" y="1134"/>
                  <a:pt x="1596" y="1135"/>
                  <a:pt x="1596" y="1135"/>
                </a:cubicBezTo>
                <a:cubicBezTo>
                  <a:pt x="1596" y="1136"/>
                  <a:pt x="1596" y="1137"/>
                  <a:pt x="1596" y="1137"/>
                </a:cubicBezTo>
                <a:cubicBezTo>
                  <a:pt x="1596" y="1138"/>
                  <a:pt x="1596" y="1141"/>
                  <a:pt x="1595" y="1141"/>
                </a:cubicBezTo>
                <a:cubicBezTo>
                  <a:pt x="1594" y="1142"/>
                  <a:pt x="1594" y="1139"/>
                  <a:pt x="1593" y="1138"/>
                </a:cubicBezTo>
                <a:cubicBezTo>
                  <a:pt x="1592" y="1137"/>
                  <a:pt x="1592" y="1136"/>
                  <a:pt x="1591" y="1135"/>
                </a:cubicBezTo>
                <a:cubicBezTo>
                  <a:pt x="1591" y="1134"/>
                  <a:pt x="1590" y="1133"/>
                  <a:pt x="1589" y="1132"/>
                </a:cubicBezTo>
                <a:cubicBezTo>
                  <a:pt x="1588" y="1131"/>
                  <a:pt x="1588" y="1130"/>
                  <a:pt x="1587" y="1129"/>
                </a:cubicBezTo>
                <a:cubicBezTo>
                  <a:pt x="1586" y="1128"/>
                  <a:pt x="1585" y="1127"/>
                  <a:pt x="1584" y="1126"/>
                </a:cubicBezTo>
                <a:cubicBezTo>
                  <a:pt x="1583" y="1126"/>
                  <a:pt x="1583" y="1126"/>
                  <a:pt x="1582" y="1126"/>
                </a:cubicBezTo>
                <a:cubicBezTo>
                  <a:pt x="1582" y="1125"/>
                  <a:pt x="1582" y="1124"/>
                  <a:pt x="1583" y="1124"/>
                </a:cubicBezTo>
                <a:cubicBezTo>
                  <a:pt x="1583" y="1122"/>
                  <a:pt x="1583" y="1121"/>
                  <a:pt x="1584" y="1120"/>
                </a:cubicBezTo>
                <a:cubicBezTo>
                  <a:pt x="1584" y="1119"/>
                  <a:pt x="1586" y="1118"/>
                  <a:pt x="1587" y="1117"/>
                </a:cubicBezTo>
                <a:cubicBezTo>
                  <a:pt x="1587" y="1117"/>
                  <a:pt x="1588" y="1117"/>
                  <a:pt x="1588" y="1116"/>
                </a:cubicBezTo>
                <a:cubicBezTo>
                  <a:pt x="1589" y="1115"/>
                  <a:pt x="1588" y="1115"/>
                  <a:pt x="1587" y="1115"/>
                </a:cubicBezTo>
                <a:cubicBezTo>
                  <a:pt x="1586" y="1114"/>
                  <a:pt x="1587" y="1113"/>
                  <a:pt x="1588" y="1112"/>
                </a:cubicBezTo>
                <a:cubicBezTo>
                  <a:pt x="1589" y="1111"/>
                  <a:pt x="1590" y="1111"/>
                  <a:pt x="1592" y="1111"/>
                </a:cubicBezTo>
                <a:cubicBezTo>
                  <a:pt x="1593" y="1112"/>
                  <a:pt x="1594" y="1111"/>
                  <a:pt x="1594" y="1109"/>
                </a:cubicBezTo>
                <a:cubicBezTo>
                  <a:pt x="1594" y="1109"/>
                  <a:pt x="1593" y="1108"/>
                  <a:pt x="1594" y="1108"/>
                </a:cubicBezTo>
                <a:cubicBezTo>
                  <a:pt x="1594" y="1107"/>
                  <a:pt x="1595" y="1107"/>
                  <a:pt x="1596" y="1106"/>
                </a:cubicBezTo>
                <a:cubicBezTo>
                  <a:pt x="1596" y="1106"/>
                  <a:pt x="1597" y="1105"/>
                  <a:pt x="1597" y="1105"/>
                </a:cubicBezTo>
                <a:cubicBezTo>
                  <a:pt x="1598" y="1104"/>
                  <a:pt x="1599" y="1103"/>
                  <a:pt x="1600" y="1103"/>
                </a:cubicBezTo>
                <a:cubicBezTo>
                  <a:pt x="1600" y="1102"/>
                  <a:pt x="1601" y="1101"/>
                  <a:pt x="1602" y="1101"/>
                </a:cubicBezTo>
                <a:cubicBezTo>
                  <a:pt x="1602" y="1100"/>
                  <a:pt x="1603" y="1100"/>
                  <a:pt x="1604" y="1099"/>
                </a:cubicBezTo>
                <a:cubicBezTo>
                  <a:pt x="1605" y="1098"/>
                  <a:pt x="1606" y="1097"/>
                  <a:pt x="1607" y="1097"/>
                </a:cubicBezTo>
                <a:cubicBezTo>
                  <a:pt x="1609" y="1097"/>
                  <a:pt x="1610" y="1098"/>
                  <a:pt x="1611" y="1098"/>
                </a:cubicBezTo>
                <a:cubicBezTo>
                  <a:pt x="1613" y="1098"/>
                  <a:pt x="1615" y="1097"/>
                  <a:pt x="1616" y="1097"/>
                </a:cubicBezTo>
                <a:cubicBezTo>
                  <a:pt x="1618" y="1097"/>
                  <a:pt x="1619" y="1098"/>
                  <a:pt x="1620" y="1097"/>
                </a:cubicBezTo>
                <a:cubicBezTo>
                  <a:pt x="1622" y="1097"/>
                  <a:pt x="1624" y="1096"/>
                  <a:pt x="1625" y="1096"/>
                </a:cubicBezTo>
                <a:cubicBezTo>
                  <a:pt x="1628" y="1095"/>
                  <a:pt x="1632" y="1095"/>
                  <a:pt x="1634" y="1097"/>
                </a:cubicBezTo>
                <a:cubicBezTo>
                  <a:pt x="1635" y="1098"/>
                  <a:pt x="1636" y="1098"/>
                  <a:pt x="1638" y="1099"/>
                </a:cubicBezTo>
                <a:cubicBezTo>
                  <a:pt x="1639" y="1099"/>
                  <a:pt x="1640" y="1100"/>
                  <a:pt x="1641" y="1100"/>
                </a:cubicBezTo>
                <a:cubicBezTo>
                  <a:pt x="1642" y="1100"/>
                  <a:pt x="1643" y="1100"/>
                  <a:pt x="1644" y="1100"/>
                </a:cubicBezTo>
                <a:cubicBezTo>
                  <a:pt x="1645" y="1100"/>
                  <a:pt x="1646" y="1100"/>
                  <a:pt x="1647" y="1100"/>
                </a:cubicBezTo>
                <a:cubicBezTo>
                  <a:pt x="1648" y="1100"/>
                  <a:pt x="1650" y="1101"/>
                  <a:pt x="1652" y="1101"/>
                </a:cubicBezTo>
                <a:cubicBezTo>
                  <a:pt x="1656" y="1101"/>
                  <a:pt x="1660" y="1101"/>
                  <a:pt x="1664" y="1101"/>
                </a:cubicBezTo>
                <a:cubicBezTo>
                  <a:pt x="1667" y="1101"/>
                  <a:pt x="1670" y="1101"/>
                  <a:pt x="1673" y="1102"/>
                </a:cubicBezTo>
                <a:cubicBezTo>
                  <a:pt x="1675" y="1102"/>
                  <a:pt x="1676" y="1102"/>
                  <a:pt x="1677" y="1103"/>
                </a:cubicBezTo>
                <a:cubicBezTo>
                  <a:pt x="1677" y="1104"/>
                  <a:pt x="1677" y="1105"/>
                  <a:pt x="1678" y="1105"/>
                </a:cubicBezTo>
                <a:cubicBezTo>
                  <a:pt x="1678" y="1105"/>
                  <a:pt x="1679" y="1105"/>
                  <a:pt x="1679" y="1104"/>
                </a:cubicBezTo>
                <a:cubicBezTo>
                  <a:pt x="1679" y="1103"/>
                  <a:pt x="1679" y="1101"/>
                  <a:pt x="1679" y="1100"/>
                </a:cubicBezTo>
                <a:cubicBezTo>
                  <a:pt x="1680" y="1099"/>
                  <a:pt x="1682" y="1100"/>
                  <a:pt x="1683" y="1099"/>
                </a:cubicBezTo>
                <a:cubicBezTo>
                  <a:pt x="1684" y="1099"/>
                  <a:pt x="1685" y="1097"/>
                  <a:pt x="1687" y="1098"/>
                </a:cubicBezTo>
                <a:cubicBezTo>
                  <a:pt x="1688" y="1099"/>
                  <a:pt x="1688" y="1100"/>
                  <a:pt x="1689" y="1101"/>
                </a:cubicBezTo>
                <a:cubicBezTo>
                  <a:pt x="1690" y="1101"/>
                  <a:pt x="1691" y="1101"/>
                  <a:pt x="1691" y="1100"/>
                </a:cubicBezTo>
                <a:cubicBezTo>
                  <a:pt x="1690" y="1100"/>
                  <a:pt x="1689" y="1099"/>
                  <a:pt x="1689" y="1099"/>
                </a:cubicBezTo>
                <a:cubicBezTo>
                  <a:pt x="1689" y="1099"/>
                  <a:pt x="1688" y="1097"/>
                  <a:pt x="1688" y="1097"/>
                </a:cubicBezTo>
                <a:cubicBezTo>
                  <a:pt x="1688" y="1096"/>
                  <a:pt x="1690" y="1097"/>
                  <a:pt x="1690" y="1097"/>
                </a:cubicBezTo>
                <a:cubicBezTo>
                  <a:pt x="1691" y="1097"/>
                  <a:pt x="1693" y="1097"/>
                  <a:pt x="1694" y="1097"/>
                </a:cubicBezTo>
                <a:cubicBezTo>
                  <a:pt x="1695" y="1097"/>
                  <a:pt x="1695" y="1097"/>
                  <a:pt x="1695" y="1098"/>
                </a:cubicBezTo>
                <a:cubicBezTo>
                  <a:pt x="1696" y="1098"/>
                  <a:pt x="1696" y="1099"/>
                  <a:pt x="1696" y="1099"/>
                </a:cubicBezTo>
                <a:cubicBezTo>
                  <a:pt x="1697" y="1101"/>
                  <a:pt x="1695" y="1101"/>
                  <a:pt x="1694" y="1102"/>
                </a:cubicBezTo>
                <a:close/>
                <a:moveTo>
                  <a:pt x="1820" y="1698"/>
                </a:moveTo>
                <a:cubicBezTo>
                  <a:pt x="1820" y="1699"/>
                  <a:pt x="1820" y="1699"/>
                  <a:pt x="1819" y="1700"/>
                </a:cubicBezTo>
                <a:cubicBezTo>
                  <a:pt x="1819" y="1700"/>
                  <a:pt x="1818" y="1700"/>
                  <a:pt x="1818" y="1700"/>
                </a:cubicBezTo>
                <a:cubicBezTo>
                  <a:pt x="1817" y="1700"/>
                  <a:pt x="1817" y="1700"/>
                  <a:pt x="1816" y="1700"/>
                </a:cubicBezTo>
                <a:cubicBezTo>
                  <a:pt x="1816" y="1700"/>
                  <a:pt x="1814" y="1701"/>
                  <a:pt x="1815" y="1700"/>
                </a:cubicBezTo>
                <a:cubicBezTo>
                  <a:pt x="1815" y="1699"/>
                  <a:pt x="1816" y="1699"/>
                  <a:pt x="1816" y="1699"/>
                </a:cubicBezTo>
                <a:cubicBezTo>
                  <a:pt x="1817" y="1698"/>
                  <a:pt x="1817" y="1698"/>
                  <a:pt x="1817" y="1697"/>
                </a:cubicBezTo>
                <a:cubicBezTo>
                  <a:pt x="1818" y="1696"/>
                  <a:pt x="1819" y="1696"/>
                  <a:pt x="1820" y="1696"/>
                </a:cubicBezTo>
                <a:cubicBezTo>
                  <a:pt x="1822" y="1696"/>
                  <a:pt x="1821" y="1698"/>
                  <a:pt x="1820" y="1698"/>
                </a:cubicBezTo>
                <a:close/>
                <a:moveTo>
                  <a:pt x="2110" y="1940"/>
                </a:moveTo>
                <a:cubicBezTo>
                  <a:pt x="2110" y="1940"/>
                  <a:pt x="2110" y="1941"/>
                  <a:pt x="2111" y="1942"/>
                </a:cubicBezTo>
                <a:cubicBezTo>
                  <a:pt x="2111" y="1942"/>
                  <a:pt x="2112" y="1942"/>
                  <a:pt x="2112" y="1943"/>
                </a:cubicBezTo>
                <a:cubicBezTo>
                  <a:pt x="2113" y="1944"/>
                  <a:pt x="2113" y="1945"/>
                  <a:pt x="2114" y="1946"/>
                </a:cubicBezTo>
                <a:cubicBezTo>
                  <a:pt x="2115" y="1947"/>
                  <a:pt x="2115" y="1947"/>
                  <a:pt x="2116" y="1949"/>
                </a:cubicBezTo>
                <a:cubicBezTo>
                  <a:pt x="2116" y="1949"/>
                  <a:pt x="2116" y="1950"/>
                  <a:pt x="2116" y="1950"/>
                </a:cubicBezTo>
                <a:cubicBezTo>
                  <a:pt x="2116" y="1951"/>
                  <a:pt x="2116" y="1951"/>
                  <a:pt x="2115" y="1951"/>
                </a:cubicBezTo>
                <a:cubicBezTo>
                  <a:pt x="2114" y="1950"/>
                  <a:pt x="2114" y="1950"/>
                  <a:pt x="2114" y="1949"/>
                </a:cubicBezTo>
                <a:cubicBezTo>
                  <a:pt x="2114" y="1949"/>
                  <a:pt x="2113" y="1948"/>
                  <a:pt x="2113" y="1947"/>
                </a:cubicBezTo>
                <a:cubicBezTo>
                  <a:pt x="2112" y="1947"/>
                  <a:pt x="2112" y="1946"/>
                  <a:pt x="2112" y="1946"/>
                </a:cubicBezTo>
                <a:cubicBezTo>
                  <a:pt x="2111" y="1945"/>
                  <a:pt x="2110" y="1945"/>
                  <a:pt x="2110" y="1944"/>
                </a:cubicBezTo>
                <a:cubicBezTo>
                  <a:pt x="2110" y="1943"/>
                  <a:pt x="2109" y="1941"/>
                  <a:pt x="2110" y="1940"/>
                </a:cubicBezTo>
                <a:close/>
                <a:moveTo>
                  <a:pt x="2217" y="1885"/>
                </a:moveTo>
                <a:cubicBezTo>
                  <a:pt x="2218" y="1886"/>
                  <a:pt x="2218" y="1887"/>
                  <a:pt x="2219" y="1888"/>
                </a:cubicBezTo>
                <a:cubicBezTo>
                  <a:pt x="2220" y="1888"/>
                  <a:pt x="2221" y="1889"/>
                  <a:pt x="2222" y="1889"/>
                </a:cubicBezTo>
                <a:cubicBezTo>
                  <a:pt x="2223" y="1889"/>
                  <a:pt x="2224" y="1889"/>
                  <a:pt x="2224" y="1889"/>
                </a:cubicBezTo>
                <a:cubicBezTo>
                  <a:pt x="2225" y="1890"/>
                  <a:pt x="2225" y="1890"/>
                  <a:pt x="2226" y="1891"/>
                </a:cubicBezTo>
                <a:cubicBezTo>
                  <a:pt x="2226" y="1891"/>
                  <a:pt x="2226" y="1892"/>
                  <a:pt x="2227" y="1892"/>
                </a:cubicBezTo>
                <a:cubicBezTo>
                  <a:pt x="2227" y="1892"/>
                  <a:pt x="2228" y="1893"/>
                  <a:pt x="2228" y="1893"/>
                </a:cubicBezTo>
                <a:cubicBezTo>
                  <a:pt x="2229" y="1894"/>
                  <a:pt x="2228" y="1894"/>
                  <a:pt x="2227" y="1893"/>
                </a:cubicBezTo>
                <a:cubicBezTo>
                  <a:pt x="2227" y="1893"/>
                  <a:pt x="2226" y="1893"/>
                  <a:pt x="2226" y="1892"/>
                </a:cubicBezTo>
                <a:cubicBezTo>
                  <a:pt x="2225" y="1891"/>
                  <a:pt x="2224" y="1891"/>
                  <a:pt x="2223" y="1890"/>
                </a:cubicBezTo>
                <a:cubicBezTo>
                  <a:pt x="2222" y="1889"/>
                  <a:pt x="2221" y="1889"/>
                  <a:pt x="2220" y="1888"/>
                </a:cubicBezTo>
                <a:cubicBezTo>
                  <a:pt x="2218" y="1888"/>
                  <a:pt x="2218" y="1887"/>
                  <a:pt x="2216" y="1886"/>
                </a:cubicBezTo>
                <a:cubicBezTo>
                  <a:pt x="2215" y="1886"/>
                  <a:pt x="2214" y="1885"/>
                  <a:pt x="2213" y="1884"/>
                </a:cubicBezTo>
                <a:cubicBezTo>
                  <a:pt x="2212" y="1884"/>
                  <a:pt x="2212" y="1883"/>
                  <a:pt x="2212" y="1882"/>
                </a:cubicBezTo>
                <a:cubicBezTo>
                  <a:pt x="2212" y="1881"/>
                  <a:pt x="2211" y="1879"/>
                  <a:pt x="2212" y="1880"/>
                </a:cubicBezTo>
                <a:cubicBezTo>
                  <a:pt x="2213" y="1881"/>
                  <a:pt x="2213" y="1881"/>
                  <a:pt x="2213" y="1882"/>
                </a:cubicBezTo>
                <a:cubicBezTo>
                  <a:pt x="2213" y="1882"/>
                  <a:pt x="2214" y="1882"/>
                  <a:pt x="2214" y="1883"/>
                </a:cubicBezTo>
                <a:cubicBezTo>
                  <a:pt x="2215" y="1883"/>
                  <a:pt x="2215" y="1884"/>
                  <a:pt x="2216" y="1884"/>
                </a:cubicBezTo>
                <a:cubicBezTo>
                  <a:pt x="2216" y="1885"/>
                  <a:pt x="2216" y="1885"/>
                  <a:pt x="2217" y="1885"/>
                </a:cubicBezTo>
                <a:close/>
                <a:moveTo>
                  <a:pt x="2300" y="866"/>
                </a:moveTo>
                <a:cubicBezTo>
                  <a:pt x="2300" y="867"/>
                  <a:pt x="2301" y="869"/>
                  <a:pt x="2300" y="870"/>
                </a:cubicBezTo>
                <a:cubicBezTo>
                  <a:pt x="2300" y="871"/>
                  <a:pt x="2300" y="871"/>
                  <a:pt x="2299" y="871"/>
                </a:cubicBezTo>
                <a:cubicBezTo>
                  <a:pt x="2299" y="872"/>
                  <a:pt x="2299" y="873"/>
                  <a:pt x="2299" y="874"/>
                </a:cubicBezTo>
                <a:cubicBezTo>
                  <a:pt x="2300" y="876"/>
                  <a:pt x="2297" y="877"/>
                  <a:pt x="2298" y="879"/>
                </a:cubicBezTo>
                <a:cubicBezTo>
                  <a:pt x="2298" y="879"/>
                  <a:pt x="2299" y="880"/>
                  <a:pt x="2299" y="880"/>
                </a:cubicBezTo>
                <a:cubicBezTo>
                  <a:pt x="2299" y="881"/>
                  <a:pt x="2299" y="881"/>
                  <a:pt x="2299" y="882"/>
                </a:cubicBezTo>
                <a:cubicBezTo>
                  <a:pt x="2298" y="884"/>
                  <a:pt x="2297" y="885"/>
                  <a:pt x="2296" y="887"/>
                </a:cubicBezTo>
                <a:cubicBezTo>
                  <a:pt x="2296" y="888"/>
                  <a:pt x="2295" y="889"/>
                  <a:pt x="2295" y="891"/>
                </a:cubicBezTo>
                <a:cubicBezTo>
                  <a:pt x="2294" y="892"/>
                  <a:pt x="2294" y="894"/>
                  <a:pt x="2293" y="895"/>
                </a:cubicBezTo>
                <a:cubicBezTo>
                  <a:pt x="2293" y="896"/>
                  <a:pt x="2293" y="898"/>
                  <a:pt x="2293" y="899"/>
                </a:cubicBezTo>
                <a:cubicBezTo>
                  <a:pt x="2293" y="901"/>
                  <a:pt x="2294" y="902"/>
                  <a:pt x="2294" y="903"/>
                </a:cubicBezTo>
                <a:cubicBezTo>
                  <a:pt x="2293" y="905"/>
                  <a:pt x="2293" y="906"/>
                  <a:pt x="2293" y="908"/>
                </a:cubicBezTo>
                <a:cubicBezTo>
                  <a:pt x="2293" y="909"/>
                  <a:pt x="2292" y="910"/>
                  <a:pt x="2291" y="911"/>
                </a:cubicBezTo>
                <a:cubicBezTo>
                  <a:pt x="2290" y="913"/>
                  <a:pt x="2290" y="914"/>
                  <a:pt x="2290" y="915"/>
                </a:cubicBezTo>
                <a:cubicBezTo>
                  <a:pt x="2289" y="917"/>
                  <a:pt x="2288" y="918"/>
                  <a:pt x="2287" y="920"/>
                </a:cubicBezTo>
                <a:cubicBezTo>
                  <a:pt x="2286" y="921"/>
                  <a:pt x="2285" y="922"/>
                  <a:pt x="2284" y="921"/>
                </a:cubicBezTo>
                <a:cubicBezTo>
                  <a:pt x="2284" y="920"/>
                  <a:pt x="2284" y="919"/>
                  <a:pt x="2284" y="919"/>
                </a:cubicBezTo>
                <a:cubicBezTo>
                  <a:pt x="2284" y="918"/>
                  <a:pt x="2285" y="918"/>
                  <a:pt x="2285" y="918"/>
                </a:cubicBezTo>
                <a:cubicBezTo>
                  <a:pt x="2285" y="917"/>
                  <a:pt x="2284" y="917"/>
                  <a:pt x="2284" y="917"/>
                </a:cubicBezTo>
                <a:cubicBezTo>
                  <a:pt x="2283" y="916"/>
                  <a:pt x="2283" y="916"/>
                  <a:pt x="2282" y="916"/>
                </a:cubicBezTo>
                <a:cubicBezTo>
                  <a:pt x="2281" y="915"/>
                  <a:pt x="2280" y="916"/>
                  <a:pt x="2279" y="917"/>
                </a:cubicBezTo>
                <a:cubicBezTo>
                  <a:pt x="2278" y="919"/>
                  <a:pt x="2278" y="920"/>
                  <a:pt x="2277" y="921"/>
                </a:cubicBezTo>
                <a:cubicBezTo>
                  <a:pt x="2276" y="921"/>
                  <a:pt x="2273" y="923"/>
                  <a:pt x="2274" y="924"/>
                </a:cubicBezTo>
                <a:cubicBezTo>
                  <a:pt x="2275" y="924"/>
                  <a:pt x="2276" y="923"/>
                  <a:pt x="2276" y="923"/>
                </a:cubicBezTo>
                <a:cubicBezTo>
                  <a:pt x="2277" y="922"/>
                  <a:pt x="2278" y="921"/>
                  <a:pt x="2279" y="921"/>
                </a:cubicBezTo>
                <a:cubicBezTo>
                  <a:pt x="2281" y="921"/>
                  <a:pt x="2282" y="922"/>
                  <a:pt x="2283" y="924"/>
                </a:cubicBezTo>
                <a:cubicBezTo>
                  <a:pt x="2283" y="925"/>
                  <a:pt x="2283" y="927"/>
                  <a:pt x="2282" y="928"/>
                </a:cubicBezTo>
                <a:cubicBezTo>
                  <a:pt x="2281" y="929"/>
                  <a:pt x="2280" y="929"/>
                  <a:pt x="2279" y="930"/>
                </a:cubicBezTo>
                <a:cubicBezTo>
                  <a:pt x="2278" y="930"/>
                  <a:pt x="2276" y="930"/>
                  <a:pt x="2275" y="931"/>
                </a:cubicBezTo>
                <a:cubicBezTo>
                  <a:pt x="2273" y="932"/>
                  <a:pt x="2272" y="933"/>
                  <a:pt x="2271" y="934"/>
                </a:cubicBezTo>
                <a:cubicBezTo>
                  <a:pt x="2270" y="935"/>
                  <a:pt x="2268" y="936"/>
                  <a:pt x="2267" y="937"/>
                </a:cubicBezTo>
                <a:cubicBezTo>
                  <a:pt x="2266" y="939"/>
                  <a:pt x="2265" y="941"/>
                  <a:pt x="2264" y="942"/>
                </a:cubicBezTo>
                <a:cubicBezTo>
                  <a:pt x="2262" y="943"/>
                  <a:pt x="2261" y="944"/>
                  <a:pt x="2259" y="945"/>
                </a:cubicBezTo>
                <a:cubicBezTo>
                  <a:pt x="2259" y="945"/>
                  <a:pt x="2258" y="945"/>
                  <a:pt x="2257" y="945"/>
                </a:cubicBezTo>
                <a:cubicBezTo>
                  <a:pt x="2257" y="946"/>
                  <a:pt x="2256" y="945"/>
                  <a:pt x="2255" y="945"/>
                </a:cubicBezTo>
                <a:cubicBezTo>
                  <a:pt x="2254" y="945"/>
                  <a:pt x="2253" y="946"/>
                  <a:pt x="2252" y="946"/>
                </a:cubicBezTo>
                <a:cubicBezTo>
                  <a:pt x="2251" y="947"/>
                  <a:pt x="2250" y="947"/>
                  <a:pt x="2249" y="948"/>
                </a:cubicBezTo>
                <a:cubicBezTo>
                  <a:pt x="2246" y="950"/>
                  <a:pt x="2244" y="954"/>
                  <a:pt x="2240" y="955"/>
                </a:cubicBezTo>
                <a:cubicBezTo>
                  <a:pt x="2238" y="955"/>
                  <a:pt x="2237" y="955"/>
                  <a:pt x="2235" y="955"/>
                </a:cubicBezTo>
                <a:cubicBezTo>
                  <a:pt x="2233" y="955"/>
                  <a:pt x="2228" y="955"/>
                  <a:pt x="2229" y="958"/>
                </a:cubicBezTo>
                <a:cubicBezTo>
                  <a:pt x="2230" y="959"/>
                  <a:pt x="2230" y="959"/>
                  <a:pt x="2230" y="960"/>
                </a:cubicBezTo>
                <a:cubicBezTo>
                  <a:pt x="2230" y="961"/>
                  <a:pt x="2229" y="962"/>
                  <a:pt x="2228" y="962"/>
                </a:cubicBezTo>
                <a:cubicBezTo>
                  <a:pt x="2227" y="963"/>
                  <a:pt x="2227" y="965"/>
                  <a:pt x="2226" y="966"/>
                </a:cubicBezTo>
                <a:cubicBezTo>
                  <a:pt x="2224" y="968"/>
                  <a:pt x="2223" y="970"/>
                  <a:pt x="2221" y="971"/>
                </a:cubicBezTo>
                <a:cubicBezTo>
                  <a:pt x="2218" y="972"/>
                  <a:pt x="2216" y="973"/>
                  <a:pt x="2214" y="973"/>
                </a:cubicBezTo>
                <a:cubicBezTo>
                  <a:pt x="2212" y="973"/>
                  <a:pt x="2210" y="974"/>
                  <a:pt x="2209" y="975"/>
                </a:cubicBezTo>
                <a:cubicBezTo>
                  <a:pt x="2206" y="976"/>
                  <a:pt x="2203" y="977"/>
                  <a:pt x="2200" y="977"/>
                </a:cubicBezTo>
                <a:cubicBezTo>
                  <a:pt x="2197" y="977"/>
                  <a:pt x="2194" y="977"/>
                  <a:pt x="2191" y="977"/>
                </a:cubicBezTo>
                <a:cubicBezTo>
                  <a:pt x="2190" y="977"/>
                  <a:pt x="2189" y="976"/>
                  <a:pt x="2187" y="975"/>
                </a:cubicBezTo>
                <a:cubicBezTo>
                  <a:pt x="2186" y="975"/>
                  <a:pt x="2184" y="974"/>
                  <a:pt x="2183" y="973"/>
                </a:cubicBezTo>
                <a:cubicBezTo>
                  <a:pt x="2182" y="973"/>
                  <a:pt x="2181" y="972"/>
                  <a:pt x="2180" y="972"/>
                </a:cubicBezTo>
                <a:cubicBezTo>
                  <a:pt x="2179" y="970"/>
                  <a:pt x="2182" y="970"/>
                  <a:pt x="2183" y="970"/>
                </a:cubicBezTo>
                <a:cubicBezTo>
                  <a:pt x="2186" y="970"/>
                  <a:pt x="2189" y="969"/>
                  <a:pt x="2193" y="969"/>
                </a:cubicBezTo>
                <a:cubicBezTo>
                  <a:pt x="2196" y="969"/>
                  <a:pt x="2200" y="967"/>
                  <a:pt x="2203" y="967"/>
                </a:cubicBezTo>
                <a:cubicBezTo>
                  <a:pt x="2205" y="966"/>
                  <a:pt x="2207" y="966"/>
                  <a:pt x="2209" y="966"/>
                </a:cubicBezTo>
                <a:cubicBezTo>
                  <a:pt x="2211" y="965"/>
                  <a:pt x="2212" y="964"/>
                  <a:pt x="2213" y="963"/>
                </a:cubicBezTo>
                <a:cubicBezTo>
                  <a:pt x="2216" y="961"/>
                  <a:pt x="2218" y="957"/>
                  <a:pt x="2220" y="955"/>
                </a:cubicBezTo>
                <a:cubicBezTo>
                  <a:pt x="2222" y="953"/>
                  <a:pt x="2223" y="952"/>
                  <a:pt x="2224" y="951"/>
                </a:cubicBezTo>
                <a:cubicBezTo>
                  <a:pt x="2226" y="950"/>
                  <a:pt x="2227" y="949"/>
                  <a:pt x="2229" y="948"/>
                </a:cubicBezTo>
                <a:cubicBezTo>
                  <a:pt x="2230" y="948"/>
                  <a:pt x="2230" y="948"/>
                  <a:pt x="2231" y="948"/>
                </a:cubicBezTo>
                <a:cubicBezTo>
                  <a:pt x="2232" y="948"/>
                  <a:pt x="2232" y="947"/>
                  <a:pt x="2233" y="947"/>
                </a:cubicBezTo>
                <a:cubicBezTo>
                  <a:pt x="2234" y="946"/>
                  <a:pt x="2235" y="945"/>
                  <a:pt x="2236" y="944"/>
                </a:cubicBezTo>
                <a:cubicBezTo>
                  <a:pt x="2238" y="944"/>
                  <a:pt x="2238" y="943"/>
                  <a:pt x="2238" y="941"/>
                </a:cubicBezTo>
                <a:cubicBezTo>
                  <a:pt x="2239" y="940"/>
                  <a:pt x="2239" y="940"/>
                  <a:pt x="2240" y="939"/>
                </a:cubicBezTo>
                <a:cubicBezTo>
                  <a:pt x="2240" y="938"/>
                  <a:pt x="2239" y="937"/>
                  <a:pt x="2239" y="936"/>
                </a:cubicBezTo>
                <a:cubicBezTo>
                  <a:pt x="2240" y="936"/>
                  <a:pt x="2240" y="935"/>
                  <a:pt x="2241" y="935"/>
                </a:cubicBezTo>
                <a:cubicBezTo>
                  <a:pt x="2242" y="934"/>
                  <a:pt x="2243" y="933"/>
                  <a:pt x="2244" y="932"/>
                </a:cubicBezTo>
                <a:cubicBezTo>
                  <a:pt x="2246" y="931"/>
                  <a:pt x="2248" y="930"/>
                  <a:pt x="2249" y="929"/>
                </a:cubicBezTo>
                <a:cubicBezTo>
                  <a:pt x="2251" y="928"/>
                  <a:pt x="2252" y="927"/>
                  <a:pt x="2254" y="926"/>
                </a:cubicBezTo>
                <a:cubicBezTo>
                  <a:pt x="2254" y="925"/>
                  <a:pt x="2255" y="924"/>
                  <a:pt x="2256" y="924"/>
                </a:cubicBezTo>
                <a:cubicBezTo>
                  <a:pt x="2256" y="923"/>
                  <a:pt x="2257" y="922"/>
                  <a:pt x="2258" y="922"/>
                </a:cubicBezTo>
                <a:cubicBezTo>
                  <a:pt x="2260" y="920"/>
                  <a:pt x="2261" y="919"/>
                  <a:pt x="2263" y="918"/>
                </a:cubicBezTo>
                <a:cubicBezTo>
                  <a:pt x="2264" y="917"/>
                  <a:pt x="2265" y="915"/>
                  <a:pt x="2267" y="913"/>
                </a:cubicBezTo>
                <a:cubicBezTo>
                  <a:pt x="2268" y="912"/>
                  <a:pt x="2269" y="910"/>
                  <a:pt x="2270" y="908"/>
                </a:cubicBezTo>
                <a:cubicBezTo>
                  <a:pt x="2271" y="907"/>
                  <a:pt x="2272" y="906"/>
                  <a:pt x="2272" y="905"/>
                </a:cubicBezTo>
                <a:cubicBezTo>
                  <a:pt x="2273" y="903"/>
                  <a:pt x="2274" y="902"/>
                  <a:pt x="2275" y="901"/>
                </a:cubicBezTo>
                <a:cubicBezTo>
                  <a:pt x="2276" y="899"/>
                  <a:pt x="2277" y="896"/>
                  <a:pt x="2278" y="894"/>
                </a:cubicBezTo>
                <a:cubicBezTo>
                  <a:pt x="2279" y="893"/>
                  <a:pt x="2279" y="892"/>
                  <a:pt x="2280" y="891"/>
                </a:cubicBezTo>
                <a:cubicBezTo>
                  <a:pt x="2280" y="889"/>
                  <a:pt x="2280" y="889"/>
                  <a:pt x="2281" y="888"/>
                </a:cubicBezTo>
                <a:cubicBezTo>
                  <a:pt x="2282" y="887"/>
                  <a:pt x="2282" y="886"/>
                  <a:pt x="2282" y="885"/>
                </a:cubicBezTo>
                <a:cubicBezTo>
                  <a:pt x="2283" y="884"/>
                  <a:pt x="2283" y="883"/>
                  <a:pt x="2283" y="882"/>
                </a:cubicBezTo>
                <a:cubicBezTo>
                  <a:pt x="2283" y="880"/>
                  <a:pt x="2284" y="879"/>
                  <a:pt x="2284" y="878"/>
                </a:cubicBezTo>
                <a:cubicBezTo>
                  <a:pt x="2284" y="877"/>
                  <a:pt x="2285" y="876"/>
                  <a:pt x="2285" y="876"/>
                </a:cubicBezTo>
                <a:cubicBezTo>
                  <a:pt x="2285" y="875"/>
                  <a:pt x="2285" y="874"/>
                  <a:pt x="2285" y="874"/>
                </a:cubicBezTo>
                <a:cubicBezTo>
                  <a:pt x="2286" y="872"/>
                  <a:pt x="2287" y="870"/>
                  <a:pt x="2288" y="869"/>
                </a:cubicBezTo>
                <a:cubicBezTo>
                  <a:pt x="2288" y="868"/>
                  <a:pt x="2289" y="868"/>
                  <a:pt x="2290" y="867"/>
                </a:cubicBezTo>
                <a:cubicBezTo>
                  <a:pt x="2290" y="866"/>
                  <a:pt x="2291" y="865"/>
                  <a:pt x="2292" y="864"/>
                </a:cubicBezTo>
                <a:cubicBezTo>
                  <a:pt x="2292" y="863"/>
                  <a:pt x="2294" y="862"/>
                  <a:pt x="2295" y="862"/>
                </a:cubicBezTo>
                <a:cubicBezTo>
                  <a:pt x="2296" y="862"/>
                  <a:pt x="2297" y="862"/>
                  <a:pt x="2298" y="862"/>
                </a:cubicBezTo>
                <a:cubicBezTo>
                  <a:pt x="2299" y="862"/>
                  <a:pt x="2300" y="862"/>
                  <a:pt x="2300" y="863"/>
                </a:cubicBezTo>
                <a:cubicBezTo>
                  <a:pt x="2301" y="863"/>
                  <a:pt x="2301" y="863"/>
                  <a:pt x="2301" y="864"/>
                </a:cubicBezTo>
                <a:cubicBezTo>
                  <a:pt x="2302" y="865"/>
                  <a:pt x="2301" y="865"/>
                  <a:pt x="2300" y="866"/>
                </a:cubicBezTo>
                <a:close/>
                <a:moveTo>
                  <a:pt x="2837" y="880"/>
                </a:moveTo>
                <a:cubicBezTo>
                  <a:pt x="2835" y="880"/>
                  <a:pt x="2835" y="881"/>
                  <a:pt x="2833" y="881"/>
                </a:cubicBezTo>
                <a:cubicBezTo>
                  <a:pt x="2833" y="882"/>
                  <a:pt x="2832" y="881"/>
                  <a:pt x="2831" y="882"/>
                </a:cubicBezTo>
                <a:cubicBezTo>
                  <a:pt x="2830" y="883"/>
                  <a:pt x="2831" y="884"/>
                  <a:pt x="2830" y="885"/>
                </a:cubicBezTo>
                <a:cubicBezTo>
                  <a:pt x="2830" y="886"/>
                  <a:pt x="2829" y="886"/>
                  <a:pt x="2830" y="886"/>
                </a:cubicBezTo>
                <a:cubicBezTo>
                  <a:pt x="2830" y="887"/>
                  <a:pt x="2830" y="887"/>
                  <a:pt x="2831" y="887"/>
                </a:cubicBezTo>
                <a:cubicBezTo>
                  <a:pt x="2832" y="887"/>
                  <a:pt x="2833" y="886"/>
                  <a:pt x="2834" y="885"/>
                </a:cubicBezTo>
                <a:cubicBezTo>
                  <a:pt x="2835" y="885"/>
                  <a:pt x="2836" y="885"/>
                  <a:pt x="2836" y="884"/>
                </a:cubicBezTo>
                <a:cubicBezTo>
                  <a:pt x="2837" y="884"/>
                  <a:pt x="2837" y="883"/>
                  <a:pt x="2838" y="882"/>
                </a:cubicBezTo>
                <a:cubicBezTo>
                  <a:pt x="2838" y="882"/>
                  <a:pt x="2838" y="882"/>
                  <a:pt x="2838" y="881"/>
                </a:cubicBezTo>
                <a:cubicBezTo>
                  <a:pt x="2838" y="880"/>
                  <a:pt x="2838" y="879"/>
                  <a:pt x="2837" y="880"/>
                </a:cubicBezTo>
                <a:close/>
                <a:moveTo>
                  <a:pt x="2846" y="890"/>
                </a:moveTo>
                <a:cubicBezTo>
                  <a:pt x="2846" y="890"/>
                  <a:pt x="2846" y="891"/>
                  <a:pt x="2847" y="891"/>
                </a:cubicBezTo>
                <a:cubicBezTo>
                  <a:pt x="2848" y="892"/>
                  <a:pt x="2847" y="892"/>
                  <a:pt x="2848" y="893"/>
                </a:cubicBezTo>
                <a:cubicBezTo>
                  <a:pt x="2848" y="895"/>
                  <a:pt x="2850" y="892"/>
                  <a:pt x="2851" y="891"/>
                </a:cubicBezTo>
                <a:cubicBezTo>
                  <a:pt x="2852" y="890"/>
                  <a:pt x="2853" y="888"/>
                  <a:pt x="2854" y="886"/>
                </a:cubicBezTo>
                <a:cubicBezTo>
                  <a:pt x="2855" y="885"/>
                  <a:pt x="2856" y="885"/>
                  <a:pt x="2857" y="884"/>
                </a:cubicBezTo>
                <a:cubicBezTo>
                  <a:pt x="2857" y="884"/>
                  <a:pt x="2859" y="883"/>
                  <a:pt x="2859" y="882"/>
                </a:cubicBezTo>
                <a:cubicBezTo>
                  <a:pt x="2859" y="881"/>
                  <a:pt x="2858" y="881"/>
                  <a:pt x="2857" y="881"/>
                </a:cubicBezTo>
                <a:cubicBezTo>
                  <a:pt x="2856" y="881"/>
                  <a:pt x="2856" y="882"/>
                  <a:pt x="2855" y="882"/>
                </a:cubicBezTo>
                <a:cubicBezTo>
                  <a:pt x="2855" y="881"/>
                  <a:pt x="2854" y="881"/>
                  <a:pt x="2854" y="880"/>
                </a:cubicBezTo>
                <a:cubicBezTo>
                  <a:pt x="2852" y="879"/>
                  <a:pt x="2851" y="879"/>
                  <a:pt x="2850" y="879"/>
                </a:cubicBezTo>
                <a:cubicBezTo>
                  <a:pt x="2849" y="879"/>
                  <a:pt x="2849" y="878"/>
                  <a:pt x="2848" y="878"/>
                </a:cubicBezTo>
                <a:cubicBezTo>
                  <a:pt x="2847" y="877"/>
                  <a:pt x="2846" y="878"/>
                  <a:pt x="2846" y="878"/>
                </a:cubicBezTo>
                <a:cubicBezTo>
                  <a:pt x="2844" y="879"/>
                  <a:pt x="2845" y="881"/>
                  <a:pt x="2844" y="882"/>
                </a:cubicBezTo>
                <a:cubicBezTo>
                  <a:pt x="2843" y="883"/>
                  <a:pt x="2842" y="883"/>
                  <a:pt x="2842" y="884"/>
                </a:cubicBezTo>
                <a:cubicBezTo>
                  <a:pt x="2842" y="884"/>
                  <a:pt x="2842" y="885"/>
                  <a:pt x="2841" y="886"/>
                </a:cubicBezTo>
                <a:cubicBezTo>
                  <a:pt x="2841" y="886"/>
                  <a:pt x="2838" y="888"/>
                  <a:pt x="2840" y="889"/>
                </a:cubicBezTo>
                <a:cubicBezTo>
                  <a:pt x="2841" y="890"/>
                  <a:pt x="2842" y="887"/>
                  <a:pt x="2843" y="887"/>
                </a:cubicBezTo>
                <a:cubicBezTo>
                  <a:pt x="2844" y="887"/>
                  <a:pt x="2845" y="888"/>
                  <a:pt x="2846" y="889"/>
                </a:cubicBezTo>
                <a:cubicBezTo>
                  <a:pt x="2846" y="889"/>
                  <a:pt x="2846" y="889"/>
                  <a:pt x="2846" y="890"/>
                </a:cubicBezTo>
                <a:close/>
                <a:moveTo>
                  <a:pt x="162" y="1286"/>
                </a:moveTo>
                <a:cubicBezTo>
                  <a:pt x="163" y="1288"/>
                  <a:pt x="164" y="1285"/>
                  <a:pt x="165" y="1285"/>
                </a:cubicBezTo>
                <a:cubicBezTo>
                  <a:pt x="165" y="1284"/>
                  <a:pt x="166" y="1283"/>
                  <a:pt x="167" y="1282"/>
                </a:cubicBezTo>
                <a:cubicBezTo>
                  <a:pt x="167" y="1282"/>
                  <a:pt x="168" y="1282"/>
                  <a:pt x="168" y="1281"/>
                </a:cubicBezTo>
                <a:cubicBezTo>
                  <a:pt x="168" y="1281"/>
                  <a:pt x="167" y="1281"/>
                  <a:pt x="166" y="1280"/>
                </a:cubicBezTo>
                <a:cubicBezTo>
                  <a:pt x="166" y="1280"/>
                  <a:pt x="166" y="1280"/>
                  <a:pt x="165" y="1279"/>
                </a:cubicBezTo>
                <a:cubicBezTo>
                  <a:pt x="164" y="1279"/>
                  <a:pt x="163" y="1281"/>
                  <a:pt x="163" y="1281"/>
                </a:cubicBezTo>
                <a:cubicBezTo>
                  <a:pt x="162" y="1282"/>
                  <a:pt x="161" y="1282"/>
                  <a:pt x="161" y="1283"/>
                </a:cubicBezTo>
                <a:cubicBezTo>
                  <a:pt x="160" y="1284"/>
                  <a:pt x="161" y="1284"/>
                  <a:pt x="161" y="1284"/>
                </a:cubicBezTo>
                <a:cubicBezTo>
                  <a:pt x="162" y="1285"/>
                  <a:pt x="162" y="1285"/>
                  <a:pt x="162" y="1286"/>
                </a:cubicBezTo>
                <a:close/>
                <a:moveTo>
                  <a:pt x="3212" y="997"/>
                </a:moveTo>
                <a:cubicBezTo>
                  <a:pt x="3212" y="995"/>
                  <a:pt x="3210" y="996"/>
                  <a:pt x="3209" y="996"/>
                </a:cubicBezTo>
                <a:cubicBezTo>
                  <a:pt x="3207" y="996"/>
                  <a:pt x="3207" y="997"/>
                  <a:pt x="3206" y="999"/>
                </a:cubicBezTo>
                <a:cubicBezTo>
                  <a:pt x="3206" y="1001"/>
                  <a:pt x="3205" y="1002"/>
                  <a:pt x="3204" y="1003"/>
                </a:cubicBezTo>
                <a:cubicBezTo>
                  <a:pt x="3204" y="1005"/>
                  <a:pt x="3203" y="1007"/>
                  <a:pt x="3201" y="1007"/>
                </a:cubicBezTo>
                <a:cubicBezTo>
                  <a:pt x="3200" y="1007"/>
                  <a:pt x="3199" y="1006"/>
                  <a:pt x="3198" y="1006"/>
                </a:cubicBezTo>
                <a:cubicBezTo>
                  <a:pt x="3197" y="1007"/>
                  <a:pt x="3197" y="1007"/>
                  <a:pt x="3196" y="1008"/>
                </a:cubicBezTo>
                <a:cubicBezTo>
                  <a:pt x="3195" y="1008"/>
                  <a:pt x="3193" y="1009"/>
                  <a:pt x="3194" y="1010"/>
                </a:cubicBezTo>
                <a:cubicBezTo>
                  <a:pt x="3196" y="1011"/>
                  <a:pt x="3193" y="1012"/>
                  <a:pt x="3194" y="1013"/>
                </a:cubicBezTo>
                <a:cubicBezTo>
                  <a:pt x="3194" y="1014"/>
                  <a:pt x="3194" y="1014"/>
                  <a:pt x="3195" y="1015"/>
                </a:cubicBezTo>
                <a:cubicBezTo>
                  <a:pt x="3196" y="1015"/>
                  <a:pt x="3195" y="1016"/>
                  <a:pt x="3196" y="1016"/>
                </a:cubicBezTo>
                <a:cubicBezTo>
                  <a:pt x="3197" y="1018"/>
                  <a:pt x="3198" y="1016"/>
                  <a:pt x="3199" y="1015"/>
                </a:cubicBezTo>
                <a:cubicBezTo>
                  <a:pt x="3200" y="1014"/>
                  <a:pt x="3201" y="1013"/>
                  <a:pt x="3202" y="1012"/>
                </a:cubicBezTo>
                <a:cubicBezTo>
                  <a:pt x="3202" y="1011"/>
                  <a:pt x="3204" y="1009"/>
                  <a:pt x="3205" y="1008"/>
                </a:cubicBezTo>
                <a:cubicBezTo>
                  <a:pt x="3207" y="1006"/>
                  <a:pt x="3212" y="1006"/>
                  <a:pt x="3211" y="1002"/>
                </a:cubicBezTo>
                <a:cubicBezTo>
                  <a:pt x="3211" y="1001"/>
                  <a:pt x="3211" y="1000"/>
                  <a:pt x="3211" y="1000"/>
                </a:cubicBezTo>
                <a:cubicBezTo>
                  <a:pt x="3212" y="999"/>
                  <a:pt x="3212" y="998"/>
                  <a:pt x="3212" y="997"/>
                </a:cubicBezTo>
                <a:close/>
                <a:moveTo>
                  <a:pt x="3784" y="967"/>
                </a:moveTo>
                <a:cubicBezTo>
                  <a:pt x="3784" y="966"/>
                  <a:pt x="3785" y="965"/>
                  <a:pt x="3783" y="965"/>
                </a:cubicBezTo>
                <a:cubicBezTo>
                  <a:pt x="3783" y="965"/>
                  <a:pt x="3782" y="966"/>
                  <a:pt x="3782" y="967"/>
                </a:cubicBezTo>
                <a:cubicBezTo>
                  <a:pt x="3782" y="967"/>
                  <a:pt x="3783" y="967"/>
                  <a:pt x="3784" y="967"/>
                </a:cubicBezTo>
                <a:close/>
                <a:moveTo>
                  <a:pt x="3793" y="965"/>
                </a:moveTo>
                <a:cubicBezTo>
                  <a:pt x="3794" y="965"/>
                  <a:pt x="3794" y="964"/>
                  <a:pt x="3795" y="964"/>
                </a:cubicBezTo>
                <a:cubicBezTo>
                  <a:pt x="3796" y="963"/>
                  <a:pt x="3796" y="962"/>
                  <a:pt x="3796" y="961"/>
                </a:cubicBezTo>
                <a:cubicBezTo>
                  <a:pt x="3796" y="960"/>
                  <a:pt x="3794" y="960"/>
                  <a:pt x="3793" y="960"/>
                </a:cubicBezTo>
                <a:cubicBezTo>
                  <a:pt x="3792" y="959"/>
                  <a:pt x="3792" y="959"/>
                  <a:pt x="3792" y="959"/>
                </a:cubicBezTo>
                <a:cubicBezTo>
                  <a:pt x="3791" y="959"/>
                  <a:pt x="3790" y="960"/>
                  <a:pt x="3790" y="961"/>
                </a:cubicBezTo>
                <a:cubicBezTo>
                  <a:pt x="3790" y="962"/>
                  <a:pt x="3789" y="962"/>
                  <a:pt x="3788" y="962"/>
                </a:cubicBezTo>
                <a:cubicBezTo>
                  <a:pt x="3786" y="963"/>
                  <a:pt x="3788" y="963"/>
                  <a:pt x="3789" y="963"/>
                </a:cubicBezTo>
                <a:cubicBezTo>
                  <a:pt x="3791" y="963"/>
                  <a:pt x="3791" y="964"/>
                  <a:pt x="3791" y="964"/>
                </a:cubicBezTo>
                <a:cubicBezTo>
                  <a:pt x="3791" y="964"/>
                  <a:pt x="3791" y="964"/>
                  <a:pt x="3791" y="965"/>
                </a:cubicBezTo>
                <a:cubicBezTo>
                  <a:pt x="3791" y="966"/>
                  <a:pt x="3789" y="966"/>
                  <a:pt x="3788" y="966"/>
                </a:cubicBezTo>
                <a:cubicBezTo>
                  <a:pt x="3787" y="965"/>
                  <a:pt x="3785" y="967"/>
                  <a:pt x="3785" y="968"/>
                </a:cubicBezTo>
                <a:cubicBezTo>
                  <a:pt x="3784" y="969"/>
                  <a:pt x="3784" y="969"/>
                  <a:pt x="3783" y="968"/>
                </a:cubicBezTo>
                <a:cubicBezTo>
                  <a:pt x="3782" y="968"/>
                  <a:pt x="3781" y="969"/>
                  <a:pt x="3780" y="969"/>
                </a:cubicBezTo>
                <a:cubicBezTo>
                  <a:pt x="3780" y="969"/>
                  <a:pt x="3779" y="970"/>
                  <a:pt x="3778" y="969"/>
                </a:cubicBezTo>
                <a:cubicBezTo>
                  <a:pt x="3777" y="969"/>
                  <a:pt x="3777" y="970"/>
                  <a:pt x="3776" y="970"/>
                </a:cubicBezTo>
                <a:cubicBezTo>
                  <a:pt x="3775" y="971"/>
                  <a:pt x="3774" y="971"/>
                  <a:pt x="3774" y="971"/>
                </a:cubicBezTo>
                <a:cubicBezTo>
                  <a:pt x="3773" y="970"/>
                  <a:pt x="3772" y="970"/>
                  <a:pt x="3772" y="971"/>
                </a:cubicBezTo>
                <a:cubicBezTo>
                  <a:pt x="3771" y="971"/>
                  <a:pt x="3769" y="972"/>
                  <a:pt x="3769" y="972"/>
                </a:cubicBezTo>
                <a:cubicBezTo>
                  <a:pt x="3769" y="973"/>
                  <a:pt x="3771" y="973"/>
                  <a:pt x="3771" y="972"/>
                </a:cubicBezTo>
                <a:cubicBezTo>
                  <a:pt x="3772" y="972"/>
                  <a:pt x="3773" y="972"/>
                  <a:pt x="3774" y="972"/>
                </a:cubicBezTo>
                <a:cubicBezTo>
                  <a:pt x="3775" y="972"/>
                  <a:pt x="3776" y="972"/>
                  <a:pt x="3776" y="971"/>
                </a:cubicBezTo>
                <a:cubicBezTo>
                  <a:pt x="3777" y="971"/>
                  <a:pt x="3779" y="971"/>
                  <a:pt x="3779" y="971"/>
                </a:cubicBezTo>
                <a:cubicBezTo>
                  <a:pt x="3780" y="972"/>
                  <a:pt x="3781" y="971"/>
                  <a:pt x="3781" y="971"/>
                </a:cubicBezTo>
                <a:cubicBezTo>
                  <a:pt x="3781" y="970"/>
                  <a:pt x="3782" y="970"/>
                  <a:pt x="3783" y="970"/>
                </a:cubicBezTo>
                <a:cubicBezTo>
                  <a:pt x="3784" y="971"/>
                  <a:pt x="3784" y="970"/>
                  <a:pt x="3785" y="970"/>
                </a:cubicBezTo>
                <a:cubicBezTo>
                  <a:pt x="3786" y="969"/>
                  <a:pt x="3786" y="970"/>
                  <a:pt x="3787" y="971"/>
                </a:cubicBezTo>
                <a:cubicBezTo>
                  <a:pt x="3787" y="971"/>
                  <a:pt x="3788" y="969"/>
                  <a:pt x="3789" y="969"/>
                </a:cubicBezTo>
                <a:cubicBezTo>
                  <a:pt x="3789" y="968"/>
                  <a:pt x="3790" y="968"/>
                  <a:pt x="3791" y="968"/>
                </a:cubicBezTo>
                <a:cubicBezTo>
                  <a:pt x="3791" y="969"/>
                  <a:pt x="3793" y="969"/>
                  <a:pt x="3793" y="969"/>
                </a:cubicBezTo>
                <a:cubicBezTo>
                  <a:pt x="3794" y="968"/>
                  <a:pt x="3794" y="967"/>
                  <a:pt x="3793" y="967"/>
                </a:cubicBezTo>
                <a:cubicBezTo>
                  <a:pt x="3792" y="967"/>
                  <a:pt x="3792" y="966"/>
                  <a:pt x="3793" y="965"/>
                </a:cubicBezTo>
                <a:close/>
                <a:moveTo>
                  <a:pt x="3827" y="959"/>
                </a:moveTo>
                <a:cubicBezTo>
                  <a:pt x="3826" y="958"/>
                  <a:pt x="3826" y="959"/>
                  <a:pt x="3826" y="959"/>
                </a:cubicBezTo>
                <a:cubicBezTo>
                  <a:pt x="3824" y="959"/>
                  <a:pt x="3824" y="960"/>
                  <a:pt x="3823" y="961"/>
                </a:cubicBezTo>
                <a:cubicBezTo>
                  <a:pt x="3822" y="962"/>
                  <a:pt x="3823" y="963"/>
                  <a:pt x="3824" y="963"/>
                </a:cubicBezTo>
                <a:cubicBezTo>
                  <a:pt x="3825" y="963"/>
                  <a:pt x="3825" y="962"/>
                  <a:pt x="3826" y="961"/>
                </a:cubicBezTo>
                <a:cubicBezTo>
                  <a:pt x="3826" y="961"/>
                  <a:pt x="3827" y="961"/>
                  <a:pt x="3828" y="961"/>
                </a:cubicBezTo>
                <a:cubicBezTo>
                  <a:pt x="3829" y="961"/>
                  <a:pt x="3829" y="960"/>
                  <a:pt x="3829" y="959"/>
                </a:cubicBezTo>
                <a:cubicBezTo>
                  <a:pt x="3829" y="958"/>
                  <a:pt x="3828" y="959"/>
                  <a:pt x="3827" y="959"/>
                </a:cubicBezTo>
                <a:close/>
                <a:moveTo>
                  <a:pt x="3765" y="972"/>
                </a:moveTo>
                <a:cubicBezTo>
                  <a:pt x="3765" y="972"/>
                  <a:pt x="3765" y="972"/>
                  <a:pt x="3765" y="973"/>
                </a:cubicBezTo>
                <a:cubicBezTo>
                  <a:pt x="3765" y="974"/>
                  <a:pt x="3766" y="973"/>
                  <a:pt x="3766" y="973"/>
                </a:cubicBezTo>
                <a:cubicBezTo>
                  <a:pt x="3766" y="972"/>
                  <a:pt x="3766" y="971"/>
                  <a:pt x="3765" y="972"/>
                </a:cubicBezTo>
                <a:close/>
                <a:moveTo>
                  <a:pt x="3811" y="967"/>
                </a:moveTo>
                <a:cubicBezTo>
                  <a:pt x="3809" y="968"/>
                  <a:pt x="3807" y="967"/>
                  <a:pt x="3807" y="967"/>
                </a:cubicBezTo>
                <a:cubicBezTo>
                  <a:pt x="3806" y="967"/>
                  <a:pt x="3805" y="967"/>
                  <a:pt x="3805" y="967"/>
                </a:cubicBezTo>
                <a:cubicBezTo>
                  <a:pt x="3804" y="966"/>
                  <a:pt x="3803" y="967"/>
                  <a:pt x="3801" y="967"/>
                </a:cubicBezTo>
                <a:cubicBezTo>
                  <a:pt x="3800" y="968"/>
                  <a:pt x="3799" y="968"/>
                  <a:pt x="3798" y="968"/>
                </a:cubicBezTo>
                <a:cubicBezTo>
                  <a:pt x="3797" y="968"/>
                  <a:pt x="3797" y="967"/>
                  <a:pt x="3795" y="967"/>
                </a:cubicBezTo>
                <a:cubicBezTo>
                  <a:pt x="3794" y="968"/>
                  <a:pt x="3796" y="968"/>
                  <a:pt x="3797" y="969"/>
                </a:cubicBezTo>
                <a:cubicBezTo>
                  <a:pt x="3798" y="970"/>
                  <a:pt x="3799" y="970"/>
                  <a:pt x="3801" y="969"/>
                </a:cubicBezTo>
                <a:cubicBezTo>
                  <a:pt x="3802" y="969"/>
                  <a:pt x="3804" y="969"/>
                  <a:pt x="3805" y="970"/>
                </a:cubicBezTo>
                <a:cubicBezTo>
                  <a:pt x="3805" y="970"/>
                  <a:pt x="3809" y="969"/>
                  <a:pt x="3810" y="968"/>
                </a:cubicBezTo>
                <a:cubicBezTo>
                  <a:pt x="3812" y="968"/>
                  <a:pt x="3814" y="968"/>
                  <a:pt x="3816" y="968"/>
                </a:cubicBezTo>
                <a:cubicBezTo>
                  <a:pt x="3817" y="967"/>
                  <a:pt x="3816" y="967"/>
                  <a:pt x="3815" y="967"/>
                </a:cubicBezTo>
                <a:cubicBezTo>
                  <a:pt x="3814" y="967"/>
                  <a:pt x="3813" y="967"/>
                  <a:pt x="3811" y="967"/>
                </a:cubicBezTo>
                <a:close/>
                <a:moveTo>
                  <a:pt x="3565" y="943"/>
                </a:moveTo>
                <a:cubicBezTo>
                  <a:pt x="3565" y="943"/>
                  <a:pt x="3564" y="943"/>
                  <a:pt x="3564" y="944"/>
                </a:cubicBezTo>
                <a:cubicBezTo>
                  <a:pt x="3564" y="945"/>
                  <a:pt x="3565" y="944"/>
                  <a:pt x="3566" y="945"/>
                </a:cubicBezTo>
                <a:cubicBezTo>
                  <a:pt x="3566" y="946"/>
                  <a:pt x="3567" y="945"/>
                  <a:pt x="3566" y="944"/>
                </a:cubicBezTo>
                <a:cubicBezTo>
                  <a:pt x="3566" y="943"/>
                  <a:pt x="3565" y="943"/>
                  <a:pt x="3565" y="943"/>
                </a:cubicBezTo>
                <a:close/>
                <a:moveTo>
                  <a:pt x="3597" y="957"/>
                </a:moveTo>
                <a:cubicBezTo>
                  <a:pt x="3597" y="957"/>
                  <a:pt x="3597" y="957"/>
                  <a:pt x="3597" y="959"/>
                </a:cubicBezTo>
                <a:cubicBezTo>
                  <a:pt x="3598" y="960"/>
                  <a:pt x="3599" y="960"/>
                  <a:pt x="3599" y="959"/>
                </a:cubicBezTo>
                <a:cubicBezTo>
                  <a:pt x="3599" y="958"/>
                  <a:pt x="3599" y="957"/>
                  <a:pt x="3597" y="957"/>
                </a:cubicBezTo>
                <a:close/>
                <a:moveTo>
                  <a:pt x="3640" y="970"/>
                </a:moveTo>
                <a:cubicBezTo>
                  <a:pt x="3640" y="970"/>
                  <a:pt x="3639" y="969"/>
                  <a:pt x="3639" y="969"/>
                </a:cubicBezTo>
                <a:cubicBezTo>
                  <a:pt x="3637" y="969"/>
                  <a:pt x="3638" y="971"/>
                  <a:pt x="3638" y="971"/>
                </a:cubicBezTo>
                <a:cubicBezTo>
                  <a:pt x="3639" y="972"/>
                  <a:pt x="3640" y="971"/>
                  <a:pt x="3640" y="970"/>
                </a:cubicBezTo>
                <a:close/>
                <a:moveTo>
                  <a:pt x="3561" y="941"/>
                </a:moveTo>
                <a:cubicBezTo>
                  <a:pt x="3561" y="941"/>
                  <a:pt x="3560" y="942"/>
                  <a:pt x="3561" y="943"/>
                </a:cubicBezTo>
                <a:cubicBezTo>
                  <a:pt x="3561" y="943"/>
                  <a:pt x="3561" y="943"/>
                  <a:pt x="3562" y="943"/>
                </a:cubicBezTo>
                <a:cubicBezTo>
                  <a:pt x="3562" y="943"/>
                  <a:pt x="3562" y="942"/>
                  <a:pt x="3562" y="941"/>
                </a:cubicBezTo>
                <a:cubicBezTo>
                  <a:pt x="3562" y="941"/>
                  <a:pt x="3561" y="941"/>
                  <a:pt x="3561" y="941"/>
                </a:cubicBezTo>
                <a:close/>
                <a:moveTo>
                  <a:pt x="3627" y="971"/>
                </a:moveTo>
                <a:cubicBezTo>
                  <a:pt x="3626" y="970"/>
                  <a:pt x="3629" y="969"/>
                  <a:pt x="3629" y="969"/>
                </a:cubicBezTo>
                <a:cubicBezTo>
                  <a:pt x="3631" y="968"/>
                  <a:pt x="3628" y="967"/>
                  <a:pt x="3627" y="968"/>
                </a:cubicBezTo>
                <a:cubicBezTo>
                  <a:pt x="3625" y="969"/>
                  <a:pt x="3625" y="970"/>
                  <a:pt x="3624" y="971"/>
                </a:cubicBezTo>
                <a:cubicBezTo>
                  <a:pt x="3623" y="972"/>
                  <a:pt x="3620" y="973"/>
                  <a:pt x="3619" y="974"/>
                </a:cubicBezTo>
                <a:cubicBezTo>
                  <a:pt x="3618" y="975"/>
                  <a:pt x="3620" y="975"/>
                  <a:pt x="3621" y="975"/>
                </a:cubicBezTo>
                <a:cubicBezTo>
                  <a:pt x="3622" y="976"/>
                  <a:pt x="3622" y="975"/>
                  <a:pt x="3622" y="974"/>
                </a:cubicBezTo>
                <a:cubicBezTo>
                  <a:pt x="3623" y="973"/>
                  <a:pt x="3624" y="973"/>
                  <a:pt x="3624" y="973"/>
                </a:cubicBezTo>
                <a:cubicBezTo>
                  <a:pt x="3625" y="974"/>
                  <a:pt x="3625" y="973"/>
                  <a:pt x="3626" y="973"/>
                </a:cubicBezTo>
                <a:cubicBezTo>
                  <a:pt x="3627" y="974"/>
                  <a:pt x="3629" y="973"/>
                  <a:pt x="3630" y="972"/>
                </a:cubicBezTo>
                <a:cubicBezTo>
                  <a:pt x="3630" y="971"/>
                  <a:pt x="3628" y="971"/>
                  <a:pt x="3627" y="971"/>
                </a:cubicBezTo>
                <a:close/>
                <a:moveTo>
                  <a:pt x="3641" y="976"/>
                </a:moveTo>
                <a:cubicBezTo>
                  <a:pt x="3640" y="976"/>
                  <a:pt x="3640" y="975"/>
                  <a:pt x="3639" y="975"/>
                </a:cubicBezTo>
                <a:cubicBezTo>
                  <a:pt x="3639" y="975"/>
                  <a:pt x="3639" y="977"/>
                  <a:pt x="3639" y="977"/>
                </a:cubicBezTo>
                <a:cubicBezTo>
                  <a:pt x="3640" y="977"/>
                  <a:pt x="3641" y="978"/>
                  <a:pt x="3642" y="978"/>
                </a:cubicBezTo>
                <a:cubicBezTo>
                  <a:pt x="3643" y="979"/>
                  <a:pt x="3643" y="978"/>
                  <a:pt x="3642" y="977"/>
                </a:cubicBezTo>
                <a:cubicBezTo>
                  <a:pt x="3642" y="976"/>
                  <a:pt x="3641" y="976"/>
                  <a:pt x="3641" y="976"/>
                </a:cubicBezTo>
                <a:close/>
                <a:moveTo>
                  <a:pt x="3418" y="887"/>
                </a:moveTo>
                <a:cubicBezTo>
                  <a:pt x="3417" y="886"/>
                  <a:pt x="3417" y="886"/>
                  <a:pt x="3417" y="886"/>
                </a:cubicBezTo>
                <a:cubicBezTo>
                  <a:pt x="3416" y="885"/>
                  <a:pt x="3415" y="885"/>
                  <a:pt x="3415" y="884"/>
                </a:cubicBezTo>
                <a:cubicBezTo>
                  <a:pt x="3414" y="882"/>
                  <a:pt x="3414" y="882"/>
                  <a:pt x="3413" y="881"/>
                </a:cubicBezTo>
                <a:cubicBezTo>
                  <a:pt x="3413" y="881"/>
                  <a:pt x="3413" y="880"/>
                  <a:pt x="3412" y="880"/>
                </a:cubicBezTo>
                <a:cubicBezTo>
                  <a:pt x="3412" y="879"/>
                  <a:pt x="3412" y="879"/>
                  <a:pt x="3411" y="879"/>
                </a:cubicBezTo>
                <a:cubicBezTo>
                  <a:pt x="3411" y="878"/>
                  <a:pt x="3411" y="877"/>
                  <a:pt x="3411" y="876"/>
                </a:cubicBezTo>
                <a:cubicBezTo>
                  <a:pt x="3411" y="875"/>
                  <a:pt x="3412" y="875"/>
                  <a:pt x="3411" y="874"/>
                </a:cubicBezTo>
                <a:cubicBezTo>
                  <a:pt x="3411" y="874"/>
                  <a:pt x="3410" y="874"/>
                  <a:pt x="3410" y="874"/>
                </a:cubicBezTo>
                <a:cubicBezTo>
                  <a:pt x="3408" y="875"/>
                  <a:pt x="3406" y="874"/>
                  <a:pt x="3404" y="875"/>
                </a:cubicBezTo>
                <a:cubicBezTo>
                  <a:pt x="3404" y="875"/>
                  <a:pt x="3403" y="875"/>
                  <a:pt x="3403" y="875"/>
                </a:cubicBezTo>
                <a:cubicBezTo>
                  <a:pt x="3403" y="875"/>
                  <a:pt x="3402" y="875"/>
                  <a:pt x="3402" y="875"/>
                </a:cubicBezTo>
                <a:cubicBezTo>
                  <a:pt x="3402" y="876"/>
                  <a:pt x="3404" y="876"/>
                  <a:pt x="3404" y="876"/>
                </a:cubicBezTo>
                <a:cubicBezTo>
                  <a:pt x="3405" y="877"/>
                  <a:pt x="3405" y="877"/>
                  <a:pt x="3405" y="877"/>
                </a:cubicBezTo>
                <a:cubicBezTo>
                  <a:pt x="3405" y="878"/>
                  <a:pt x="3406" y="878"/>
                  <a:pt x="3406" y="878"/>
                </a:cubicBezTo>
                <a:cubicBezTo>
                  <a:pt x="3406" y="879"/>
                  <a:pt x="3407" y="879"/>
                  <a:pt x="3407" y="879"/>
                </a:cubicBezTo>
                <a:cubicBezTo>
                  <a:pt x="3407" y="880"/>
                  <a:pt x="3407" y="880"/>
                  <a:pt x="3407" y="880"/>
                </a:cubicBezTo>
                <a:cubicBezTo>
                  <a:pt x="3408" y="881"/>
                  <a:pt x="3408" y="881"/>
                  <a:pt x="3408" y="881"/>
                </a:cubicBezTo>
                <a:cubicBezTo>
                  <a:pt x="3408" y="882"/>
                  <a:pt x="3408" y="882"/>
                  <a:pt x="3409" y="883"/>
                </a:cubicBezTo>
                <a:cubicBezTo>
                  <a:pt x="3409" y="883"/>
                  <a:pt x="3410" y="883"/>
                  <a:pt x="3410" y="884"/>
                </a:cubicBezTo>
                <a:cubicBezTo>
                  <a:pt x="3411" y="884"/>
                  <a:pt x="3412" y="885"/>
                  <a:pt x="3412" y="886"/>
                </a:cubicBezTo>
                <a:cubicBezTo>
                  <a:pt x="3412" y="886"/>
                  <a:pt x="3413" y="887"/>
                  <a:pt x="3413" y="888"/>
                </a:cubicBezTo>
                <a:cubicBezTo>
                  <a:pt x="3413" y="888"/>
                  <a:pt x="3413" y="888"/>
                  <a:pt x="3414" y="889"/>
                </a:cubicBezTo>
                <a:cubicBezTo>
                  <a:pt x="3414" y="889"/>
                  <a:pt x="3415" y="889"/>
                  <a:pt x="3415" y="889"/>
                </a:cubicBezTo>
                <a:cubicBezTo>
                  <a:pt x="3416" y="889"/>
                  <a:pt x="3417" y="889"/>
                  <a:pt x="3417" y="890"/>
                </a:cubicBezTo>
                <a:cubicBezTo>
                  <a:pt x="3417" y="890"/>
                  <a:pt x="3417" y="891"/>
                  <a:pt x="3418" y="891"/>
                </a:cubicBezTo>
                <a:cubicBezTo>
                  <a:pt x="3418" y="891"/>
                  <a:pt x="3419" y="892"/>
                  <a:pt x="3419" y="891"/>
                </a:cubicBezTo>
                <a:cubicBezTo>
                  <a:pt x="3420" y="891"/>
                  <a:pt x="3419" y="891"/>
                  <a:pt x="3419" y="890"/>
                </a:cubicBezTo>
                <a:cubicBezTo>
                  <a:pt x="3420" y="889"/>
                  <a:pt x="3420" y="889"/>
                  <a:pt x="3419" y="888"/>
                </a:cubicBezTo>
                <a:cubicBezTo>
                  <a:pt x="3418" y="887"/>
                  <a:pt x="3418" y="887"/>
                  <a:pt x="3418" y="887"/>
                </a:cubicBezTo>
                <a:close/>
                <a:moveTo>
                  <a:pt x="3379" y="766"/>
                </a:moveTo>
                <a:cubicBezTo>
                  <a:pt x="3379" y="766"/>
                  <a:pt x="3379" y="765"/>
                  <a:pt x="3379" y="764"/>
                </a:cubicBezTo>
                <a:cubicBezTo>
                  <a:pt x="3379" y="763"/>
                  <a:pt x="3378" y="763"/>
                  <a:pt x="3377" y="764"/>
                </a:cubicBezTo>
                <a:cubicBezTo>
                  <a:pt x="3376" y="764"/>
                  <a:pt x="3376" y="764"/>
                  <a:pt x="3375" y="765"/>
                </a:cubicBezTo>
                <a:cubicBezTo>
                  <a:pt x="3375" y="765"/>
                  <a:pt x="3374" y="765"/>
                  <a:pt x="3374" y="766"/>
                </a:cubicBezTo>
                <a:cubicBezTo>
                  <a:pt x="3372" y="766"/>
                  <a:pt x="3371" y="767"/>
                  <a:pt x="3370" y="768"/>
                </a:cubicBezTo>
                <a:cubicBezTo>
                  <a:pt x="3369" y="768"/>
                  <a:pt x="3368" y="768"/>
                  <a:pt x="3367" y="768"/>
                </a:cubicBezTo>
                <a:cubicBezTo>
                  <a:pt x="3366" y="769"/>
                  <a:pt x="3366" y="769"/>
                  <a:pt x="3365" y="769"/>
                </a:cubicBezTo>
                <a:cubicBezTo>
                  <a:pt x="3364" y="769"/>
                  <a:pt x="3363" y="769"/>
                  <a:pt x="3363" y="769"/>
                </a:cubicBezTo>
                <a:cubicBezTo>
                  <a:pt x="3362" y="769"/>
                  <a:pt x="3361" y="770"/>
                  <a:pt x="3362" y="770"/>
                </a:cubicBezTo>
                <a:cubicBezTo>
                  <a:pt x="3363" y="771"/>
                  <a:pt x="3364" y="771"/>
                  <a:pt x="3363" y="772"/>
                </a:cubicBezTo>
                <a:cubicBezTo>
                  <a:pt x="3362" y="773"/>
                  <a:pt x="3361" y="774"/>
                  <a:pt x="3361" y="776"/>
                </a:cubicBezTo>
                <a:cubicBezTo>
                  <a:pt x="3360" y="778"/>
                  <a:pt x="3359" y="781"/>
                  <a:pt x="3356" y="782"/>
                </a:cubicBezTo>
                <a:cubicBezTo>
                  <a:pt x="3356" y="782"/>
                  <a:pt x="3355" y="783"/>
                  <a:pt x="3355" y="783"/>
                </a:cubicBezTo>
                <a:cubicBezTo>
                  <a:pt x="3355" y="784"/>
                  <a:pt x="3355" y="784"/>
                  <a:pt x="3356" y="784"/>
                </a:cubicBezTo>
                <a:cubicBezTo>
                  <a:pt x="3356" y="785"/>
                  <a:pt x="3355" y="787"/>
                  <a:pt x="3356" y="786"/>
                </a:cubicBezTo>
                <a:cubicBezTo>
                  <a:pt x="3357" y="786"/>
                  <a:pt x="3357" y="785"/>
                  <a:pt x="3358" y="784"/>
                </a:cubicBezTo>
                <a:cubicBezTo>
                  <a:pt x="3359" y="784"/>
                  <a:pt x="3359" y="784"/>
                  <a:pt x="3359" y="784"/>
                </a:cubicBezTo>
                <a:cubicBezTo>
                  <a:pt x="3360" y="784"/>
                  <a:pt x="3361" y="783"/>
                  <a:pt x="3361" y="783"/>
                </a:cubicBezTo>
                <a:cubicBezTo>
                  <a:pt x="3362" y="783"/>
                  <a:pt x="3363" y="782"/>
                  <a:pt x="3364" y="782"/>
                </a:cubicBezTo>
                <a:cubicBezTo>
                  <a:pt x="3365" y="781"/>
                  <a:pt x="3367" y="781"/>
                  <a:pt x="3368" y="780"/>
                </a:cubicBezTo>
                <a:cubicBezTo>
                  <a:pt x="3371" y="779"/>
                  <a:pt x="3373" y="776"/>
                  <a:pt x="3376" y="775"/>
                </a:cubicBezTo>
                <a:cubicBezTo>
                  <a:pt x="3377" y="775"/>
                  <a:pt x="3379" y="775"/>
                  <a:pt x="3380" y="774"/>
                </a:cubicBezTo>
                <a:cubicBezTo>
                  <a:pt x="3381" y="773"/>
                  <a:pt x="3381" y="771"/>
                  <a:pt x="3381" y="770"/>
                </a:cubicBezTo>
                <a:cubicBezTo>
                  <a:pt x="3381" y="768"/>
                  <a:pt x="3379" y="767"/>
                  <a:pt x="3379" y="766"/>
                </a:cubicBezTo>
                <a:close/>
                <a:moveTo>
                  <a:pt x="3551" y="940"/>
                </a:moveTo>
                <a:cubicBezTo>
                  <a:pt x="3552" y="940"/>
                  <a:pt x="3553" y="940"/>
                  <a:pt x="3553" y="940"/>
                </a:cubicBezTo>
                <a:cubicBezTo>
                  <a:pt x="3553" y="941"/>
                  <a:pt x="3554" y="941"/>
                  <a:pt x="3554" y="939"/>
                </a:cubicBezTo>
                <a:cubicBezTo>
                  <a:pt x="3553" y="938"/>
                  <a:pt x="3553" y="938"/>
                  <a:pt x="3552" y="938"/>
                </a:cubicBezTo>
                <a:cubicBezTo>
                  <a:pt x="3552" y="937"/>
                  <a:pt x="3551" y="937"/>
                  <a:pt x="3550" y="937"/>
                </a:cubicBezTo>
                <a:cubicBezTo>
                  <a:pt x="3548" y="937"/>
                  <a:pt x="3549" y="936"/>
                  <a:pt x="3549" y="935"/>
                </a:cubicBezTo>
                <a:cubicBezTo>
                  <a:pt x="3548" y="935"/>
                  <a:pt x="3549" y="934"/>
                  <a:pt x="3549" y="934"/>
                </a:cubicBezTo>
                <a:cubicBezTo>
                  <a:pt x="3549" y="934"/>
                  <a:pt x="3548" y="933"/>
                  <a:pt x="3547" y="934"/>
                </a:cubicBezTo>
                <a:cubicBezTo>
                  <a:pt x="3546" y="934"/>
                  <a:pt x="3545" y="934"/>
                  <a:pt x="3545" y="934"/>
                </a:cubicBezTo>
                <a:cubicBezTo>
                  <a:pt x="3544" y="934"/>
                  <a:pt x="3543" y="934"/>
                  <a:pt x="3542" y="933"/>
                </a:cubicBezTo>
                <a:cubicBezTo>
                  <a:pt x="3541" y="932"/>
                  <a:pt x="3538" y="933"/>
                  <a:pt x="3536" y="933"/>
                </a:cubicBezTo>
                <a:cubicBezTo>
                  <a:pt x="3534" y="934"/>
                  <a:pt x="3535" y="935"/>
                  <a:pt x="3536" y="935"/>
                </a:cubicBezTo>
                <a:cubicBezTo>
                  <a:pt x="3536" y="936"/>
                  <a:pt x="3537" y="935"/>
                  <a:pt x="3538" y="935"/>
                </a:cubicBezTo>
                <a:cubicBezTo>
                  <a:pt x="3539" y="935"/>
                  <a:pt x="3538" y="936"/>
                  <a:pt x="3538" y="936"/>
                </a:cubicBezTo>
                <a:cubicBezTo>
                  <a:pt x="3538" y="937"/>
                  <a:pt x="3539" y="937"/>
                  <a:pt x="3540" y="937"/>
                </a:cubicBezTo>
                <a:cubicBezTo>
                  <a:pt x="3541" y="937"/>
                  <a:pt x="3540" y="938"/>
                  <a:pt x="3540" y="939"/>
                </a:cubicBezTo>
                <a:cubicBezTo>
                  <a:pt x="3540" y="939"/>
                  <a:pt x="3540" y="939"/>
                  <a:pt x="3541" y="939"/>
                </a:cubicBezTo>
                <a:cubicBezTo>
                  <a:pt x="3542" y="939"/>
                  <a:pt x="3543" y="940"/>
                  <a:pt x="3543" y="940"/>
                </a:cubicBezTo>
                <a:cubicBezTo>
                  <a:pt x="3543" y="941"/>
                  <a:pt x="3544" y="940"/>
                  <a:pt x="3545" y="940"/>
                </a:cubicBezTo>
                <a:cubicBezTo>
                  <a:pt x="3545" y="939"/>
                  <a:pt x="3546" y="939"/>
                  <a:pt x="3547" y="940"/>
                </a:cubicBezTo>
                <a:cubicBezTo>
                  <a:pt x="3548" y="941"/>
                  <a:pt x="3548" y="940"/>
                  <a:pt x="3549" y="939"/>
                </a:cubicBezTo>
                <a:cubicBezTo>
                  <a:pt x="3549" y="939"/>
                  <a:pt x="3551" y="940"/>
                  <a:pt x="3551" y="940"/>
                </a:cubicBezTo>
                <a:close/>
                <a:moveTo>
                  <a:pt x="3555" y="949"/>
                </a:moveTo>
                <a:cubicBezTo>
                  <a:pt x="3555" y="949"/>
                  <a:pt x="3554" y="950"/>
                  <a:pt x="3553" y="951"/>
                </a:cubicBezTo>
                <a:cubicBezTo>
                  <a:pt x="3552" y="951"/>
                  <a:pt x="3551" y="950"/>
                  <a:pt x="3550" y="950"/>
                </a:cubicBezTo>
                <a:cubicBezTo>
                  <a:pt x="3549" y="950"/>
                  <a:pt x="3549" y="951"/>
                  <a:pt x="3549" y="951"/>
                </a:cubicBezTo>
                <a:cubicBezTo>
                  <a:pt x="3549" y="952"/>
                  <a:pt x="3550" y="952"/>
                  <a:pt x="3552" y="952"/>
                </a:cubicBezTo>
                <a:cubicBezTo>
                  <a:pt x="3553" y="953"/>
                  <a:pt x="3553" y="953"/>
                  <a:pt x="3553" y="954"/>
                </a:cubicBezTo>
                <a:cubicBezTo>
                  <a:pt x="3554" y="955"/>
                  <a:pt x="3554" y="954"/>
                  <a:pt x="3555" y="954"/>
                </a:cubicBezTo>
                <a:cubicBezTo>
                  <a:pt x="3556" y="953"/>
                  <a:pt x="3556" y="953"/>
                  <a:pt x="3556" y="952"/>
                </a:cubicBezTo>
                <a:cubicBezTo>
                  <a:pt x="3556" y="952"/>
                  <a:pt x="3556" y="951"/>
                  <a:pt x="3557" y="951"/>
                </a:cubicBezTo>
                <a:cubicBezTo>
                  <a:pt x="3558" y="950"/>
                  <a:pt x="3558" y="949"/>
                  <a:pt x="3557" y="949"/>
                </a:cubicBezTo>
                <a:cubicBezTo>
                  <a:pt x="3556" y="948"/>
                  <a:pt x="3555" y="949"/>
                  <a:pt x="3555" y="949"/>
                </a:cubicBezTo>
                <a:close/>
                <a:moveTo>
                  <a:pt x="3701" y="984"/>
                </a:moveTo>
                <a:cubicBezTo>
                  <a:pt x="3699" y="984"/>
                  <a:pt x="3700" y="985"/>
                  <a:pt x="3700" y="985"/>
                </a:cubicBezTo>
                <a:cubicBezTo>
                  <a:pt x="3701" y="986"/>
                  <a:pt x="3702" y="986"/>
                  <a:pt x="3703" y="985"/>
                </a:cubicBezTo>
                <a:cubicBezTo>
                  <a:pt x="3703" y="984"/>
                  <a:pt x="3701" y="984"/>
                  <a:pt x="3701" y="984"/>
                </a:cubicBezTo>
                <a:close/>
                <a:moveTo>
                  <a:pt x="3697" y="986"/>
                </a:moveTo>
                <a:cubicBezTo>
                  <a:pt x="3695" y="986"/>
                  <a:pt x="3696" y="987"/>
                  <a:pt x="3697" y="987"/>
                </a:cubicBezTo>
                <a:cubicBezTo>
                  <a:pt x="3698" y="987"/>
                  <a:pt x="3698" y="987"/>
                  <a:pt x="3698" y="987"/>
                </a:cubicBezTo>
                <a:cubicBezTo>
                  <a:pt x="3698" y="986"/>
                  <a:pt x="3697" y="986"/>
                  <a:pt x="3697" y="986"/>
                </a:cubicBezTo>
                <a:close/>
                <a:moveTo>
                  <a:pt x="3720" y="978"/>
                </a:moveTo>
                <a:cubicBezTo>
                  <a:pt x="3722" y="978"/>
                  <a:pt x="3719" y="978"/>
                  <a:pt x="3718" y="978"/>
                </a:cubicBezTo>
                <a:cubicBezTo>
                  <a:pt x="3716" y="977"/>
                  <a:pt x="3716" y="976"/>
                  <a:pt x="3716" y="976"/>
                </a:cubicBezTo>
                <a:cubicBezTo>
                  <a:pt x="3716" y="976"/>
                  <a:pt x="3716" y="975"/>
                  <a:pt x="3715" y="975"/>
                </a:cubicBezTo>
                <a:cubicBezTo>
                  <a:pt x="3714" y="976"/>
                  <a:pt x="3713" y="975"/>
                  <a:pt x="3712" y="975"/>
                </a:cubicBezTo>
                <a:cubicBezTo>
                  <a:pt x="3711" y="975"/>
                  <a:pt x="3710" y="976"/>
                  <a:pt x="3710" y="977"/>
                </a:cubicBezTo>
                <a:cubicBezTo>
                  <a:pt x="3710" y="978"/>
                  <a:pt x="3712" y="977"/>
                  <a:pt x="3712" y="978"/>
                </a:cubicBezTo>
                <a:cubicBezTo>
                  <a:pt x="3712" y="980"/>
                  <a:pt x="3713" y="980"/>
                  <a:pt x="3714" y="980"/>
                </a:cubicBezTo>
                <a:cubicBezTo>
                  <a:pt x="3716" y="980"/>
                  <a:pt x="3715" y="980"/>
                  <a:pt x="3715" y="981"/>
                </a:cubicBezTo>
                <a:cubicBezTo>
                  <a:pt x="3715" y="982"/>
                  <a:pt x="3713" y="981"/>
                  <a:pt x="3712" y="982"/>
                </a:cubicBezTo>
                <a:cubicBezTo>
                  <a:pt x="3711" y="982"/>
                  <a:pt x="3711" y="983"/>
                  <a:pt x="3711" y="983"/>
                </a:cubicBezTo>
                <a:cubicBezTo>
                  <a:pt x="3712" y="983"/>
                  <a:pt x="3713" y="983"/>
                  <a:pt x="3714" y="984"/>
                </a:cubicBezTo>
                <a:cubicBezTo>
                  <a:pt x="3714" y="985"/>
                  <a:pt x="3715" y="985"/>
                  <a:pt x="3715" y="984"/>
                </a:cubicBezTo>
                <a:cubicBezTo>
                  <a:pt x="3715" y="984"/>
                  <a:pt x="3715" y="983"/>
                  <a:pt x="3717" y="982"/>
                </a:cubicBezTo>
                <a:cubicBezTo>
                  <a:pt x="3719" y="982"/>
                  <a:pt x="3717" y="981"/>
                  <a:pt x="3718" y="980"/>
                </a:cubicBezTo>
                <a:cubicBezTo>
                  <a:pt x="3718" y="979"/>
                  <a:pt x="3719" y="979"/>
                  <a:pt x="3720" y="978"/>
                </a:cubicBezTo>
                <a:close/>
                <a:moveTo>
                  <a:pt x="3699" y="977"/>
                </a:moveTo>
                <a:cubicBezTo>
                  <a:pt x="3697" y="977"/>
                  <a:pt x="3697" y="977"/>
                  <a:pt x="3697" y="978"/>
                </a:cubicBezTo>
                <a:cubicBezTo>
                  <a:pt x="3697" y="978"/>
                  <a:pt x="3696" y="979"/>
                  <a:pt x="3697" y="979"/>
                </a:cubicBezTo>
                <a:cubicBezTo>
                  <a:pt x="3697" y="980"/>
                  <a:pt x="3698" y="982"/>
                  <a:pt x="3699" y="981"/>
                </a:cubicBezTo>
                <a:cubicBezTo>
                  <a:pt x="3699" y="980"/>
                  <a:pt x="3698" y="980"/>
                  <a:pt x="3699" y="979"/>
                </a:cubicBezTo>
                <a:cubicBezTo>
                  <a:pt x="3700" y="978"/>
                  <a:pt x="3700" y="977"/>
                  <a:pt x="3699" y="977"/>
                </a:cubicBezTo>
                <a:close/>
                <a:moveTo>
                  <a:pt x="3707" y="988"/>
                </a:moveTo>
                <a:cubicBezTo>
                  <a:pt x="3707" y="988"/>
                  <a:pt x="3706" y="989"/>
                  <a:pt x="3707" y="989"/>
                </a:cubicBezTo>
                <a:cubicBezTo>
                  <a:pt x="3707" y="990"/>
                  <a:pt x="3708" y="989"/>
                  <a:pt x="3708" y="989"/>
                </a:cubicBezTo>
                <a:cubicBezTo>
                  <a:pt x="3709" y="988"/>
                  <a:pt x="3708" y="987"/>
                  <a:pt x="3707" y="988"/>
                </a:cubicBezTo>
                <a:close/>
                <a:moveTo>
                  <a:pt x="3647" y="972"/>
                </a:moveTo>
                <a:cubicBezTo>
                  <a:pt x="3645" y="972"/>
                  <a:pt x="3645" y="971"/>
                  <a:pt x="3644" y="972"/>
                </a:cubicBezTo>
                <a:cubicBezTo>
                  <a:pt x="3644" y="972"/>
                  <a:pt x="3643" y="973"/>
                  <a:pt x="3644" y="974"/>
                </a:cubicBezTo>
                <a:cubicBezTo>
                  <a:pt x="3644" y="974"/>
                  <a:pt x="3645" y="975"/>
                  <a:pt x="3645" y="975"/>
                </a:cubicBezTo>
                <a:cubicBezTo>
                  <a:pt x="3646" y="974"/>
                  <a:pt x="3646" y="974"/>
                  <a:pt x="3647" y="973"/>
                </a:cubicBezTo>
                <a:cubicBezTo>
                  <a:pt x="3648" y="973"/>
                  <a:pt x="3648" y="972"/>
                  <a:pt x="3647" y="972"/>
                </a:cubicBezTo>
                <a:close/>
                <a:moveTo>
                  <a:pt x="3669" y="972"/>
                </a:moveTo>
                <a:cubicBezTo>
                  <a:pt x="3669" y="972"/>
                  <a:pt x="3668" y="972"/>
                  <a:pt x="3668" y="972"/>
                </a:cubicBezTo>
                <a:cubicBezTo>
                  <a:pt x="3668" y="971"/>
                  <a:pt x="3666" y="973"/>
                  <a:pt x="3665" y="973"/>
                </a:cubicBezTo>
                <a:cubicBezTo>
                  <a:pt x="3665" y="974"/>
                  <a:pt x="3664" y="975"/>
                  <a:pt x="3665" y="975"/>
                </a:cubicBezTo>
                <a:cubicBezTo>
                  <a:pt x="3666" y="976"/>
                  <a:pt x="3666" y="976"/>
                  <a:pt x="3668" y="976"/>
                </a:cubicBezTo>
                <a:cubicBezTo>
                  <a:pt x="3670" y="976"/>
                  <a:pt x="3669" y="975"/>
                  <a:pt x="3670" y="976"/>
                </a:cubicBezTo>
                <a:cubicBezTo>
                  <a:pt x="3671" y="976"/>
                  <a:pt x="3671" y="975"/>
                  <a:pt x="3671" y="974"/>
                </a:cubicBezTo>
                <a:cubicBezTo>
                  <a:pt x="3671" y="973"/>
                  <a:pt x="3670" y="973"/>
                  <a:pt x="3669" y="972"/>
                </a:cubicBezTo>
                <a:close/>
                <a:moveTo>
                  <a:pt x="3661" y="989"/>
                </a:moveTo>
                <a:cubicBezTo>
                  <a:pt x="3661" y="989"/>
                  <a:pt x="3660" y="989"/>
                  <a:pt x="3659" y="989"/>
                </a:cubicBezTo>
                <a:cubicBezTo>
                  <a:pt x="3658" y="989"/>
                  <a:pt x="3657" y="989"/>
                  <a:pt x="3657" y="988"/>
                </a:cubicBezTo>
                <a:cubicBezTo>
                  <a:pt x="3657" y="987"/>
                  <a:pt x="3655" y="987"/>
                  <a:pt x="3655" y="986"/>
                </a:cubicBezTo>
                <a:cubicBezTo>
                  <a:pt x="3654" y="984"/>
                  <a:pt x="3653" y="983"/>
                  <a:pt x="3653" y="983"/>
                </a:cubicBezTo>
                <a:cubicBezTo>
                  <a:pt x="3652" y="983"/>
                  <a:pt x="3651" y="982"/>
                  <a:pt x="3650" y="982"/>
                </a:cubicBezTo>
                <a:cubicBezTo>
                  <a:pt x="3649" y="982"/>
                  <a:pt x="3648" y="982"/>
                  <a:pt x="3648" y="981"/>
                </a:cubicBezTo>
                <a:cubicBezTo>
                  <a:pt x="3648" y="981"/>
                  <a:pt x="3647" y="981"/>
                  <a:pt x="3647" y="982"/>
                </a:cubicBezTo>
                <a:cubicBezTo>
                  <a:pt x="3647" y="983"/>
                  <a:pt x="3648" y="983"/>
                  <a:pt x="3650" y="984"/>
                </a:cubicBezTo>
                <a:cubicBezTo>
                  <a:pt x="3651" y="984"/>
                  <a:pt x="3652" y="985"/>
                  <a:pt x="3653" y="986"/>
                </a:cubicBezTo>
                <a:cubicBezTo>
                  <a:pt x="3654" y="987"/>
                  <a:pt x="3654" y="988"/>
                  <a:pt x="3655" y="988"/>
                </a:cubicBezTo>
                <a:cubicBezTo>
                  <a:pt x="3656" y="989"/>
                  <a:pt x="3656" y="990"/>
                  <a:pt x="3656" y="991"/>
                </a:cubicBezTo>
                <a:cubicBezTo>
                  <a:pt x="3656" y="993"/>
                  <a:pt x="3657" y="992"/>
                  <a:pt x="3657" y="991"/>
                </a:cubicBezTo>
                <a:cubicBezTo>
                  <a:pt x="3657" y="991"/>
                  <a:pt x="3658" y="991"/>
                  <a:pt x="3659" y="991"/>
                </a:cubicBezTo>
                <a:cubicBezTo>
                  <a:pt x="3660" y="992"/>
                  <a:pt x="3661" y="991"/>
                  <a:pt x="3662" y="991"/>
                </a:cubicBezTo>
                <a:cubicBezTo>
                  <a:pt x="3663" y="990"/>
                  <a:pt x="3662" y="990"/>
                  <a:pt x="3661" y="989"/>
                </a:cubicBezTo>
                <a:close/>
                <a:moveTo>
                  <a:pt x="3695" y="990"/>
                </a:moveTo>
                <a:cubicBezTo>
                  <a:pt x="3695" y="990"/>
                  <a:pt x="3694" y="989"/>
                  <a:pt x="3693" y="990"/>
                </a:cubicBezTo>
                <a:cubicBezTo>
                  <a:pt x="3692" y="991"/>
                  <a:pt x="3693" y="992"/>
                  <a:pt x="3693" y="993"/>
                </a:cubicBezTo>
                <a:cubicBezTo>
                  <a:pt x="3692" y="994"/>
                  <a:pt x="3693" y="994"/>
                  <a:pt x="3694" y="993"/>
                </a:cubicBezTo>
                <a:cubicBezTo>
                  <a:pt x="3695" y="993"/>
                  <a:pt x="3695" y="993"/>
                  <a:pt x="3695" y="992"/>
                </a:cubicBezTo>
                <a:cubicBezTo>
                  <a:pt x="3694" y="991"/>
                  <a:pt x="3695" y="990"/>
                  <a:pt x="3695" y="990"/>
                </a:cubicBezTo>
                <a:close/>
                <a:moveTo>
                  <a:pt x="3690" y="994"/>
                </a:moveTo>
                <a:cubicBezTo>
                  <a:pt x="3690" y="994"/>
                  <a:pt x="3689" y="995"/>
                  <a:pt x="3689" y="995"/>
                </a:cubicBezTo>
                <a:cubicBezTo>
                  <a:pt x="3689" y="996"/>
                  <a:pt x="3690" y="996"/>
                  <a:pt x="3691" y="995"/>
                </a:cubicBezTo>
                <a:cubicBezTo>
                  <a:pt x="3691" y="994"/>
                  <a:pt x="3692" y="994"/>
                  <a:pt x="3691" y="993"/>
                </a:cubicBezTo>
                <a:cubicBezTo>
                  <a:pt x="3691" y="993"/>
                  <a:pt x="3690" y="993"/>
                  <a:pt x="3690" y="994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7930" y="1828800"/>
            <a:ext cx="9756141" cy="3048001"/>
          </a:xfrm>
        </p:spPr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17931" y="5029200"/>
            <a:ext cx="7850644" cy="1143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375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 baseline="0"/>
            </a:lvl7pPr>
            <a:lvl8pPr>
              <a:defRPr baseline="0"/>
            </a:lvl8pPr>
            <a:lvl9pPr>
              <a:defRPr baseline="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613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931" y="3429001"/>
            <a:ext cx="9756141" cy="2362199"/>
          </a:xfrm>
        </p:spPr>
        <p:txBody>
          <a:bodyPr anchor="b">
            <a:normAutofit/>
          </a:bodyPr>
          <a:lstStyle>
            <a:lvl1pPr algn="l">
              <a:defRPr sz="4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3466" y="685802"/>
            <a:ext cx="7855109" cy="1142999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48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6254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33600" y="1828800"/>
            <a:ext cx="4709961" cy="4343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 baseline="0"/>
            </a:lvl7pPr>
            <a:lvl8pPr>
              <a:defRPr sz="1600" baseline="0"/>
            </a:lvl8pPr>
            <a:lvl9pPr>
              <a:defRPr sz="1600" baseline="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64110" y="1828800"/>
            <a:ext cx="4709961" cy="4343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17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931" y="274638"/>
            <a:ext cx="9756141" cy="1325562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7931" y="1828800"/>
            <a:ext cx="4710387" cy="838201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0" cap="all" baseline="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17931" y="2743201"/>
            <a:ext cx="4710387" cy="342899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263685" y="1828800"/>
            <a:ext cx="4710387" cy="838201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0" cap="all" baseline="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263685" y="2743201"/>
            <a:ext cx="4710387" cy="342899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 baseline="0"/>
            </a:lvl8pPr>
            <a:lvl9pPr>
              <a:defRPr sz="1400" baseline="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2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45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83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" y="0"/>
            <a:ext cx="5181362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rgbClr val="FFFFFF">
                  <a:alpha val="89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4391" y="685800"/>
            <a:ext cx="3887212" cy="4038600"/>
          </a:xfrm>
        </p:spPr>
        <p:txBody>
          <a:bodyPr anchor="b">
            <a:noAutofit/>
          </a:bodyPr>
          <a:lstStyle>
            <a:lvl1pPr algn="l">
              <a:defRPr sz="40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67342" y="685800"/>
            <a:ext cx="5640269" cy="54864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4391" y="4876800"/>
            <a:ext cx="3887212" cy="12954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04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" y="0"/>
            <a:ext cx="5181362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rgbClr val="FFFFFF">
                  <a:alpha val="89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4391" y="685800"/>
            <a:ext cx="3887212" cy="4038600"/>
          </a:xfrm>
        </p:spPr>
        <p:txBody>
          <a:bodyPr anchor="b">
            <a:noAutofit/>
          </a:bodyPr>
          <a:lstStyle>
            <a:lvl1pPr algn="l">
              <a:defRPr sz="40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867341" y="685800"/>
            <a:ext cx="5640269" cy="5486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</a:ln>
        </p:spPr>
        <p:txBody>
          <a:bodyPr tIns="914400"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4391" y="4876800"/>
            <a:ext cx="3887212" cy="12954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82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  <a:lvl6pPr>
              <a:defRPr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4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685800"/>
            <a:ext cx="2134871" cy="54864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7930" y="685800"/>
            <a:ext cx="7418070" cy="5486400"/>
          </a:xfrm>
        </p:spPr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58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75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7838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Расположение рисунков в основной стать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12FFD63-8D92-B741-B6B3-1FE000FF27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180" y="212541"/>
            <a:ext cx="4970195" cy="744960"/>
          </a:xfrm>
        </p:spPr>
        <p:txBody>
          <a:bodyPr rtlCol="0">
            <a:normAutofit/>
          </a:bodyPr>
          <a:lstStyle>
            <a:lvl1pPr>
              <a:defRPr sz="2386">
                <a:solidFill>
                  <a:schemeClr val="accent4"/>
                </a:solidFill>
              </a:defRPr>
            </a:lvl1pPr>
          </a:lstStyle>
          <a:p>
            <a:pPr rtl="0"/>
            <a:r>
              <a:rPr lang="ru-RU" noProof="0"/>
              <a:t>Заголовок основной статьи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CC7A09F6-762B-1942-9CA5-5B6680E33E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/>
          <a:p>
            <a:pPr rtl="0"/>
            <a:r>
              <a:rPr lang="ru-RU" noProof="0"/>
              <a:t>Добавьте нижний колонтиту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672542B-48FE-D14C-A887-2A63248948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CB2079F2-58AF-ED44-82D7-E04B2F6FD686}" type="slidenum">
              <a:rPr lang="ru-RU" noProof="0" smtClean="0"/>
              <a:pPr/>
              <a:t>‹#›</a:t>
            </a:fld>
            <a:endParaRPr lang="ru-RU" noProof="0"/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F6A4B57-8BC2-1446-9E08-DD15BBFF076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 rtlCol="0"/>
          <a:lstStyle/>
          <a:p>
            <a:pPr rtl="0"/>
            <a:fld id="{062B678A-7B2C-4D55-913E-0A1C1A92CA68}" type="datetime1">
              <a:rPr lang="ru-RU" noProof="0" smtClean="0"/>
              <a:t>06.06.2023</a:t>
            </a:fld>
            <a:endParaRPr lang="ru-RU" noProof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4092FED9-F29D-644B-BCF2-2968CED2C749}"/>
              </a:ext>
            </a:extLst>
          </p:cNvPr>
          <p:cNvCxnSpPr/>
          <p:nvPr userDrawn="1"/>
        </p:nvCxnSpPr>
        <p:spPr>
          <a:xfrm>
            <a:off x="639148" y="212543"/>
            <a:ext cx="0" cy="744959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C04A0D6F-F996-434B-9FCE-1D573737EED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6172" y="1317413"/>
            <a:ext cx="5361207" cy="2350530"/>
          </a:xfrm>
        </p:spPr>
        <p:txBody>
          <a:bodyPr rtlCol="0"/>
          <a:lstStyle/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="" xmlns:a16="http://schemas.microsoft.com/office/drawing/2014/main" id="{02DDB3CA-4049-BD4C-83A1-7BBF091B27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171" y="3827318"/>
            <a:ext cx="5378823" cy="2538196"/>
          </a:xfrm>
        </p:spPr>
        <p:txBody>
          <a:bodyPr numCol="2" spcCol="182880" rtlCol="0">
            <a:normAutofit/>
          </a:bodyPr>
          <a:lstStyle>
            <a:lvl1pPr marL="0" indent="0">
              <a:lnSpc>
                <a:spcPct val="130000"/>
              </a:lnSpc>
              <a:buNone/>
              <a:defRPr sz="955"/>
            </a:lvl1pPr>
            <a:lvl2pPr>
              <a:defRPr sz="1091"/>
            </a:lvl2pPr>
            <a:lvl3pPr>
              <a:defRPr sz="955"/>
            </a:lvl3pPr>
            <a:lvl4pPr>
              <a:defRPr sz="818"/>
            </a:lvl4pPr>
            <a:lvl5pPr algn="l">
              <a:defRPr sz="818"/>
            </a:lvl5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14" name="Надпись 13">
            <a:extLst>
              <a:ext uri="{FF2B5EF4-FFF2-40B4-BE49-F238E27FC236}">
                <a16:creationId xmlns="" xmlns:a16="http://schemas.microsoft.com/office/drawing/2014/main" id="{52D08331-6544-744C-8571-269612F406D9}"/>
              </a:ext>
            </a:extLst>
          </p:cNvPr>
          <p:cNvSpPr txBox="1"/>
          <p:nvPr userDrawn="1"/>
        </p:nvSpPr>
        <p:spPr>
          <a:xfrm>
            <a:off x="6096001" y="212542"/>
            <a:ext cx="5967035" cy="2158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endParaRPr lang="ru-RU" sz="803" noProof="0"/>
          </a:p>
        </p:txBody>
      </p:sp>
      <p:sp>
        <p:nvSpPr>
          <p:cNvPr id="15" name="Текст 11">
            <a:extLst>
              <a:ext uri="{FF2B5EF4-FFF2-40B4-BE49-F238E27FC236}">
                <a16:creationId xmlns="" xmlns:a16="http://schemas.microsoft.com/office/drawing/2014/main" id="{5A048A91-9FD9-5B42-9AFE-B422C92023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1" y="212542"/>
            <a:ext cx="5967035" cy="6152973"/>
          </a:xfrm>
        </p:spPr>
        <p:txBody>
          <a:bodyPr numCol="2" spcCol="182880" rtlCol="0">
            <a:normAutofit/>
          </a:bodyPr>
          <a:lstStyle>
            <a:lvl1pPr marL="0" marR="0" indent="0" algn="l" defTabSz="914396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55"/>
            </a:lvl1pPr>
            <a:lvl2pPr>
              <a:defRPr sz="1091"/>
            </a:lvl2pPr>
            <a:lvl3pPr>
              <a:defRPr sz="955"/>
            </a:lvl3pPr>
            <a:lvl4pPr>
              <a:defRPr sz="818"/>
            </a:lvl4pPr>
            <a:lvl5pPr>
              <a:defRPr sz="818"/>
            </a:lvl5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16" name="Текст 10">
            <a:extLst>
              <a:ext uri="{FF2B5EF4-FFF2-40B4-BE49-F238E27FC236}">
                <a16:creationId xmlns="" xmlns:a16="http://schemas.microsoft.com/office/drawing/2014/main" id="{9984EB38-DD6D-2948-996C-2E9069D0A7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8966" y="212542"/>
            <a:ext cx="510183" cy="744959"/>
          </a:xfrm>
        </p:spPr>
        <p:txBody>
          <a:bodyPr rtlCol="0" anchor="ctr">
            <a:normAutofit/>
          </a:bodyPr>
          <a:lstStyle>
            <a:lvl1pPr marL="0" indent="0" algn="ctr">
              <a:buFontTx/>
              <a:buNone/>
              <a:defRPr sz="2386">
                <a:solidFill>
                  <a:schemeClr val="accent4"/>
                </a:solidFill>
              </a:defRPr>
            </a:lvl1pPr>
            <a:lvl2pPr>
              <a:defRPr sz="150"/>
            </a:lvl2pPr>
            <a:lvl3pPr marL="914396" indent="0" algn="l">
              <a:buFontTx/>
              <a:buNone/>
              <a:defRPr sz="4432"/>
            </a:lvl3pPr>
          </a:lstStyle>
          <a:p>
            <a:pPr lvl="0" rtl="0"/>
            <a:r>
              <a:rPr lang="ru-RU" noProof="0"/>
              <a:t>1</a:t>
            </a:r>
          </a:p>
        </p:txBody>
      </p:sp>
      <p:sp>
        <p:nvSpPr>
          <p:cNvPr id="13" name="Текст 66">
            <a:extLst>
              <a:ext uri="{FF2B5EF4-FFF2-40B4-BE49-F238E27FC236}">
                <a16:creationId xmlns="" xmlns:a16="http://schemas.microsoft.com/office/drawing/2014/main" id="{81EF9CB8-C11A-5D44-876B-20EA78D2FC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7179" y="973463"/>
            <a:ext cx="1777696" cy="217389"/>
          </a:xfrm>
        </p:spPr>
        <p:txBody>
          <a:bodyPr rtlCol="0" anchor="ctr">
            <a:noAutofit/>
          </a:bodyPr>
          <a:lstStyle>
            <a:lvl1pPr marL="0" indent="0" algn="l">
              <a:buFontTx/>
              <a:buNone/>
              <a:defRPr sz="1091" b="1" u="none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198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96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94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93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ru-RU" noProof="0"/>
              <a:t>Имя автора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63D00EE4-469A-3640-B0D6-93DACF96A278}"/>
              </a:ext>
            </a:extLst>
          </p:cNvPr>
          <p:cNvCxnSpPr>
            <a:cxnSpLocks/>
          </p:cNvCxnSpPr>
          <p:nvPr userDrawn="1"/>
        </p:nvCxnSpPr>
        <p:spPr>
          <a:xfrm>
            <a:off x="639148" y="212543"/>
            <a:ext cx="0" cy="97831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3218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32812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_Contents.Continuatio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Header"/>
          <p:cNvSpPr txBox="1"/>
          <p:nvPr userDrawn="1"/>
        </p:nvSpPr>
        <p:spPr>
          <a:xfrm>
            <a:off x="513133" y="587845"/>
            <a:ext cx="11165754" cy="391896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en-GB" sz="1814" dirty="0">
                <a:solidFill>
                  <a:srgbClr val="313131"/>
                </a:solidFill>
              </a:rPr>
              <a:t>Contents (Continued)</a:t>
            </a:r>
          </a:p>
        </p:txBody>
      </p:sp>
    </p:spTree>
    <p:extLst>
      <p:ext uri="{BB962C8B-B14F-4D97-AF65-F5344CB8AC3E}">
        <p14:creationId xmlns:p14="http://schemas.microsoft.com/office/powerpoint/2010/main" val="414945177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512301" y="587582"/>
            <a:ext cx="11165591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9518399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512301" y="979303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7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512300" y="587581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0173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"/>
          <p:cNvGrpSpPr>
            <a:grpSpLocks noChangeAspect="1"/>
          </p:cNvGrpSpPr>
          <p:nvPr userDrawn="1"/>
        </p:nvGrpSpPr>
        <p:grpSpPr>
          <a:xfrm>
            <a:off x="512300" y="259076"/>
            <a:ext cx="2304000" cy="32850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16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961486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941770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145" y="365799"/>
            <a:ext cx="10515712" cy="39541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cons, other graphics &amp; </a:t>
            </a:r>
            <a:r>
              <a:rPr lang="en-US" dirty="0" err="1"/>
              <a:t>misc</a:t>
            </a:r>
            <a:r>
              <a:rPr lang="en-US" dirty="0"/>
              <a:t> placeholders</a:t>
            </a:r>
            <a:endParaRPr lang="en-GB" dirty="0"/>
          </a:p>
        </p:txBody>
      </p:sp>
      <p:graphicFrame>
        <p:nvGraphicFramePr>
          <p:cNvPr id="63" name="NavigationTable"/>
          <p:cNvGraphicFramePr>
            <a:graphicFrameLocks/>
          </p:cNvGraphicFramePr>
          <p:nvPr userDrawn="1"/>
        </p:nvGraphicFramePr>
        <p:xfrm>
          <a:off x="639488" y="1375872"/>
          <a:ext cx="10050663" cy="3262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67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3262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ection 1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2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3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4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5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6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7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8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9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" name="MasterContentsTable"/>
          <p:cNvGraphicFramePr>
            <a:graphicFrameLocks noGrp="1"/>
          </p:cNvGraphicFramePr>
          <p:nvPr userDrawn="1"/>
        </p:nvGraphicFramePr>
        <p:xfrm>
          <a:off x="639487" y="2087196"/>
          <a:ext cx="4543150" cy="39591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341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90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63941">
                <a:tc>
                  <a:txBody>
                    <a:bodyPr/>
                    <a:lstStyle/>
                    <a:p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2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2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3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3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4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4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6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6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7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7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8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8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9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9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0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0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1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1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2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2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3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3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4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4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 1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grpSp>
        <p:nvGrpSpPr>
          <p:cNvPr id="37" name="MasterNavigationGroup"/>
          <p:cNvGrpSpPr/>
          <p:nvPr userDrawn="1"/>
        </p:nvGrpSpPr>
        <p:grpSpPr>
          <a:xfrm>
            <a:off x="10320861" y="948096"/>
            <a:ext cx="1032996" cy="328354"/>
            <a:chOff x="6293713" y="4256376"/>
            <a:chExt cx="905889" cy="361950"/>
          </a:xfrm>
        </p:grpSpPr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49394" y="4354513"/>
              <a:ext cx="183024" cy="183024"/>
            </a:xfrm>
            <a:prstGeom prst="rect">
              <a:avLst/>
            </a:prstGeom>
          </p:spPr>
        </p:pic>
        <p:grpSp>
          <p:nvGrpSpPr>
            <p:cNvPr id="36" name="Group 35"/>
            <p:cNvGrpSpPr/>
            <p:nvPr userDrawn="1"/>
          </p:nvGrpSpPr>
          <p:grpSpPr>
            <a:xfrm>
              <a:off x="6293713" y="4256376"/>
              <a:ext cx="905889" cy="361950"/>
              <a:chOff x="6293713" y="4256376"/>
              <a:chExt cx="905889" cy="361950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6911602" y="4312312"/>
                <a:ext cx="288000" cy="287155"/>
                <a:chOff x="5840121" y="174998"/>
                <a:chExt cx="288000" cy="287155"/>
              </a:xfrm>
            </p:grpSpPr>
            <p:sp>
              <p:nvSpPr>
                <p:cNvPr id="29" name="Freeform 211"/>
                <p:cNvSpPr>
                  <a:spLocks/>
                </p:cNvSpPr>
                <p:nvPr/>
              </p:nvSpPr>
              <p:spPr bwMode="auto">
                <a:xfrm rot="10800000">
                  <a:off x="5894174" y="264523"/>
                  <a:ext cx="180739" cy="108105"/>
                </a:xfrm>
                <a:custGeom>
                  <a:avLst/>
                  <a:gdLst>
                    <a:gd name="T0" fmla="*/ 310 w 321"/>
                    <a:gd name="T1" fmla="*/ 86 h 193"/>
                    <a:gd name="T2" fmla="*/ 37 w 321"/>
                    <a:gd name="T3" fmla="*/ 86 h 193"/>
                    <a:gd name="T4" fmla="*/ 104 w 321"/>
                    <a:gd name="T5" fmla="*/ 19 h 193"/>
                    <a:gd name="T6" fmla="*/ 104 w 321"/>
                    <a:gd name="T7" fmla="*/ 4 h 193"/>
                    <a:gd name="T8" fmla="*/ 89 w 321"/>
                    <a:gd name="T9" fmla="*/ 4 h 193"/>
                    <a:gd name="T10" fmla="*/ 4 w 321"/>
                    <a:gd name="T11" fmla="*/ 89 h 193"/>
                    <a:gd name="T12" fmla="*/ 1 w 321"/>
                    <a:gd name="T13" fmla="*/ 93 h 193"/>
                    <a:gd name="T14" fmla="*/ 1 w 321"/>
                    <a:gd name="T15" fmla="*/ 101 h 193"/>
                    <a:gd name="T16" fmla="*/ 4 w 321"/>
                    <a:gd name="T17" fmla="*/ 104 h 193"/>
                    <a:gd name="T18" fmla="*/ 89 w 321"/>
                    <a:gd name="T19" fmla="*/ 190 h 193"/>
                    <a:gd name="T20" fmla="*/ 97 w 321"/>
                    <a:gd name="T21" fmla="*/ 193 h 193"/>
                    <a:gd name="T22" fmla="*/ 104 w 321"/>
                    <a:gd name="T23" fmla="*/ 190 h 193"/>
                    <a:gd name="T24" fmla="*/ 104 w 321"/>
                    <a:gd name="T25" fmla="*/ 174 h 193"/>
                    <a:gd name="T26" fmla="*/ 37 w 321"/>
                    <a:gd name="T27" fmla="*/ 107 h 193"/>
                    <a:gd name="T28" fmla="*/ 310 w 321"/>
                    <a:gd name="T29" fmla="*/ 107 h 193"/>
                    <a:gd name="T30" fmla="*/ 321 w 321"/>
                    <a:gd name="T31" fmla="*/ 97 h 193"/>
                    <a:gd name="T32" fmla="*/ 310 w 321"/>
                    <a:gd name="T33" fmla="*/ 86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1" h="193">
                      <a:moveTo>
                        <a:pt x="310" y="86"/>
                      </a:moveTo>
                      <a:cubicBezTo>
                        <a:pt x="37" y="86"/>
                        <a:pt x="37" y="86"/>
                        <a:pt x="37" y="86"/>
                      </a:cubicBezTo>
                      <a:cubicBezTo>
                        <a:pt x="104" y="19"/>
                        <a:pt x="104" y="19"/>
                        <a:pt x="104" y="19"/>
                      </a:cubicBezTo>
                      <a:cubicBezTo>
                        <a:pt x="108" y="15"/>
                        <a:pt x="108" y="8"/>
                        <a:pt x="104" y="4"/>
                      </a:cubicBezTo>
                      <a:cubicBezTo>
                        <a:pt x="100" y="0"/>
                        <a:pt x="93" y="0"/>
                        <a:pt x="89" y="4"/>
                      </a:cubicBezTo>
                      <a:cubicBezTo>
                        <a:pt x="4" y="89"/>
                        <a:pt x="4" y="89"/>
                        <a:pt x="4" y="89"/>
                      </a:cubicBezTo>
                      <a:cubicBezTo>
                        <a:pt x="3" y="90"/>
                        <a:pt x="2" y="91"/>
                        <a:pt x="1" y="93"/>
                      </a:cubicBezTo>
                      <a:cubicBezTo>
                        <a:pt x="0" y="95"/>
                        <a:pt x="0" y="98"/>
                        <a:pt x="1" y="101"/>
                      </a:cubicBezTo>
                      <a:cubicBezTo>
                        <a:pt x="2" y="102"/>
                        <a:pt x="3" y="103"/>
                        <a:pt x="4" y="104"/>
                      </a:cubicBezTo>
                      <a:cubicBezTo>
                        <a:pt x="89" y="190"/>
                        <a:pt x="89" y="190"/>
                        <a:pt x="89" y="190"/>
                      </a:cubicBezTo>
                      <a:cubicBezTo>
                        <a:pt x="91" y="192"/>
                        <a:pt x="94" y="193"/>
                        <a:pt x="97" y="193"/>
                      </a:cubicBezTo>
                      <a:cubicBezTo>
                        <a:pt x="99" y="193"/>
                        <a:pt x="102" y="192"/>
                        <a:pt x="104" y="190"/>
                      </a:cubicBezTo>
                      <a:cubicBezTo>
                        <a:pt x="108" y="185"/>
                        <a:pt x="108" y="179"/>
                        <a:pt x="104" y="174"/>
                      </a:cubicBezTo>
                      <a:cubicBezTo>
                        <a:pt x="37" y="107"/>
                        <a:pt x="37" y="107"/>
                        <a:pt x="37" y="107"/>
                      </a:cubicBezTo>
                      <a:cubicBezTo>
                        <a:pt x="310" y="107"/>
                        <a:pt x="310" y="107"/>
                        <a:pt x="310" y="107"/>
                      </a:cubicBezTo>
                      <a:cubicBezTo>
                        <a:pt x="316" y="107"/>
                        <a:pt x="321" y="103"/>
                        <a:pt x="321" y="97"/>
                      </a:cubicBezTo>
                      <a:cubicBezTo>
                        <a:pt x="321" y="91"/>
                        <a:pt x="316" y="86"/>
                        <a:pt x="310" y="8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4403"/>
                  <a:endParaRPr lang="en-GB" sz="155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212">
                  <a:hlinkClick r:id="" action="ppaction://hlinkshowjump?jump=nextslide"/>
                </p:cNvPr>
                <p:cNvSpPr>
                  <a:spLocks noEditPoints="1"/>
                </p:cNvSpPr>
                <p:nvPr/>
              </p:nvSpPr>
              <p:spPr bwMode="auto">
                <a:xfrm rot="10800000">
                  <a:off x="5840121" y="174998"/>
                  <a:ext cx="288000" cy="287155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4403"/>
                  <a:endParaRPr lang="en-GB" sz="1550" dirty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7" name="Group 6"/>
              <p:cNvGrpSpPr/>
              <p:nvPr/>
            </p:nvGrpSpPr>
            <p:grpSpPr>
              <a:xfrm>
                <a:off x="6601029" y="4312311"/>
                <a:ext cx="288000" cy="287155"/>
                <a:chOff x="1739755" y="155947"/>
                <a:chExt cx="288000" cy="287155"/>
              </a:xfrm>
            </p:grpSpPr>
            <p:sp>
              <p:nvSpPr>
                <p:cNvPr id="27" name="Freeform 211"/>
                <p:cNvSpPr>
                  <a:spLocks/>
                </p:cNvSpPr>
                <p:nvPr/>
              </p:nvSpPr>
              <p:spPr bwMode="auto">
                <a:xfrm>
                  <a:off x="1792963" y="245472"/>
                  <a:ext cx="180739" cy="108105"/>
                </a:xfrm>
                <a:custGeom>
                  <a:avLst/>
                  <a:gdLst>
                    <a:gd name="T0" fmla="*/ 310 w 321"/>
                    <a:gd name="T1" fmla="*/ 86 h 193"/>
                    <a:gd name="T2" fmla="*/ 37 w 321"/>
                    <a:gd name="T3" fmla="*/ 86 h 193"/>
                    <a:gd name="T4" fmla="*/ 104 w 321"/>
                    <a:gd name="T5" fmla="*/ 19 h 193"/>
                    <a:gd name="T6" fmla="*/ 104 w 321"/>
                    <a:gd name="T7" fmla="*/ 4 h 193"/>
                    <a:gd name="T8" fmla="*/ 89 w 321"/>
                    <a:gd name="T9" fmla="*/ 4 h 193"/>
                    <a:gd name="T10" fmla="*/ 4 w 321"/>
                    <a:gd name="T11" fmla="*/ 89 h 193"/>
                    <a:gd name="T12" fmla="*/ 1 w 321"/>
                    <a:gd name="T13" fmla="*/ 93 h 193"/>
                    <a:gd name="T14" fmla="*/ 1 w 321"/>
                    <a:gd name="T15" fmla="*/ 101 h 193"/>
                    <a:gd name="T16" fmla="*/ 4 w 321"/>
                    <a:gd name="T17" fmla="*/ 104 h 193"/>
                    <a:gd name="T18" fmla="*/ 89 w 321"/>
                    <a:gd name="T19" fmla="*/ 190 h 193"/>
                    <a:gd name="T20" fmla="*/ 97 w 321"/>
                    <a:gd name="T21" fmla="*/ 193 h 193"/>
                    <a:gd name="T22" fmla="*/ 104 w 321"/>
                    <a:gd name="T23" fmla="*/ 190 h 193"/>
                    <a:gd name="T24" fmla="*/ 104 w 321"/>
                    <a:gd name="T25" fmla="*/ 174 h 193"/>
                    <a:gd name="T26" fmla="*/ 37 w 321"/>
                    <a:gd name="T27" fmla="*/ 107 h 193"/>
                    <a:gd name="T28" fmla="*/ 310 w 321"/>
                    <a:gd name="T29" fmla="*/ 107 h 193"/>
                    <a:gd name="T30" fmla="*/ 321 w 321"/>
                    <a:gd name="T31" fmla="*/ 97 h 193"/>
                    <a:gd name="T32" fmla="*/ 310 w 321"/>
                    <a:gd name="T33" fmla="*/ 86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1" h="193">
                      <a:moveTo>
                        <a:pt x="310" y="86"/>
                      </a:moveTo>
                      <a:cubicBezTo>
                        <a:pt x="37" y="86"/>
                        <a:pt x="37" y="86"/>
                        <a:pt x="37" y="86"/>
                      </a:cubicBezTo>
                      <a:cubicBezTo>
                        <a:pt x="104" y="19"/>
                        <a:pt x="104" y="19"/>
                        <a:pt x="104" y="19"/>
                      </a:cubicBezTo>
                      <a:cubicBezTo>
                        <a:pt x="108" y="15"/>
                        <a:pt x="108" y="8"/>
                        <a:pt x="104" y="4"/>
                      </a:cubicBezTo>
                      <a:cubicBezTo>
                        <a:pt x="100" y="0"/>
                        <a:pt x="93" y="0"/>
                        <a:pt x="89" y="4"/>
                      </a:cubicBezTo>
                      <a:cubicBezTo>
                        <a:pt x="4" y="89"/>
                        <a:pt x="4" y="89"/>
                        <a:pt x="4" y="89"/>
                      </a:cubicBezTo>
                      <a:cubicBezTo>
                        <a:pt x="3" y="90"/>
                        <a:pt x="2" y="91"/>
                        <a:pt x="1" y="93"/>
                      </a:cubicBezTo>
                      <a:cubicBezTo>
                        <a:pt x="0" y="95"/>
                        <a:pt x="0" y="98"/>
                        <a:pt x="1" y="101"/>
                      </a:cubicBezTo>
                      <a:cubicBezTo>
                        <a:pt x="2" y="102"/>
                        <a:pt x="3" y="103"/>
                        <a:pt x="4" y="104"/>
                      </a:cubicBezTo>
                      <a:cubicBezTo>
                        <a:pt x="89" y="190"/>
                        <a:pt x="89" y="190"/>
                        <a:pt x="89" y="190"/>
                      </a:cubicBezTo>
                      <a:cubicBezTo>
                        <a:pt x="91" y="192"/>
                        <a:pt x="94" y="193"/>
                        <a:pt x="97" y="193"/>
                      </a:cubicBezTo>
                      <a:cubicBezTo>
                        <a:pt x="99" y="193"/>
                        <a:pt x="102" y="192"/>
                        <a:pt x="104" y="190"/>
                      </a:cubicBezTo>
                      <a:cubicBezTo>
                        <a:pt x="108" y="185"/>
                        <a:pt x="108" y="179"/>
                        <a:pt x="104" y="174"/>
                      </a:cubicBezTo>
                      <a:cubicBezTo>
                        <a:pt x="37" y="107"/>
                        <a:pt x="37" y="107"/>
                        <a:pt x="37" y="107"/>
                      </a:cubicBezTo>
                      <a:cubicBezTo>
                        <a:pt x="310" y="107"/>
                        <a:pt x="310" y="107"/>
                        <a:pt x="310" y="107"/>
                      </a:cubicBezTo>
                      <a:cubicBezTo>
                        <a:pt x="316" y="107"/>
                        <a:pt x="321" y="103"/>
                        <a:pt x="321" y="97"/>
                      </a:cubicBezTo>
                      <a:cubicBezTo>
                        <a:pt x="321" y="91"/>
                        <a:pt x="316" y="86"/>
                        <a:pt x="310" y="8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4403"/>
                  <a:endParaRPr lang="en-GB" sz="155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212">
                  <a:hlinkClick r:id="" action="ppaction://hlinkshowjump?jump=previousslide"/>
                </p:cNvPr>
                <p:cNvSpPr>
                  <a:spLocks noEditPoints="1"/>
                </p:cNvSpPr>
                <p:nvPr/>
              </p:nvSpPr>
              <p:spPr bwMode="auto">
                <a:xfrm>
                  <a:off x="1739755" y="155947"/>
                  <a:ext cx="288000" cy="287155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4403"/>
                  <a:endParaRPr lang="en-GB" sz="155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9" name="LinkHome">
                <a:hlinkClick r:id="" action="ppaction://noaction"/>
              </p:cNvPr>
              <p:cNvSpPr/>
              <p:nvPr userDrawn="1"/>
            </p:nvSpPr>
            <p:spPr bwMode="gray">
              <a:xfrm>
                <a:off x="6293713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 defTabSz="714403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452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LinkForward">
                <a:hlinkClick r:id="" action="ppaction://hlinkshowjump?jump=nextslide"/>
              </p:cNvPr>
              <p:cNvSpPr/>
              <p:nvPr userDrawn="1"/>
            </p:nvSpPr>
            <p:spPr bwMode="gray">
              <a:xfrm>
                <a:off x="6875752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 defTabSz="714403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452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LinkBackward">
                <a:hlinkClick r:id="" action="ppaction://hlinkshowjump?jump=previousslide"/>
              </p:cNvPr>
              <p:cNvSpPr/>
              <p:nvPr userDrawn="1"/>
            </p:nvSpPr>
            <p:spPr bwMode="gray">
              <a:xfrm>
                <a:off x="6580114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 defTabSz="714403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452" b="1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4" name="Freeform 212">
              <a:hlinkClick r:id="" action="ppaction://noaction"/>
            </p:cNvPr>
            <p:cNvSpPr>
              <a:spLocks noEditPoints="1"/>
            </p:cNvSpPr>
            <p:nvPr/>
          </p:nvSpPr>
          <p:spPr bwMode="auto">
            <a:xfrm>
              <a:off x="6299693" y="4312311"/>
              <a:ext cx="288000" cy="288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550" dirty="0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18" name="ContentsTable"/>
          <p:cNvGraphicFramePr>
            <a:graphicFrameLocks noGrp="1"/>
          </p:cNvGraphicFramePr>
          <p:nvPr userDrawn="1"/>
        </p:nvGraphicFramePr>
        <p:xfrm>
          <a:off x="6128146" y="2087196"/>
          <a:ext cx="4543150" cy="26312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341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90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63130">
                <a:tc>
                  <a:txBody>
                    <a:bodyPr/>
                    <a:lstStyle/>
                    <a:p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2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2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3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3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4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4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6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6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7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7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8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8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9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9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0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0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861178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Title Text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36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28900" y="6404295"/>
            <a:ext cx="324902" cy="269241"/>
          </a:xfrm>
          <a:prstGeom prst="rect">
            <a:avLst/>
          </a:prstGeom>
        </p:spPr>
        <p:txBody>
          <a:bodyPr/>
          <a:lstStyle/>
          <a:p>
            <a:pPr defTabSz="714403"/>
            <a:fld id="{86CB4B4D-7CA3-9044-876B-883B54F8677D}" type="slidenum">
              <a:rPr lang="ru-RU" sz="1406" smtClean="0">
                <a:solidFill>
                  <a:prstClr val="black"/>
                </a:solidFill>
              </a:rPr>
              <a:pPr defTabSz="714403"/>
              <a:t>‹#›</a:t>
            </a:fld>
            <a:endParaRPr lang="ru-RU" sz="1406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70225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_Contents.Continuatio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Header"/>
          <p:cNvSpPr txBox="1"/>
          <p:nvPr userDrawn="1"/>
        </p:nvSpPr>
        <p:spPr>
          <a:xfrm>
            <a:off x="513133" y="587845"/>
            <a:ext cx="11165754" cy="391896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en-GB" sz="1814" dirty="0">
                <a:solidFill>
                  <a:srgbClr val="313131"/>
                </a:solidFill>
              </a:rPr>
              <a:t>Contents (Continued)</a:t>
            </a:r>
          </a:p>
        </p:txBody>
      </p:sp>
    </p:spTree>
    <p:extLst>
      <p:ext uri="{BB962C8B-B14F-4D97-AF65-F5344CB8AC3E}">
        <p14:creationId xmlns:p14="http://schemas.microsoft.com/office/powerpoint/2010/main" val="200677223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512301" y="587582"/>
            <a:ext cx="11165591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535146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512301" y="979303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7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512300" y="587581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4471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97660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"/>
          <p:cNvGrpSpPr>
            <a:grpSpLocks noChangeAspect="1"/>
          </p:cNvGrpSpPr>
          <p:nvPr userDrawn="1"/>
        </p:nvGrpSpPr>
        <p:grpSpPr>
          <a:xfrm>
            <a:off x="512300" y="259076"/>
            <a:ext cx="2304000" cy="32850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16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354183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175960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145" y="365799"/>
            <a:ext cx="10515712" cy="39541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cons, other graphics &amp; </a:t>
            </a:r>
            <a:r>
              <a:rPr lang="en-US" dirty="0" err="1"/>
              <a:t>misc</a:t>
            </a:r>
            <a:r>
              <a:rPr lang="en-US" dirty="0"/>
              <a:t> placeholders</a:t>
            </a:r>
            <a:endParaRPr lang="en-GB" dirty="0"/>
          </a:p>
        </p:txBody>
      </p:sp>
      <p:graphicFrame>
        <p:nvGraphicFramePr>
          <p:cNvPr id="63" name="NavigationTable"/>
          <p:cNvGraphicFramePr>
            <a:graphicFrameLocks/>
          </p:cNvGraphicFramePr>
          <p:nvPr userDrawn="1"/>
        </p:nvGraphicFramePr>
        <p:xfrm>
          <a:off x="639488" y="1375872"/>
          <a:ext cx="10050663" cy="3262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67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11674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3262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ection 1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2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3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4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5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6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7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8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GB" sz="7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ion 9</a:t>
                      </a:r>
                    </a:p>
                  </a:txBody>
                  <a:tcPr marL="82102" marR="82102" marT="32659" marB="32659" anchor="ctr" horzOverflow="overflow">
                    <a:lnL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BC2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solidFill>
                        <a:srgbClr val="FFFFFF"/>
                      </a:solidFill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46A3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" name="MasterContentsTable"/>
          <p:cNvGraphicFramePr>
            <a:graphicFrameLocks noGrp="1"/>
          </p:cNvGraphicFramePr>
          <p:nvPr userDrawn="1"/>
        </p:nvGraphicFramePr>
        <p:xfrm>
          <a:off x="639487" y="2087196"/>
          <a:ext cx="4543150" cy="39591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341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90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63941">
                <a:tc>
                  <a:txBody>
                    <a:bodyPr/>
                    <a:lstStyle/>
                    <a:p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2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2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3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3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4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4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6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6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7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7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8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8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9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9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0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0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1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1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2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2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3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3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4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>
                          <a:solidFill>
                            <a:schemeClr val="tx1"/>
                          </a:solidFill>
                          <a:latin typeface="Verdana (Body)"/>
                        </a:rPr>
                        <a:t> 14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Verdana (Body)"/>
                      </a:endParaRP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63941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 1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 1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grpSp>
        <p:nvGrpSpPr>
          <p:cNvPr id="37" name="MasterNavigationGroup"/>
          <p:cNvGrpSpPr/>
          <p:nvPr userDrawn="1"/>
        </p:nvGrpSpPr>
        <p:grpSpPr>
          <a:xfrm>
            <a:off x="10320861" y="948096"/>
            <a:ext cx="1032996" cy="328354"/>
            <a:chOff x="6293713" y="4256376"/>
            <a:chExt cx="905889" cy="361950"/>
          </a:xfrm>
        </p:grpSpPr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49394" y="4354513"/>
              <a:ext cx="183024" cy="183024"/>
            </a:xfrm>
            <a:prstGeom prst="rect">
              <a:avLst/>
            </a:prstGeom>
          </p:spPr>
        </p:pic>
        <p:grpSp>
          <p:nvGrpSpPr>
            <p:cNvPr id="36" name="Group 35"/>
            <p:cNvGrpSpPr/>
            <p:nvPr userDrawn="1"/>
          </p:nvGrpSpPr>
          <p:grpSpPr>
            <a:xfrm>
              <a:off x="6293713" y="4256376"/>
              <a:ext cx="905889" cy="361950"/>
              <a:chOff x="6293713" y="4256376"/>
              <a:chExt cx="905889" cy="361950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6911602" y="4312312"/>
                <a:ext cx="288000" cy="287155"/>
                <a:chOff x="5840121" y="174998"/>
                <a:chExt cx="288000" cy="287155"/>
              </a:xfrm>
            </p:grpSpPr>
            <p:sp>
              <p:nvSpPr>
                <p:cNvPr id="29" name="Freeform 211"/>
                <p:cNvSpPr>
                  <a:spLocks/>
                </p:cNvSpPr>
                <p:nvPr/>
              </p:nvSpPr>
              <p:spPr bwMode="auto">
                <a:xfrm rot="10800000">
                  <a:off x="5894174" y="264523"/>
                  <a:ext cx="180739" cy="108105"/>
                </a:xfrm>
                <a:custGeom>
                  <a:avLst/>
                  <a:gdLst>
                    <a:gd name="T0" fmla="*/ 310 w 321"/>
                    <a:gd name="T1" fmla="*/ 86 h 193"/>
                    <a:gd name="T2" fmla="*/ 37 w 321"/>
                    <a:gd name="T3" fmla="*/ 86 h 193"/>
                    <a:gd name="T4" fmla="*/ 104 w 321"/>
                    <a:gd name="T5" fmla="*/ 19 h 193"/>
                    <a:gd name="T6" fmla="*/ 104 w 321"/>
                    <a:gd name="T7" fmla="*/ 4 h 193"/>
                    <a:gd name="T8" fmla="*/ 89 w 321"/>
                    <a:gd name="T9" fmla="*/ 4 h 193"/>
                    <a:gd name="T10" fmla="*/ 4 w 321"/>
                    <a:gd name="T11" fmla="*/ 89 h 193"/>
                    <a:gd name="T12" fmla="*/ 1 w 321"/>
                    <a:gd name="T13" fmla="*/ 93 h 193"/>
                    <a:gd name="T14" fmla="*/ 1 w 321"/>
                    <a:gd name="T15" fmla="*/ 101 h 193"/>
                    <a:gd name="T16" fmla="*/ 4 w 321"/>
                    <a:gd name="T17" fmla="*/ 104 h 193"/>
                    <a:gd name="T18" fmla="*/ 89 w 321"/>
                    <a:gd name="T19" fmla="*/ 190 h 193"/>
                    <a:gd name="T20" fmla="*/ 97 w 321"/>
                    <a:gd name="T21" fmla="*/ 193 h 193"/>
                    <a:gd name="T22" fmla="*/ 104 w 321"/>
                    <a:gd name="T23" fmla="*/ 190 h 193"/>
                    <a:gd name="T24" fmla="*/ 104 w 321"/>
                    <a:gd name="T25" fmla="*/ 174 h 193"/>
                    <a:gd name="T26" fmla="*/ 37 w 321"/>
                    <a:gd name="T27" fmla="*/ 107 h 193"/>
                    <a:gd name="T28" fmla="*/ 310 w 321"/>
                    <a:gd name="T29" fmla="*/ 107 h 193"/>
                    <a:gd name="T30" fmla="*/ 321 w 321"/>
                    <a:gd name="T31" fmla="*/ 97 h 193"/>
                    <a:gd name="T32" fmla="*/ 310 w 321"/>
                    <a:gd name="T33" fmla="*/ 86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1" h="193">
                      <a:moveTo>
                        <a:pt x="310" y="86"/>
                      </a:moveTo>
                      <a:cubicBezTo>
                        <a:pt x="37" y="86"/>
                        <a:pt x="37" y="86"/>
                        <a:pt x="37" y="86"/>
                      </a:cubicBezTo>
                      <a:cubicBezTo>
                        <a:pt x="104" y="19"/>
                        <a:pt x="104" y="19"/>
                        <a:pt x="104" y="19"/>
                      </a:cubicBezTo>
                      <a:cubicBezTo>
                        <a:pt x="108" y="15"/>
                        <a:pt x="108" y="8"/>
                        <a:pt x="104" y="4"/>
                      </a:cubicBezTo>
                      <a:cubicBezTo>
                        <a:pt x="100" y="0"/>
                        <a:pt x="93" y="0"/>
                        <a:pt x="89" y="4"/>
                      </a:cubicBezTo>
                      <a:cubicBezTo>
                        <a:pt x="4" y="89"/>
                        <a:pt x="4" y="89"/>
                        <a:pt x="4" y="89"/>
                      </a:cubicBezTo>
                      <a:cubicBezTo>
                        <a:pt x="3" y="90"/>
                        <a:pt x="2" y="91"/>
                        <a:pt x="1" y="93"/>
                      </a:cubicBezTo>
                      <a:cubicBezTo>
                        <a:pt x="0" y="95"/>
                        <a:pt x="0" y="98"/>
                        <a:pt x="1" y="101"/>
                      </a:cubicBezTo>
                      <a:cubicBezTo>
                        <a:pt x="2" y="102"/>
                        <a:pt x="3" y="103"/>
                        <a:pt x="4" y="104"/>
                      </a:cubicBezTo>
                      <a:cubicBezTo>
                        <a:pt x="89" y="190"/>
                        <a:pt x="89" y="190"/>
                        <a:pt x="89" y="190"/>
                      </a:cubicBezTo>
                      <a:cubicBezTo>
                        <a:pt x="91" y="192"/>
                        <a:pt x="94" y="193"/>
                        <a:pt x="97" y="193"/>
                      </a:cubicBezTo>
                      <a:cubicBezTo>
                        <a:pt x="99" y="193"/>
                        <a:pt x="102" y="192"/>
                        <a:pt x="104" y="190"/>
                      </a:cubicBezTo>
                      <a:cubicBezTo>
                        <a:pt x="108" y="185"/>
                        <a:pt x="108" y="179"/>
                        <a:pt x="104" y="174"/>
                      </a:cubicBezTo>
                      <a:cubicBezTo>
                        <a:pt x="37" y="107"/>
                        <a:pt x="37" y="107"/>
                        <a:pt x="37" y="107"/>
                      </a:cubicBezTo>
                      <a:cubicBezTo>
                        <a:pt x="310" y="107"/>
                        <a:pt x="310" y="107"/>
                        <a:pt x="310" y="107"/>
                      </a:cubicBezTo>
                      <a:cubicBezTo>
                        <a:pt x="316" y="107"/>
                        <a:pt x="321" y="103"/>
                        <a:pt x="321" y="97"/>
                      </a:cubicBezTo>
                      <a:cubicBezTo>
                        <a:pt x="321" y="91"/>
                        <a:pt x="316" y="86"/>
                        <a:pt x="310" y="8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4403"/>
                  <a:endParaRPr lang="en-GB" sz="155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212">
                  <a:hlinkClick r:id="" action="ppaction://hlinkshowjump?jump=nextslide"/>
                </p:cNvPr>
                <p:cNvSpPr>
                  <a:spLocks noEditPoints="1"/>
                </p:cNvSpPr>
                <p:nvPr/>
              </p:nvSpPr>
              <p:spPr bwMode="auto">
                <a:xfrm rot="10800000">
                  <a:off x="5840121" y="174998"/>
                  <a:ext cx="288000" cy="287155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4403"/>
                  <a:endParaRPr lang="en-GB" sz="1550" dirty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7" name="Group 6"/>
              <p:cNvGrpSpPr/>
              <p:nvPr/>
            </p:nvGrpSpPr>
            <p:grpSpPr>
              <a:xfrm>
                <a:off x="6601029" y="4312311"/>
                <a:ext cx="288000" cy="287155"/>
                <a:chOff x="1739755" y="155947"/>
                <a:chExt cx="288000" cy="287155"/>
              </a:xfrm>
            </p:grpSpPr>
            <p:sp>
              <p:nvSpPr>
                <p:cNvPr id="27" name="Freeform 211"/>
                <p:cNvSpPr>
                  <a:spLocks/>
                </p:cNvSpPr>
                <p:nvPr/>
              </p:nvSpPr>
              <p:spPr bwMode="auto">
                <a:xfrm>
                  <a:off x="1792963" y="245472"/>
                  <a:ext cx="180739" cy="108105"/>
                </a:xfrm>
                <a:custGeom>
                  <a:avLst/>
                  <a:gdLst>
                    <a:gd name="T0" fmla="*/ 310 w 321"/>
                    <a:gd name="T1" fmla="*/ 86 h 193"/>
                    <a:gd name="T2" fmla="*/ 37 w 321"/>
                    <a:gd name="T3" fmla="*/ 86 h 193"/>
                    <a:gd name="T4" fmla="*/ 104 w 321"/>
                    <a:gd name="T5" fmla="*/ 19 h 193"/>
                    <a:gd name="T6" fmla="*/ 104 w 321"/>
                    <a:gd name="T7" fmla="*/ 4 h 193"/>
                    <a:gd name="T8" fmla="*/ 89 w 321"/>
                    <a:gd name="T9" fmla="*/ 4 h 193"/>
                    <a:gd name="T10" fmla="*/ 4 w 321"/>
                    <a:gd name="T11" fmla="*/ 89 h 193"/>
                    <a:gd name="T12" fmla="*/ 1 w 321"/>
                    <a:gd name="T13" fmla="*/ 93 h 193"/>
                    <a:gd name="T14" fmla="*/ 1 w 321"/>
                    <a:gd name="T15" fmla="*/ 101 h 193"/>
                    <a:gd name="T16" fmla="*/ 4 w 321"/>
                    <a:gd name="T17" fmla="*/ 104 h 193"/>
                    <a:gd name="T18" fmla="*/ 89 w 321"/>
                    <a:gd name="T19" fmla="*/ 190 h 193"/>
                    <a:gd name="T20" fmla="*/ 97 w 321"/>
                    <a:gd name="T21" fmla="*/ 193 h 193"/>
                    <a:gd name="T22" fmla="*/ 104 w 321"/>
                    <a:gd name="T23" fmla="*/ 190 h 193"/>
                    <a:gd name="T24" fmla="*/ 104 w 321"/>
                    <a:gd name="T25" fmla="*/ 174 h 193"/>
                    <a:gd name="T26" fmla="*/ 37 w 321"/>
                    <a:gd name="T27" fmla="*/ 107 h 193"/>
                    <a:gd name="T28" fmla="*/ 310 w 321"/>
                    <a:gd name="T29" fmla="*/ 107 h 193"/>
                    <a:gd name="T30" fmla="*/ 321 w 321"/>
                    <a:gd name="T31" fmla="*/ 97 h 193"/>
                    <a:gd name="T32" fmla="*/ 310 w 321"/>
                    <a:gd name="T33" fmla="*/ 86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1" h="193">
                      <a:moveTo>
                        <a:pt x="310" y="86"/>
                      </a:moveTo>
                      <a:cubicBezTo>
                        <a:pt x="37" y="86"/>
                        <a:pt x="37" y="86"/>
                        <a:pt x="37" y="86"/>
                      </a:cubicBezTo>
                      <a:cubicBezTo>
                        <a:pt x="104" y="19"/>
                        <a:pt x="104" y="19"/>
                        <a:pt x="104" y="19"/>
                      </a:cubicBezTo>
                      <a:cubicBezTo>
                        <a:pt x="108" y="15"/>
                        <a:pt x="108" y="8"/>
                        <a:pt x="104" y="4"/>
                      </a:cubicBezTo>
                      <a:cubicBezTo>
                        <a:pt x="100" y="0"/>
                        <a:pt x="93" y="0"/>
                        <a:pt x="89" y="4"/>
                      </a:cubicBezTo>
                      <a:cubicBezTo>
                        <a:pt x="4" y="89"/>
                        <a:pt x="4" y="89"/>
                        <a:pt x="4" y="89"/>
                      </a:cubicBezTo>
                      <a:cubicBezTo>
                        <a:pt x="3" y="90"/>
                        <a:pt x="2" y="91"/>
                        <a:pt x="1" y="93"/>
                      </a:cubicBezTo>
                      <a:cubicBezTo>
                        <a:pt x="0" y="95"/>
                        <a:pt x="0" y="98"/>
                        <a:pt x="1" y="101"/>
                      </a:cubicBezTo>
                      <a:cubicBezTo>
                        <a:pt x="2" y="102"/>
                        <a:pt x="3" y="103"/>
                        <a:pt x="4" y="104"/>
                      </a:cubicBezTo>
                      <a:cubicBezTo>
                        <a:pt x="89" y="190"/>
                        <a:pt x="89" y="190"/>
                        <a:pt x="89" y="190"/>
                      </a:cubicBezTo>
                      <a:cubicBezTo>
                        <a:pt x="91" y="192"/>
                        <a:pt x="94" y="193"/>
                        <a:pt x="97" y="193"/>
                      </a:cubicBezTo>
                      <a:cubicBezTo>
                        <a:pt x="99" y="193"/>
                        <a:pt x="102" y="192"/>
                        <a:pt x="104" y="190"/>
                      </a:cubicBezTo>
                      <a:cubicBezTo>
                        <a:pt x="108" y="185"/>
                        <a:pt x="108" y="179"/>
                        <a:pt x="104" y="174"/>
                      </a:cubicBezTo>
                      <a:cubicBezTo>
                        <a:pt x="37" y="107"/>
                        <a:pt x="37" y="107"/>
                        <a:pt x="37" y="107"/>
                      </a:cubicBezTo>
                      <a:cubicBezTo>
                        <a:pt x="310" y="107"/>
                        <a:pt x="310" y="107"/>
                        <a:pt x="310" y="107"/>
                      </a:cubicBezTo>
                      <a:cubicBezTo>
                        <a:pt x="316" y="107"/>
                        <a:pt x="321" y="103"/>
                        <a:pt x="321" y="97"/>
                      </a:cubicBezTo>
                      <a:cubicBezTo>
                        <a:pt x="321" y="91"/>
                        <a:pt x="316" y="86"/>
                        <a:pt x="310" y="8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4403"/>
                  <a:endParaRPr lang="en-GB" sz="155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212">
                  <a:hlinkClick r:id="" action="ppaction://hlinkshowjump?jump=previousslide"/>
                </p:cNvPr>
                <p:cNvSpPr>
                  <a:spLocks noEditPoints="1"/>
                </p:cNvSpPr>
                <p:nvPr/>
              </p:nvSpPr>
              <p:spPr bwMode="auto">
                <a:xfrm>
                  <a:off x="1739755" y="155947"/>
                  <a:ext cx="288000" cy="287155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0796" tIns="50398" rIns="100796" bIns="50398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14403"/>
                  <a:endParaRPr lang="en-GB" sz="155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9" name="LinkHome">
                <a:hlinkClick r:id="" action="ppaction://noaction"/>
              </p:cNvPr>
              <p:cNvSpPr/>
              <p:nvPr userDrawn="1"/>
            </p:nvSpPr>
            <p:spPr bwMode="gray">
              <a:xfrm>
                <a:off x="6293713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 defTabSz="714403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452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LinkForward">
                <a:hlinkClick r:id="" action="ppaction://hlinkshowjump?jump=nextslide"/>
              </p:cNvPr>
              <p:cNvSpPr/>
              <p:nvPr userDrawn="1"/>
            </p:nvSpPr>
            <p:spPr bwMode="gray">
              <a:xfrm>
                <a:off x="6875752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 defTabSz="714403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452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LinkBackward">
                <a:hlinkClick r:id="" action="ppaction://hlinkshowjump?jump=previousslide"/>
              </p:cNvPr>
              <p:cNvSpPr/>
              <p:nvPr userDrawn="1"/>
            </p:nvSpPr>
            <p:spPr bwMode="gray">
              <a:xfrm>
                <a:off x="6580114" y="4256376"/>
                <a:ext cx="323850" cy="361950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 defTabSz="714403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452" b="1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4" name="Freeform 212">
              <a:hlinkClick r:id="" action="ppaction://noaction"/>
            </p:cNvPr>
            <p:cNvSpPr>
              <a:spLocks noEditPoints="1"/>
            </p:cNvSpPr>
            <p:nvPr/>
          </p:nvSpPr>
          <p:spPr bwMode="auto">
            <a:xfrm>
              <a:off x="6299693" y="4312311"/>
              <a:ext cx="288000" cy="28800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550" dirty="0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18" name="ContentsTable"/>
          <p:cNvGraphicFramePr>
            <a:graphicFrameLocks noGrp="1"/>
          </p:cNvGraphicFramePr>
          <p:nvPr userDrawn="1"/>
        </p:nvGraphicFramePr>
        <p:xfrm>
          <a:off x="6128146" y="2087196"/>
          <a:ext cx="4543150" cy="26312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341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90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63130">
                <a:tc>
                  <a:txBody>
                    <a:bodyPr/>
                    <a:lstStyle/>
                    <a:p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2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2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3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3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4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4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5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6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6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7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7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8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8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9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9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313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Content line 10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Verdana (Body)"/>
                        </a:rPr>
                        <a:t>10</a:t>
                      </a:r>
                    </a:p>
                  </a:txBody>
                  <a:tcPr marL="104270" marR="104270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526486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Заголовок и объект" userDrawn="1">
  <p:cSld name="3_Заголовок и объект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261" y="34950"/>
            <a:ext cx="1454793" cy="648000"/>
          </a:xfrm>
          <a:prstGeom prst="rect">
            <a:avLst/>
          </a:prstGeom>
        </p:spPr>
      </p:pic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9550" y="6492877"/>
            <a:ext cx="5524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4403"/>
            <a:fld id="{00000000-1234-1234-1234-12341234123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714403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896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89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572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aster_Contents.Continuatio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336C4246-8D88-4304-8AAA-6EACD1BA0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4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8DCDFFED-34D0-4883-A1DD-35F0D1C0A8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4403"/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14403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5093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438802" y="955095"/>
            <a:ext cx="11165591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FEE3FFB2-1B11-4096-9934-774BBC8BBD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14061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13885" y="3761895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7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413886" y="1682228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4" name="Рисунок 18">
            <a:extLst>
              <a:ext uri="{FF2B5EF4-FFF2-40B4-BE49-F238E27FC236}">
                <a16:creationId xmlns="" xmlns:a16="http://schemas.microsoft.com/office/drawing/2014/main" id="{136CA4DC-588E-4061-BC7D-7B5427020C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1" y="364543"/>
            <a:ext cx="10878575" cy="461869"/>
          </a:xfrm>
          <a:prstGeom prst="rect">
            <a:avLst/>
          </a:prstGeom>
        </p:spPr>
      </p:pic>
      <p:pic>
        <p:nvPicPr>
          <p:cNvPr id="5" name="Рисунок 19">
            <a:extLst>
              <a:ext uri="{FF2B5EF4-FFF2-40B4-BE49-F238E27FC236}">
                <a16:creationId xmlns="" xmlns:a16="http://schemas.microsoft.com/office/drawing/2014/main" id="{5C6DB4CA-498A-473A-B728-54379FDB6E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8" y="103007"/>
            <a:ext cx="1225047" cy="984939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A51B75AC-6737-4483-AAC4-75CFEAFE7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6345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"/>
          <p:cNvGrpSpPr>
            <a:grpSpLocks noChangeAspect="1"/>
          </p:cNvGrpSpPr>
          <p:nvPr userDrawn="1"/>
        </p:nvGrpSpPr>
        <p:grpSpPr>
          <a:xfrm>
            <a:off x="512300" y="259077"/>
            <a:ext cx="2304000" cy="32850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16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4403"/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92B6D0DF-5683-4045-94AB-7868A752F4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6219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="" xmlns:a16="http://schemas.microsoft.com/office/drawing/2014/main" id="{73F365CC-2E2E-4E66-9B88-9620A8D969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63817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BD489C38-F465-4AB5-83CC-609AA8C9B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83129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88499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5A92727-021C-4E33-8B3B-159F4571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982" y="131444"/>
            <a:ext cx="10322493" cy="705994"/>
          </a:xfrm>
          <a:prstGeom prst="rect">
            <a:avLst/>
          </a:prstGeom>
        </p:spPr>
        <p:txBody>
          <a:bodyPr/>
          <a:lstStyle>
            <a:lvl1pPr>
              <a:defRPr sz="159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EB73960-229F-4D3A-A502-25E678B449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893" y="1228437"/>
            <a:ext cx="10515600" cy="49485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56B9A69-481A-4E1B-AC89-7D9A5980E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067" y="90360"/>
            <a:ext cx="980325" cy="788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857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932" y="274638"/>
            <a:ext cx="9756140" cy="13255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830773" y="6448427"/>
            <a:ext cx="1143298" cy="180974"/>
          </a:xfrm>
          <a:prstGeom prst="rect">
            <a:avLst/>
          </a:prstGeom>
        </p:spPr>
        <p:txBody>
          <a:bodyPr/>
          <a:lstStyle>
            <a:lvl1pPr>
              <a:defRPr sz="597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7963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438801" y="955094"/>
            <a:ext cx="11165591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FEE3FFB2-1B11-4096-9934-774BBC8BBD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12806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13885" y="3761894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9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413886" y="1682227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4" name="Рисунок 18">
            <a:extLst>
              <a:ext uri="{FF2B5EF4-FFF2-40B4-BE49-F238E27FC236}">
                <a16:creationId xmlns="" xmlns:a16="http://schemas.microsoft.com/office/drawing/2014/main" id="{136CA4DC-588E-4061-BC7D-7B5427020C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0" y="364542"/>
            <a:ext cx="10878575" cy="461869"/>
          </a:xfrm>
          <a:prstGeom prst="rect">
            <a:avLst/>
          </a:prstGeom>
        </p:spPr>
      </p:pic>
      <p:pic>
        <p:nvPicPr>
          <p:cNvPr id="5" name="Рисунок 19">
            <a:extLst>
              <a:ext uri="{FF2B5EF4-FFF2-40B4-BE49-F238E27FC236}">
                <a16:creationId xmlns="" xmlns:a16="http://schemas.microsoft.com/office/drawing/2014/main" id="{5C6DB4CA-498A-473A-B728-54379FDB6E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7" y="103006"/>
            <a:ext cx="1225047" cy="984939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A51B75AC-6737-4483-AAC4-75CFEAFE7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8662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"/>
          <p:cNvGrpSpPr>
            <a:grpSpLocks noChangeAspect="1"/>
          </p:cNvGrpSpPr>
          <p:nvPr userDrawn="1"/>
        </p:nvGrpSpPr>
        <p:grpSpPr>
          <a:xfrm>
            <a:off x="512300" y="259077"/>
            <a:ext cx="2304000" cy="32850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16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92B6D0DF-5683-4045-94AB-7868A752F4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56406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="" xmlns:a16="http://schemas.microsoft.com/office/drawing/2014/main" id="{73F365CC-2E2E-4E66-9B88-9620A8D969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99375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9A4C224A-5757-4F8F-8448-6D4EB52953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0258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3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BD489C38-F465-4AB5-83CC-609AA8C9B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316638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5A92727-021C-4E33-8B3B-159F4571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981" y="131444"/>
            <a:ext cx="10322493" cy="70599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EB73960-229F-4D3A-A502-25E678B449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892" y="1228436"/>
            <a:ext cx="10515600" cy="49485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56B9A69-481A-4E1B-AC89-7D9A5980E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066" y="90360"/>
            <a:ext cx="980325" cy="788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0303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204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2538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3461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4552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4891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021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82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7944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7109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069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4506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7159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95178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_Contents.Continuatio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336C4246-8D88-4304-8AAA-6EACD1BA0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4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8DCDFFED-34D0-4883-A1DD-35F0D1C0A8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23281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932" y="274638"/>
            <a:ext cx="9756140" cy="13255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830773" y="6448427"/>
            <a:ext cx="1143298" cy="180974"/>
          </a:xfrm>
          <a:prstGeom prst="rect">
            <a:avLst/>
          </a:prstGeom>
        </p:spPr>
        <p:txBody>
          <a:bodyPr/>
          <a:lstStyle>
            <a:lvl1pPr>
              <a:defRPr sz="597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9261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Расположение сдвоенных рисунков в основной стать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12FFD63-8D92-B741-B6B3-1FE000FF27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180" y="212541"/>
            <a:ext cx="4970195" cy="744960"/>
          </a:xfrm>
        </p:spPr>
        <p:txBody>
          <a:bodyPr rtlCol="0">
            <a:normAutofit/>
          </a:bodyPr>
          <a:lstStyle>
            <a:lvl1pPr>
              <a:defRPr sz="2386">
                <a:solidFill>
                  <a:schemeClr val="accent4"/>
                </a:solidFill>
              </a:defRPr>
            </a:lvl1pPr>
          </a:lstStyle>
          <a:p>
            <a:pPr rtl="0"/>
            <a:r>
              <a:rPr lang="ru-RU" noProof="0"/>
              <a:t>Заголовок основной статьи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CC7A09F6-762B-1942-9CA5-5B6680E33E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/>
          <a:p>
            <a:pPr rtl="0"/>
            <a:r>
              <a:rPr lang="ru-RU" noProof="0"/>
              <a:t>Добавьте нижний колонтиту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672542B-48FE-D14C-A887-2A63248948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CB2079F2-58AF-ED44-82D7-E04B2F6FD686}" type="slidenum">
              <a:rPr lang="ru-RU" noProof="0" smtClean="0"/>
              <a:pPr/>
              <a:t>‹#›</a:t>
            </a:fld>
            <a:endParaRPr lang="ru-RU" noProof="0"/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F6A4B57-8BC2-1446-9E08-DD15BBFF076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 rtlCol="0"/>
          <a:lstStyle/>
          <a:p>
            <a:pPr rtl="0"/>
            <a:fld id="{BBA49961-C1CF-45FB-AC3B-6CA10372FE36}" type="datetime1">
              <a:rPr lang="ru-RU" noProof="0" smtClean="0"/>
              <a:t>06.06.2023</a:t>
            </a:fld>
            <a:endParaRPr lang="ru-RU" noProof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4092FED9-F29D-644B-BCF2-2968CED2C749}"/>
              </a:ext>
            </a:extLst>
          </p:cNvPr>
          <p:cNvCxnSpPr>
            <a:cxnSpLocks/>
          </p:cNvCxnSpPr>
          <p:nvPr userDrawn="1"/>
        </p:nvCxnSpPr>
        <p:spPr>
          <a:xfrm>
            <a:off x="639148" y="212543"/>
            <a:ext cx="0" cy="97831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1">
            <a:extLst>
              <a:ext uri="{FF2B5EF4-FFF2-40B4-BE49-F238E27FC236}">
                <a16:creationId xmlns="" xmlns:a16="http://schemas.microsoft.com/office/drawing/2014/main" id="{02DDB3CA-4049-BD4C-83A1-7BBF091B27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171" y="3827318"/>
            <a:ext cx="5378823" cy="2538196"/>
          </a:xfrm>
        </p:spPr>
        <p:txBody>
          <a:bodyPr numCol="1" spcCol="182880" rtlCol="0">
            <a:normAutofit/>
          </a:bodyPr>
          <a:lstStyle>
            <a:lvl1pPr marL="0" indent="0">
              <a:lnSpc>
                <a:spcPct val="130000"/>
              </a:lnSpc>
              <a:buNone/>
              <a:defRPr sz="955"/>
            </a:lvl1pPr>
            <a:lvl2pPr>
              <a:defRPr sz="1091"/>
            </a:lvl2pPr>
            <a:lvl3pPr>
              <a:defRPr sz="955"/>
            </a:lvl3pPr>
            <a:lvl4pPr>
              <a:defRPr sz="818"/>
            </a:lvl4pPr>
            <a:lvl5pPr>
              <a:defRPr sz="818"/>
            </a:lvl5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14" name="Надпись 13">
            <a:extLst>
              <a:ext uri="{FF2B5EF4-FFF2-40B4-BE49-F238E27FC236}">
                <a16:creationId xmlns="" xmlns:a16="http://schemas.microsoft.com/office/drawing/2014/main" id="{52D08331-6544-744C-8571-269612F406D9}"/>
              </a:ext>
            </a:extLst>
          </p:cNvPr>
          <p:cNvSpPr txBox="1"/>
          <p:nvPr userDrawn="1"/>
        </p:nvSpPr>
        <p:spPr>
          <a:xfrm>
            <a:off x="6096001" y="212542"/>
            <a:ext cx="5967035" cy="2158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endParaRPr lang="ru-RU" sz="803" noProof="0"/>
          </a:p>
        </p:txBody>
      </p:sp>
      <p:sp>
        <p:nvSpPr>
          <p:cNvPr id="15" name="Текст 11">
            <a:extLst>
              <a:ext uri="{FF2B5EF4-FFF2-40B4-BE49-F238E27FC236}">
                <a16:creationId xmlns="" xmlns:a16="http://schemas.microsoft.com/office/drawing/2014/main" id="{5A048A91-9FD9-5B42-9AFE-B422C92023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1" y="212542"/>
            <a:ext cx="5967035" cy="3421081"/>
          </a:xfrm>
        </p:spPr>
        <p:txBody>
          <a:bodyPr numCol="2" spcCol="182880" rtlCol="0">
            <a:normAutofit/>
          </a:bodyPr>
          <a:lstStyle>
            <a:lvl1pPr marL="0" marR="0" indent="0" algn="l" defTabSz="914396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55"/>
            </a:lvl1pPr>
            <a:lvl2pPr>
              <a:defRPr sz="1091"/>
            </a:lvl2pPr>
            <a:lvl3pPr>
              <a:defRPr sz="955"/>
            </a:lvl3pPr>
            <a:lvl4pPr>
              <a:defRPr sz="818"/>
            </a:lvl4pPr>
            <a:lvl5pPr>
              <a:defRPr sz="818"/>
            </a:lvl5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="" xmlns:a16="http://schemas.microsoft.com/office/drawing/2014/main" id="{D46783C4-8F93-F94E-B6D3-5BE51513E0E5}"/>
              </a:ext>
            </a:extLst>
          </p:cNvPr>
          <p:cNvCxnSpPr>
            <a:cxnSpLocks/>
          </p:cNvCxnSpPr>
          <p:nvPr userDrawn="1"/>
        </p:nvCxnSpPr>
        <p:spPr>
          <a:xfrm flipH="1">
            <a:off x="909907" y="3528238"/>
            <a:ext cx="3941001" cy="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Рисунок 9">
            <a:extLst>
              <a:ext uri="{FF2B5EF4-FFF2-40B4-BE49-F238E27FC236}">
                <a16:creationId xmlns="" xmlns:a16="http://schemas.microsoft.com/office/drawing/2014/main" id="{437E525F-D5A8-D64A-B798-14259120494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61380" y="3827318"/>
            <a:ext cx="5901655" cy="2538196"/>
          </a:xfrm>
        </p:spPr>
        <p:txBody>
          <a:bodyPr rtlCol="0"/>
          <a:lstStyle/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6" name="Рисунок 9">
            <a:extLst>
              <a:ext uri="{FF2B5EF4-FFF2-40B4-BE49-F238E27FC236}">
                <a16:creationId xmlns="" xmlns:a16="http://schemas.microsoft.com/office/drawing/2014/main" id="{E705A1A8-3E55-7D4E-913B-4F235244071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6172" y="1317413"/>
            <a:ext cx="5361207" cy="2350530"/>
          </a:xfrm>
        </p:spPr>
        <p:txBody>
          <a:bodyPr rtlCol="0"/>
          <a:lstStyle/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8" name="Текст 66">
            <a:extLst>
              <a:ext uri="{FF2B5EF4-FFF2-40B4-BE49-F238E27FC236}">
                <a16:creationId xmlns="" xmlns:a16="http://schemas.microsoft.com/office/drawing/2014/main" id="{B6C80278-5269-F841-93D4-E56B3EEA607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7179" y="973463"/>
            <a:ext cx="1777696" cy="217389"/>
          </a:xfrm>
        </p:spPr>
        <p:txBody>
          <a:bodyPr rtlCol="0" anchor="ctr">
            <a:noAutofit/>
          </a:bodyPr>
          <a:lstStyle>
            <a:lvl1pPr marL="0" indent="0" algn="l">
              <a:buFontTx/>
              <a:buNone/>
              <a:defRPr sz="1091" b="1" u="none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198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96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94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93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ru-RU" noProof="0"/>
              <a:t>Имя автора</a:t>
            </a:r>
          </a:p>
        </p:txBody>
      </p:sp>
      <p:sp>
        <p:nvSpPr>
          <p:cNvPr id="19" name="Текст 10">
            <a:extLst>
              <a:ext uri="{FF2B5EF4-FFF2-40B4-BE49-F238E27FC236}">
                <a16:creationId xmlns="" xmlns:a16="http://schemas.microsoft.com/office/drawing/2014/main" id="{EBCDE509-A226-5A4B-970D-4FE7712C644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8966" y="212542"/>
            <a:ext cx="510183" cy="744959"/>
          </a:xfrm>
        </p:spPr>
        <p:txBody>
          <a:bodyPr rtlCol="0" anchor="ctr">
            <a:normAutofit/>
          </a:bodyPr>
          <a:lstStyle>
            <a:lvl1pPr marL="0" indent="0" algn="ctr">
              <a:buFontTx/>
              <a:buNone/>
              <a:defRPr sz="2386">
                <a:solidFill>
                  <a:schemeClr val="accent4"/>
                </a:solidFill>
              </a:defRPr>
            </a:lvl1pPr>
            <a:lvl2pPr>
              <a:defRPr sz="150"/>
            </a:lvl2pPr>
            <a:lvl3pPr marL="914396" indent="0" algn="l">
              <a:buFontTx/>
              <a:buNone/>
              <a:defRPr sz="4432"/>
            </a:lvl3pPr>
          </a:lstStyle>
          <a:p>
            <a:pPr lvl="0" rtl="0"/>
            <a:r>
              <a:rPr lang="ru-RU" noProof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036956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Расположение рисунков в основной стать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12FFD63-8D92-B741-B6B3-1FE000FF27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180" y="212541"/>
            <a:ext cx="4970195" cy="744960"/>
          </a:xfrm>
        </p:spPr>
        <p:txBody>
          <a:bodyPr rtlCol="0">
            <a:normAutofit/>
          </a:bodyPr>
          <a:lstStyle>
            <a:lvl1pPr>
              <a:defRPr sz="2386">
                <a:solidFill>
                  <a:schemeClr val="accent4"/>
                </a:solidFill>
              </a:defRPr>
            </a:lvl1pPr>
          </a:lstStyle>
          <a:p>
            <a:pPr rtl="0"/>
            <a:r>
              <a:rPr lang="ru-RU" noProof="0"/>
              <a:t>Заголовок основной статьи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CC7A09F6-762B-1942-9CA5-5B6680E33E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/>
          <a:p>
            <a:pPr rtl="0"/>
            <a:r>
              <a:rPr lang="ru-RU" noProof="0"/>
              <a:t>Добавьте нижний колонтиту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2672542B-48FE-D14C-A887-2A63248948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 rtl="0"/>
            <a:fld id="{CB2079F2-58AF-ED44-82D7-E04B2F6FD686}" type="slidenum">
              <a:rPr lang="ru-RU" noProof="0" smtClean="0"/>
              <a:pPr/>
              <a:t>‹#›</a:t>
            </a:fld>
            <a:endParaRPr lang="ru-RU" noProof="0"/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F6A4B57-8BC2-1446-9E08-DD15BBFF076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 rtlCol="0"/>
          <a:lstStyle/>
          <a:p>
            <a:pPr rtl="0"/>
            <a:fld id="{062B678A-7B2C-4D55-913E-0A1C1A92CA68}" type="datetime1">
              <a:rPr lang="ru-RU" noProof="0" smtClean="0"/>
              <a:t>06.06.2023</a:t>
            </a:fld>
            <a:endParaRPr lang="ru-RU" noProof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4092FED9-F29D-644B-BCF2-2968CED2C749}"/>
              </a:ext>
            </a:extLst>
          </p:cNvPr>
          <p:cNvCxnSpPr/>
          <p:nvPr userDrawn="1"/>
        </p:nvCxnSpPr>
        <p:spPr>
          <a:xfrm>
            <a:off x="639148" y="212543"/>
            <a:ext cx="0" cy="744959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C04A0D6F-F996-434B-9FCE-1D573737EED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6172" y="1317413"/>
            <a:ext cx="5361207" cy="2350530"/>
          </a:xfrm>
        </p:spPr>
        <p:txBody>
          <a:bodyPr rtlCol="0"/>
          <a:lstStyle/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="" xmlns:a16="http://schemas.microsoft.com/office/drawing/2014/main" id="{02DDB3CA-4049-BD4C-83A1-7BBF091B27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171" y="3827318"/>
            <a:ext cx="5378823" cy="2538196"/>
          </a:xfrm>
        </p:spPr>
        <p:txBody>
          <a:bodyPr numCol="2" spcCol="182880" rtlCol="0">
            <a:normAutofit/>
          </a:bodyPr>
          <a:lstStyle>
            <a:lvl1pPr marL="0" indent="0">
              <a:lnSpc>
                <a:spcPct val="130000"/>
              </a:lnSpc>
              <a:buNone/>
              <a:defRPr sz="955"/>
            </a:lvl1pPr>
            <a:lvl2pPr>
              <a:defRPr sz="1091"/>
            </a:lvl2pPr>
            <a:lvl3pPr>
              <a:defRPr sz="955"/>
            </a:lvl3pPr>
            <a:lvl4pPr>
              <a:defRPr sz="818"/>
            </a:lvl4pPr>
            <a:lvl5pPr algn="l">
              <a:defRPr sz="818"/>
            </a:lvl5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14" name="Надпись 13">
            <a:extLst>
              <a:ext uri="{FF2B5EF4-FFF2-40B4-BE49-F238E27FC236}">
                <a16:creationId xmlns="" xmlns:a16="http://schemas.microsoft.com/office/drawing/2014/main" id="{52D08331-6544-744C-8571-269612F406D9}"/>
              </a:ext>
            </a:extLst>
          </p:cNvPr>
          <p:cNvSpPr txBox="1"/>
          <p:nvPr userDrawn="1"/>
        </p:nvSpPr>
        <p:spPr>
          <a:xfrm>
            <a:off x="6096001" y="212542"/>
            <a:ext cx="5967035" cy="2158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endParaRPr lang="ru-RU" sz="803" noProof="0"/>
          </a:p>
        </p:txBody>
      </p:sp>
      <p:sp>
        <p:nvSpPr>
          <p:cNvPr id="15" name="Текст 11">
            <a:extLst>
              <a:ext uri="{FF2B5EF4-FFF2-40B4-BE49-F238E27FC236}">
                <a16:creationId xmlns="" xmlns:a16="http://schemas.microsoft.com/office/drawing/2014/main" id="{5A048A91-9FD9-5B42-9AFE-B422C92023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1" y="212542"/>
            <a:ext cx="5967035" cy="6152973"/>
          </a:xfrm>
        </p:spPr>
        <p:txBody>
          <a:bodyPr numCol="2" spcCol="182880" rtlCol="0">
            <a:normAutofit/>
          </a:bodyPr>
          <a:lstStyle>
            <a:lvl1pPr marL="0" marR="0" indent="0" algn="l" defTabSz="914396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55"/>
            </a:lvl1pPr>
            <a:lvl2pPr>
              <a:defRPr sz="1091"/>
            </a:lvl2pPr>
            <a:lvl3pPr>
              <a:defRPr sz="955"/>
            </a:lvl3pPr>
            <a:lvl4pPr>
              <a:defRPr sz="818"/>
            </a:lvl4pPr>
            <a:lvl5pPr>
              <a:defRPr sz="818"/>
            </a:lvl5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16" name="Текст 10">
            <a:extLst>
              <a:ext uri="{FF2B5EF4-FFF2-40B4-BE49-F238E27FC236}">
                <a16:creationId xmlns="" xmlns:a16="http://schemas.microsoft.com/office/drawing/2014/main" id="{9984EB38-DD6D-2948-996C-2E9069D0A7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8966" y="212542"/>
            <a:ext cx="510183" cy="744959"/>
          </a:xfrm>
        </p:spPr>
        <p:txBody>
          <a:bodyPr rtlCol="0" anchor="ctr">
            <a:normAutofit/>
          </a:bodyPr>
          <a:lstStyle>
            <a:lvl1pPr marL="0" indent="0" algn="ctr">
              <a:buFontTx/>
              <a:buNone/>
              <a:defRPr sz="2386">
                <a:solidFill>
                  <a:schemeClr val="accent4"/>
                </a:solidFill>
              </a:defRPr>
            </a:lvl1pPr>
            <a:lvl2pPr>
              <a:defRPr sz="150"/>
            </a:lvl2pPr>
            <a:lvl3pPr marL="914396" indent="0" algn="l">
              <a:buFontTx/>
              <a:buNone/>
              <a:defRPr sz="4432"/>
            </a:lvl3pPr>
          </a:lstStyle>
          <a:p>
            <a:pPr lvl="0" rtl="0"/>
            <a:r>
              <a:rPr lang="ru-RU" noProof="0"/>
              <a:t>1</a:t>
            </a:r>
          </a:p>
        </p:txBody>
      </p:sp>
      <p:sp>
        <p:nvSpPr>
          <p:cNvPr id="13" name="Текст 66">
            <a:extLst>
              <a:ext uri="{FF2B5EF4-FFF2-40B4-BE49-F238E27FC236}">
                <a16:creationId xmlns="" xmlns:a16="http://schemas.microsoft.com/office/drawing/2014/main" id="{81EF9CB8-C11A-5D44-876B-20EA78D2FC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7179" y="973463"/>
            <a:ext cx="1777696" cy="217389"/>
          </a:xfrm>
        </p:spPr>
        <p:txBody>
          <a:bodyPr rtlCol="0" anchor="ctr">
            <a:noAutofit/>
          </a:bodyPr>
          <a:lstStyle>
            <a:lvl1pPr marL="0" indent="0" algn="l">
              <a:buFontTx/>
              <a:buNone/>
              <a:defRPr sz="1091" b="1" u="none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198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96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94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93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ru-RU" noProof="0"/>
              <a:t>Имя автора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63D00EE4-469A-3640-B0D6-93DACF96A278}"/>
              </a:ext>
            </a:extLst>
          </p:cNvPr>
          <p:cNvCxnSpPr>
            <a:cxnSpLocks/>
          </p:cNvCxnSpPr>
          <p:nvPr userDrawn="1"/>
        </p:nvCxnSpPr>
        <p:spPr>
          <a:xfrm>
            <a:off x="639148" y="212543"/>
            <a:ext cx="0" cy="97831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67661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438801" y="955094"/>
            <a:ext cx="11165591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9846192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13885" y="3761894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9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413886" y="1682227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4" name="Рисунок 18">
            <a:extLst>
              <a:ext uri="{FF2B5EF4-FFF2-40B4-BE49-F238E27FC236}">
                <a16:creationId xmlns="" xmlns:a16="http://schemas.microsoft.com/office/drawing/2014/main" id="{136CA4DC-588E-4061-BC7D-7B5427020C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0" y="364542"/>
            <a:ext cx="10878575" cy="461869"/>
          </a:xfrm>
          <a:prstGeom prst="rect">
            <a:avLst/>
          </a:prstGeom>
        </p:spPr>
      </p:pic>
      <p:pic>
        <p:nvPicPr>
          <p:cNvPr id="5" name="Рисунок 19">
            <a:extLst>
              <a:ext uri="{FF2B5EF4-FFF2-40B4-BE49-F238E27FC236}">
                <a16:creationId xmlns="" xmlns:a16="http://schemas.microsoft.com/office/drawing/2014/main" id="{5C6DB4CA-498A-473A-B728-54379FDB6E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7" y="103006"/>
            <a:ext cx="1225047" cy="984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771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"/>
          <p:cNvGrpSpPr>
            <a:grpSpLocks noChangeAspect="1"/>
          </p:cNvGrpSpPr>
          <p:nvPr userDrawn="1"/>
        </p:nvGrpSpPr>
        <p:grpSpPr>
          <a:xfrm>
            <a:off x="512300" y="259077"/>
            <a:ext cx="2304000" cy="32850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16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76227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557018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518491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5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9252358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27234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_Contents.Continuatio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336C4246-8D88-4304-8AAA-6EACD1BA0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3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8DCDFFED-34D0-4883-A1DD-35F0D1C0A8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95441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438801" y="955094"/>
            <a:ext cx="11165591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FEE3FFB2-1B11-4096-9934-774BBC8BBD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874844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13885" y="3761894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9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413886" y="1682227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4" name="Рисунок 18">
            <a:extLst>
              <a:ext uri="{FF2B5EF4-FFF2-40B4-BE49-F238E27FC236}">
                <a16:creationId xmlns="" xmlns:a16="http://schemas.microsoft.com/office/drawing/2014/main" id="{136CA4DC-588E-4061-BC7D-7B5427020C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0" y="364542"/>
            <a:ext cx="10878575" cy="461869"/>
          </a:xfrm>
          <a:prstGeom prst="rect">
            <a:avLst/>
          </a:prstGeom>
        </p:spPr>
      </p:pic>
      <p:pic>
        <p:nvPicPr>
          <p:cNvPr id="5" name="Рисунок 19">
            <a:extLst>
              <a:ext uri="{FF2B5EF4-FFF2-40B4-BE49-F238E27FC236}">
                <a16:creationId xmlns="" xmlns:a16="http://schemas.microsoft.com/office/drawing/2014/main" id="{5C6DB4CA-498A-473A-B728-54379FDB6E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7" y="103006"/>
            <a:ext cx="1225047" cy="984939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A51B75AC-6737-4483-AAC4-75CFEAFE7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927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"/>
          <p:cNvGrpSpPr>
            <a:grpSpLocks noChangeAspect="1"/>
          </p:cNvGrpSpPr>
          <p:nvPr userDrawn="1"/>
        </p:nvGrpSpPr>
        <p:grpSpPr>
          <a:xfrm>
            <a:off x="512300" y="259077"/>
            <a:ext cx="2304000" cy="32850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16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92B6D0DF-5683-4045-94AB-7868A752F4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081497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="" xmlns:a16="http://schemas.microsoft.com/office/drawing/2014/main" id="{73F365CC-2E2E-4E66-9B88-9620A8D969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054406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3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9A4C224A-5757-4F8F-8448-6D4EB52953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290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7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BD489C38-F465-4AB5-83CC-609AA8C9B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436691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5A92727-021C-4E33-8B3B-159F4571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981" y="131444"/>
            <a:ext cx="10322493" cy="70599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EB73960-229F-4D3A-A502-25E678B449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892" y="1228436"/>
            <a:ext cx="10515600" cy="49485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56B9A69-481A-4E1B-AC89-7D9A5980E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066" y="90360"/>
            <a:ext cx="980325" cy="788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0448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438801" y="955094"/>
            <a:ext cx="11165591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FEE3FFB2-1B11-4096-9934-774BBC8BBD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33440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13885" y="3761894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97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413886" y="1682227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4" name="Рисунок 18">
            <a:extLst>
              <a:ext uri="{FF2B5EF4-FFF2-40B4-BE49-F238E27FC236}">
                <a16:creationId xmlns="" xmlns:a16="http://schemas.microsoft.com/office/drawing/2014/main" id="{136CA4DC-588E-4061-BC7D-7B5427020C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0" y="364542"/>
            <a:ext cx="10878575" cy="461869"/>
          </a:xfrm>
          <a:prstGeom prst="rect">
            <a:avLst/>
          </a:prstGeom>
        </p:spPr>
      </p:pic>
      <p:pic>
        <p:nvPicPr>
          <p:cNvPr id="5" name="Рисунок 19">
            <a:extLst>
              <a:ext uri="{FF2B5EF4-FFF2-40B4-BE49-F238E27FC236}">
                <a16:creationId xmlns="" xmlns:a16="http://schemas.microsoft.com/office/drawing/2014/main" id="{5C6DB4CA-498A-473A-B728-54379FDB6E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7" y="103006"/>
            <a:ext cx="1225047" cy="984939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A51B75AC-6737-4483-AAC4-75CFEAFE7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0703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02256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"/>
          <p:cNvGrpSpPr>
            <a:grpSpLocks noChangeAspect="1"/>
          </p:cNvGrpSpPr>
          <p:nvPr userDrawn="1"/>
        </p:nvGrpSpPr>
        <p:grpSpPr>
          <a:xfrm>
            <a:off x="512300" y="259077"/>
            <a:ext cx="2304000" cy="32850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16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92B6D0DF-5683-4045-94AB-7868A752F4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639767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="" xmlns:a16="http://schemas.microsoft.com/office/drawing/2014/main" id="{73F365CC-2E2E-4E66-9B88-9620A8D969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95589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5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9A4C224A-5757-4F8F-8448-6D4EB52953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19192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BD489C38-F465-4AB5-83CC-609AA8C9B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296534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5A92727-021C-4E33-8B3B-159F4571E1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981" y="131444"/>
            <a:ext cx="10322493" cy="70599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EB73960-229F-4D3A-A502-25E678B449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892" y="1228436"/>
            <a:ext cx="10515600" cy="49485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56B9A69-481A-4E1B-AC89-7D9A5980E4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066" y="90360"/>
            <a:ext cx="980325" cy="788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3957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_Contents.Continuatio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336C4246-8D88-4304-8AAA-6EACD1BA0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4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8DCDFFED-34D0-4883-A1DD-35F0D1C0A8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185680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ctionHeader"/>
          <p:cNvSpPr>
            <a:spLocks noGrp="1"/>
          </p:cNvSpPr>
          <p:nvPr>
            <p:ph type="title" hasCustomPrompt="1"/>
          </p:nvPr>
        </p:nvSpPr>
        <p:spPr>
          <a:xfrm>
            <a:off x="438802" y="955095"/>
            <a:ext cx="11165591" cy="3917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FEE3FFB2-1B11-4096-9934-774BBC8BBD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23419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pLine"/>
          <p:cNvSpPr>
            <a:spLocks noGrp="1"/>
          </p:cNvSpPr>
          <p:nvPr>
            <p:ph type="body" sz="quarter" idx="13" hasCustomPrompt="1"/>
          </p:nvPr>
        </p:nvSpPr>
        <p:spPr>
          <a:xfrm>
            <a:off x="413885" y="3761895"/>
            <a:ext cx="11165591" cy="47028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71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SlideTitle"/>
          <p:cNvSpPr>
            <a:spLocks noGrp="1"/>
          </p:cNvSpPr>
          <p:nvPr>
            <p:ph type="title"/>
          </p:nvPr>
        </p:nvSpPr>
        <p:spPr>
          <a:xfrm>
            <a:off x="413886" y="1682228"/>
            <a:ext cx="11165591" cy="3919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A51B75AC-6737-4483-AAC4-75CFEAFE7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948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"/>
          <p:cNvGrpSpPr>
            <a:grpSpLocks noChangeAspect="1"/>
          </p:cNvGrpSpPr>
          <p:nvPr userDrawn="1"/>
        </p:nvGrpSpPr>
        <p:grpSpPr>
          <a:xfrm>
            <a:off x="512300" y="259077"/>
            <a:ext cx="2304000" cy="32850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16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10" dirty="0">
                <a:solidFill>
                  <a:prstClr val="white"/>
                </a:solidFill>
                <a:latin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" name="Slide Number Placeholder 5">
            <a:extLst>
              <a:ext uri="{FF2B5EF4-FFF2-40B4-BE49-F238E27FC236}">
                <a16:creationId xmlns="" xmlns:a16="http://schemas.microsoft.com/office/drawing/2014/main" id="{92B6D0DF-5683-4045-94AB-7868A752F4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369276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="" xmlns:a16="http://schemas.microsoft.com/office/drawing/2014/main" id="{73F365CC-2E2E-4E66-9B88-9620A8D969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21746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oleObject" Target="../embeddings/oleObject21.bin"/><Relationship Id="rId5" Type="http://schemas.openxmlformats.org/officeDocument/2006/relationships/slideLayout" Target="../slideLayouts/slideLayout92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91.xml"/><Relationship Id="rId9" Type="http://schemas.openxmlformats.org/officeDocument/2006/relationships/vmlDrawing" Target="../drawings/vmlDrawing14.vml"/><Relationship Id="rId14" Type="http://schemas.openxmlformats.org/officeDocument/2006/relationships/image" Target="../media/image5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ags" Target="../tags/tag26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vmlDrawing" Target="../drawings/vmlDrawing17.v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oleObject" Target="../embeddings/oleObject26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vmlDrawing" Target="../drawings/vmlDrawing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41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4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49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8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5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56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55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5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76.xml"/><Relationship Id="rId7" Type="http://schemas.openxmlformats.org/officeDocument/2006/relationships/theme" Target="../theme/theme8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8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77.xml"/><Relationship Id="rId9" Type="http://schemas.openxmlformats.org/officeDocument/2006/relationships/tags" Target="../tags/tag1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84.xml"/><Relationship Id="rId15" Type="http://schemas.openxmlformats.org/officeDocument/2006/relationships/image" Target="../media/image5.jpe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83.xml"/><Relationship Id="rId9" Type="http://schemas.openxmlformats.org/officeDocument/2006/relationships/theme" Target="../theme/theme9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7C46D5-4731-414E-9D4C-C2CBBA2A4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35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770" r:id="rId13"/>
    <p:sldLayoutId id="2147483771" r:id="rId14"/>
    <p:sldLayoutId id="2147483773" r:id="rId15"/>
    <p:sldLayoutId id="2147483774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21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18">
            <a:extLst>
              <a:ext uri="{FF2B5EF4-FFF2-40B4-BE49-F238E27FC236}">
                <a16:creationId xmlns="" xmlns:a16="http://schemas.microsoft.com/office/drawing/2014/main" id="{6EF8592A-3580-4A9A-AAF1-BB90AE5170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0" y="364542"/>
            <a:ext cx="10878575" cy="461869"/>
          </a:xfrm>
          <a:prstGeom prst="rect">
            <a:avLst/>
          </a:prstGeom>
        </p:spPr>
      </p:pic>
      <p:pic>
        <p:nvPicPr>
          <p:cNvPr id="7" name="Рисунок 19">
            <a:extLst>
              <a:ext uri="{FF2B5EF4-FFF2-40B4-BE49-F238E27FC236}">
                <a16:creationId xmlns="" xmlns:a16="http://schemas.microsoft.com/office/drawing/2014/main" id="{8B6F3F1A-F341-4CCB-934E-C875D06BD86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7" y="103006"/>
            <a:ext cx="1225047" cy="984939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B6B2E5E2-0795-4D8A-8468-F6C268615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3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04F0177-CADF-4710-AFA1-12941B993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863" y="1736315"/>
            <a:ext cx="10515712" cy="435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DD0DDDA5-E99D-4950-A0D8-4C1D671AF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96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</p:sldLayoutIdLst>
  <p:transition>
    <p:fade/>
  </p:transition>
  <p:hf hdr="0" ftr="0" dt="0"/>
  <p:txStyles>
    <p:titleStyle>
      <a:lvl1pPr algn="l" defTabSz="1129598" rtl="0" eaLnBrk="1" latinLnBrk="0" hangingPunct="1">
        <a:spcBef>
          <a:spcPct val="0"/>
        </a:spcBef>
        <a:buNone/>
        <a:defRPr sz="1814" kern="1200">
          <a:solidFill>
            <a:schemeClr val="tx1">
              <a:lumMod val="75000"/>
              <a:lumOff val="25000"/>
            </a:schemeClr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0" indent="0" algn="l" defTabSz="1129598" rtl="0" eaLnBrk="1" latinLnBrk="0" hangingPunct="1">
        <a:spcBef>
          <a:spcPts val="0"/>
        </a:spcBef>
        <a:spcAft>
          <a:spcPts val="1235"/>
        </a:spcAft>
        <a:buSzPct val="100000"/>
        <a:buFont typeface="Arial" panose="020B0604020202020204" pitchFamily="34" charset="0"/>
        <a:buNone/>
        <a:defRPr sz="1633" b="1" kern="1200">
          <a:solidFill>
            <a:srgbClr val="C4D6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0" indent="0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Arial"/>
        <a:buNone/>
        <a:defRPr lang="en-US" sz="1633" b="1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217914" indent="-217914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Arial" panose="020B0604020202020204" pitchFamily="34" charset="0"/>
        <a:buChar char="•"/>
        <a:defRPr lang="en-US" sz="1633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440277" indent="-217914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Verdana" panose="020B0604030504040204" pitchFamily="34" charset="0"/>
        <a:buChar char="−"/>
        <a:defRPr lang="en-US" sz="1633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658190" indent="-217914" algn="l" defTabSz="98643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Verdana" panose="020B0604030504040204" pitchFamily="34" charset="0"/>
        <a:buChar char="−"/>
        <a:tabLst/>
        <a:defRPr lang="en-US" sz="1633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>
          <a:solidFill>
            <a:schemeClr val="tx1"/>
          </a:solidFill>
          <a:latin typeface="+mn-lt"/>
          <a:ea typeface="+mn-ea"/>
          <a:cs typeface="+mn-cs"/>
        </a:defRPr>
      </a:lvl7pPr>
      <a:lvl8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1pPr>
      <a:lvl2pPr marL="564800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2pPr>
      <a:lvl3pPr marL="1129598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3pPr>
      <a:lvl4pPr marL="1694396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4pPr>
      <a:lvl5pPr marL="2259194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5pPr>
      <a:lvl6pPr marL="2823993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6pPr>
      <a:lvl7pPr marL="3388792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7pPr>
      <a:lvl8pPr marL="3953589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8pPr>
      <a:lvl9pPr marL="4518389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6">
          <p15:clr>
            <a:srgbClr val="F26B43"/>
          </p15:clr>
        </p15:guide>
        <p15:guide id="2" pos="8109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8" pos="4090">
          <p15:clr>
            <a:srgbClr val="43B02A"/>
          </p15:clr>
        </p15:guide>
        <p15:guide id="9" pos="4374">
          <p15:clr>
            <a:srgbClr val="43B02A"/>
          </p15:clr>
        </p15:guide>
        <p15:guide id="10" orient="horz" pos="2743">
          <p15:clr>
            <a:srgbClr val="43B02A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2121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B6B2E5E2-0795-4D8A-8468-F6C268615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4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04F0177-CADF-4710-AFA1-12941B993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864" y="1736315"/>
            <a:ext cx="10515712" cy="435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DD0DDDA5-E99D-4950-A0D8-4C1D671AF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461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</p:sldLayoutIdLst>
  <p:transition>
    <p:fade/>
  </p:transition>
  <p:hf hdr="0" ftr="0" dt="0"/>
  <p:txStyles>
    <p:titleStyle>
      <a:lvl1pPr algn="l" defTabSz="898724" rtl="0" eaLnBrk="1" latinLnBrk="0" hangingPunct="1">
        <a:spcBef>
          <a:spcPct val="0"/>
        </a:spcBef>
        <a:buNone/>
        <a:defRPr sz="1443" kern="1200">
          <a:solidFill>
            <a:schemeClr val="tx1">
              <a:lumMod val="75000"/>
              <a:lumOff val="25000"/>
            </a:schemeClr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0" indent="0" algn="l" defTabSz="898724" rtl="0" eaLnBrk="1" latinLnBrk="0" hangingPunct="1">
        <a:spcBef>
          <a:spcPts val="0"/>
        </a:spcBef>
        <a:spcAft>
          <a:spcPts val="982"/>
        </a:spcAft>
        <a:buSzPct val="100000"/>
        <a:buFont typeface="Arial" panose="020B0604020202020204" pitchFamily="34" charset="0"/>
        <a:buNone/>
        <a:defRPr sz="1299" b="1" kern="1200">
          <a:solidFill>
            <a:srgbClr val="C4D6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0" indent="0" algn="l" defTabSz="898724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/>
        <a:buNone/>
        <a:defRPr lang="en-US" sz="1299" b="1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73376" indent="-173376" algn="l" defTabSz="898724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 panose="020B0604020202020204" pitchFamily="34" charset="0"/>
        <a:buChar char="•"/>
        <a:defRPr lang="en-US" sz="1299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350291" indent="-173376" algn="l" defTabSz="898724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defRPr lang="en-US" sz="1299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523666" indent="-173376" algn="l" defTabSz="784824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tabLst/>
        <a:defRPr lang="en-US" sz="1299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523666" indent="-173376" algn="l" defTabSz="898724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23666" indent="-173376" algn="l" defTabSz="898724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>
          <a:solidFill>
            <a:schemeClr val="tx1"/>
          </a:solidFill>
          <a:latin typeface="+mn-lt"/>
          <a:ea typeface="+mn-ea"/>
          <a:cs typeface="+mn-cs"/>
        </a:defRPr>
      </a:lvl7pPr>
      <a:lvl8pPr marL="523666" indent="-173376" algn="l" defTabSz="898724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23666" indent="-173376" algn="l" defTabSz="898724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1pPr>
      <a:lvl2pPr marL="449363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2pPr>
      <a:lvl3pPr marL="898724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3pPr>
      <a:lvl4pPr marL="1348086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4pPr>
      <a:lvl5pPr marL="1797447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5pPr>
      <a:lvl6pPr marL="2246810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6pPr>
      <a:lvl7pPr marL="2696172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7pPr>
      <a:lvl8pPr marL="3145533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8pPr>
      <a:lvl9pPr marL="3594895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6">
          <p15:clr>
            <a:srgbClr val="F26B43"/>
          </p15:clr>
        </p15:guide>
        <p15:guide id="2" pos="8109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8" pos="4090">
          <p15:clr>
            <a:srgbClr val="43B02A"/>
          </p15:clr>
        </p15:guide>
        <p15:guide id="9" pos="4374">
          <p15:clr>
            <a:srgbClr val="43B02A"/>
          </p15:clr>
        </p15:guide>
        <p15:guide id="10" orient="horz" pos="2743">
          <p15:clr>
            <a:srgbClr val="43B02A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4A65D0F-EF66-7A66-E45C-1E688C733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85B762A5-D98F-11F5-2EE2-226FDE8CBE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17035CD9-4862-13D5-8E35-3F986F1638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26FA46-F861-4027-B298-751B781548C2}" type="datetimeFigureOut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9F4A5EEB-194F-DEA1-BB64-2E7CAD4B28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336C208-1593-E091-2237-4A65D6DA34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56BEB6-96A5-4847-A25A-B2480D00B274}" type="slidenum">
              <a:rPr lang="ru-K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K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909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K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7931" y="274638"/>
            <a:ext cx="9756141" cy="13255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7931" y="1828800"/>
            <a:ext cx="9756141" cy="4343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153936" y="6448427"/>
            <a:ext cx="1396623" cy="1809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209151" y="6448427"/>
            <a:ext cx="6639905" cy="1809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cap="all" baseline="0">
                <a:solidFill>
                  <a:schemeClr val="tx1"/>
                </a:solidFill>
              </a:defRPr>
            </a:lvl1pPr>
          </a:lstStyle>
          <a:p>
            <a:endParaRPr lang="ru-RU" dirty="0">
              <a:solidFill>
                <a:srgbClr val="545454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830772" y="6448427"/>
            <a:ext cx="1143299" cy="1809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36C87F6-986D-49E6-AF40-1B3A1EE8064D}" type="slidenum">
              <a:rPr lang="ru-RU" smtClean="0">
                <a:solidFill>
                  <a:srgbClr val="545454"/>
                </a:solidFill>
              </a:rPr>
              <a:pPr/>
              <a:t>‹#›</a:t>
            </a:fld>
            <a:endParaRPr lang="ru-RU" dirty="0">
              <a:solidFill>
                <a:srgbClr val="5454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064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76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 cap="all" baseline="0">
          <a:solidFill>
            <a:schemeClr val="tx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274320" indent="-228600" algn="l" defTabSz="914400" rtl="0" eaLnBrk="1" latinLnBrk="0" hangingPunct="1">
        <a:lnSpc>
          <a:spcPct val="90000"/>
        </a:lnSpc>
        <a:spcBef>
          <a:spcPts val="1800"/>
        </a:spcBef>
        <a:buClr>
          <a:schemeClr val="tx1"/>
        </a:buClr>
        <a:buSzPct val="80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228600" algn="l" defTabSz="914400" rtl="0" eaLnBrk="1" latinLnBrk="0" hangingPunct="1">
        <a:spcBef>
          <a:spcPts val="600"/>
        </a:spcBef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228600" algn="l" defTabSz="914400" rtl="0" eaLnBrk="1" latinLnBrk="0" hangingPunct="1">
        <a:spcBef>
          <a:spcPts val="600"/>
        </a:spcBef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228600" algn="l" defTabSz="914400" rtl="0" eaLnBrk="1" latinLnBrk="0" hangingPunct="1">
        <a:spcBef>
          <a:spcPts val="600"/>
        </a:spcBef>
        <a:buSzPct val="8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228600" algn="l" defTabSz="914400" rtl="0" eaLnBrk="1" latinLnBrk="0" hangingPunct="1">
        <a:spcBef>
          <a:spcPts val="600"/>
        </a:spcBef>
        <a:buSzPct val="80000"/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20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0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tandardTextbox"/>
          <p:cNvSpPr>
            <a:spLocks noGrp="1"/>
          </p:cNvSpPr>
          <p:nvPr>
            <p:ph type="body" idx="1"/>
          </p:nvPr>
        </p:nvSpPr>
        <p:spPr>
          <a:xfrm>
            <a:off x="512300" y="1762745"/>
            <a:ext cx="2855085" cy="15271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203936" y="6474920"/>
            <a:ext cx="473955" cy="97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714403">
              <a:spcBef>
                <a:spcPts val="544"/>
              </a:spcBef>
              <a:buSzPct val="100000"/>
              <a:buFont typeface="Arial"/>
              <a:buNone/>
            </a:pPr>
            <a:fld id="{6A8D1C03-AAA8-43EC-B489-78E602BCCCAE}" type="slidenum">
              <a:rPr lang="en-GB" sz="635" smtClean="0">
                <a:solidFill>
                  <a:srgbClr val="000000"/>
                </a:solidFill>
                <a:cs typeface="Arial" charset="0"/>
              </a:rPr>
              <a:pPr algn="r" defTabSz="714403">
                <a:spcBef>
                  <a:spcPts val="544"/>
                </a:spcBef>
                <a:buSzPct val="100000"/>
                <a:buFont typeface="Arial"/>
                <a:buNone/>
              </a:pPr>
              <a:t>‹#›</a:t>
            </a:fld>
            <a:endParaRPr lang="en-GB" sz="635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1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transition>
    <p:fade/>
  </p:transition>
  <p:hf hdr="0" dt="0"/>
  <p:txStyles>
    <p:titleStyle>
      <a:lvl1pPr algn="l" defTabSz="898646" rtl="0" eaLnBrk="1" latinLnBrk="0" hangingPunct="1">
        <a:spcBef>
          <a:spcPct val="0"/>
        </a:spcBef>
        <a:buNone/>
        <a:defRPr sz="1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98646" rtl="0" eaLnBrk="1" latinLnBrk="0" hangingPunct="1">
        <a:spcBef>
          <a:spcPts val="0"/>
        </a:spcBef>
        <a:spcAft>
          <a:spcPts val="982"/>
        </a:spcAft>
        <a:buSzPct val="100000"/>
        <a:buFont typeface="Arial" panose="020B0604020202020204" pitchFamily="34" charset="0"/>
        <a:buNone/>
        <a:defRPr sz="907" b="1" kern="1200">
          <a:solidFill>
            <a:srgbClr val="C4D600"/>
          </a:solidFill>
          <a:latin typeface="+mn-lt"/>
          <a:ea typeface="+mn-ea"/>
          <a:cs typeface="+mn-cs"/>
        </a:defRPr>
      </a:lvl1pPr>
      <a:lvl2pPr marL="0" indent="0" algn="l" defTabSz="898646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/>
        <a:buNone/>
        <a:defRPr lang="en-US" sz="907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3360" indent="-173360" algn="l" defTabSz="898646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 panose="020B0604020202020204" pitchFamily="34" charset="0"/>
        <a:buChar char="•"/>
        <a:defRPr lang="en-US" sz="90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0260" indent="-173360" algn="l" defTabSz="898646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23620" indent="-173360" algn="l" defTabSz="784755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tabLst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23620" indent="-173360" algn="l" defTabSz="898646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23620" indent="-173360" algn="l" defTabSz="898646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>
          <a:solidFill>
            <a:schemeClr val="tx1"/>
          </a:solidFill>
          <a:latin typeface="+mn-lt"/>
          <a:ea typeface="+mn-ea"/>
          <a:cs typeface="+mn-cs"/>
        </a:defRPr>
      </a:lvl7pPr>
      <a:lvl8pPr marL="523620" indent="-173360" algn="l" defTabSz="898646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23620" indent="-173360" algn="l" defTabSz="898646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1pPr>
      <a:lvl2pPr marL="449323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2pPr>
      <a:lvl3pPr marL="898646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3pPr>
      <a:lvl4pPr marL="1347969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4pPr>
      <a:lvl5pPr marL="1797290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5pPr>
      <a:lvl6pPr marL="2246614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6pPr>
      <a:lvl7pPr marL="2695936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7pPr>
      <a:lvl8pPr marL="3145258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8pPr>
      <a:lvl9pPr marL="3594581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>
          <p15:clr>
            <a:srgbClr val="F26B43"/>
          </p15:clr>
        </p15:guide>
        <p15:guide id="2" pos="6451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8" pos="3254">
          <p15:clr>
            <a:srgbClr val="43B02A"/>
          </p15:clr>
        </p15:guide>
        <p15:guide id="9" pos="3480">
          <p15:clr>
            <a:srgbClr val="43B02A"/>
          </p15:clr>
        </p15:guide>
        <p15:guide id="10" orient="horz" pos="2743">
          <p15:clr>
            <a:srgbClr val="43B02A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0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20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tandardTextbox"/>
          <p:cNvSpPr>
            <a:spLocks noGrp="1"/>
          </p:cNvSpPr>
          <p:nvPr>
            <p:ph type="body" idx="1"/>
          </p:nvPr>
        </p:nvSpPr>
        <p:spPr>
          <a:xfrm>
            <a:off x="512300" y="1762745"/>
            <a:ext cx="2855085" cy="15271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203936" y="6474920"/>
            <a:ext cx="473955" cy="97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714403">
              <a:spcBef>
                <a:spcPts val="544"/>
              </a:spcBef>
              <a:buSzPct val="100000"/>
              <a:buFont typeface="Arial"/>
              <a:buNone/>
            </a:pPr>
            <a:fld id="{6A8D1C03-AAA8-43EC-B489-78E602BCCCAE}" type="slidenum">
              <a:rPr lang="en-GB" sz="635" smtClean="0">
                <a:solidFill>
                  <a:srgbClr val="000000"/>
                </a:solidFill>
                <a:cs typeface="Arial" charset="0"/>
              </a:rPr>
              <a:pPr algn="r" defTabSz="714403">
                <a:spcBef>
                  <a:spcPts val="544"/>
                </a:spcBef>
                <a:buSzPct val="100000"/>
                <a:buFont typeface="Arial"/>
                <a:buNone/>
              </a:pPr>
              <a:t>‹#›</a:t>
            </a:fld>
            <a:endParaRPr lang="en-GB" sz="635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503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9" r:id="rId7"/>
    <p:sldLayoutId id="2147483700" r:id="rId8"/>
  </p:sldLayoutIdLst>
  <p:transition>
    <p:fade/>
  </p:transition>
  <p:hf hdr="0" dt="0"/>
  <p:txStyles>
    <p:titleStyle>
      <a:lvl1pPr algn="l" defTabSz="898646" rtl="0" eaLnBrk="1" latinLnBrk="0" hangingPunct="1">
        <a:spcBef>
          <a:spcPct val="0"/>
        </a:spcBef>
        <a:buNone/>
        <a:defRPr sz="1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98646" rtl="0" eaLnBrk="1" latinLnBrk="0" hangingPunct="1">
        <a:spcBef>
          <a:spcPts val="0"/>
        </a:spcBef>
        <a:spcAft>
          <a:spcPts val="982"/>
        </a:spcAft>
        <a:buSzPct val="100000"/>
        <a:buFont typeface="Arial" panose="020B0604020202020204" pitchFamily="34" charset="0"/>
        <a:buNone/>
        <a:defRPr sz="907" b="1" kern="1200">
          <a:solidFill>
            <a:srgbClr val="C4D600"/>
          </a:solidFill>
          <a:latin typeface="+mn-lt"/>
          <a:ea typeface="+mn-ea"/>
          <a:cs typeface="+mn-cs"/>
        </a:defRPr>
      </a:lvl1pPr>
      <a:lvl2pPr marL="0" indent="0" algn="l" defTabSz="898646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/>
        <a:buNone/>
        <a:defRPr lang="en-US" sz="907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3360" indent="-173360" algn="l" defTabSz="898646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 panose="020B0604020202020204" pitchFamily="34" charset="0"/>
        <a:buChar char="•"/>
        <a:defRPr lang="en-US" sz="90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0260" indent="-173360" algn="l" defTabSz="898646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23620" indent="-173360" algn="l" defTabSz="784755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tabLst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23620" indent="-173360" algn="l" defTabSz="898646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23620" indent="-173360" algn="l" defTabSz="898646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>
          <a:solidFill>
            <a:schemeClr val="tx1"/>
          </a:solidFill>
          <a:latin typeface="+mn-lt"/>
          <a:ea typeface="+mn-ea"/>
          <a:cs typeface="+mn-cs"/>
        </a:defRPr>
      </a:lvl7pPr>
      <a:lvl8pPr marL="523620" indent="-173360" algn="l" defTabSz="898646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23620" indent="-173360" algn="l" defTabSz="898646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1pPr>
      <a:lvl2pPr marL="449323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2pPr>
      <a:lvl3pPr marL="898646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3pPr>
      <a:lvl4pPr marL="1347969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4pPr>
      <a:lvl5pPr marL="1797290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5pPr>
      <a:lvl6pPr marL="2246614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6pPr>
      <a:lvl7pPr marL="2695936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7pPr>
      <a:lvl8pPr marL="3145258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8pPr>
      <a:lvl9pPr marL="3594581" algn="l" defTabSz="898646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>
          <p15:clr>
            <a:srgbClr val="F26B43"/>
          </p15:clr>
        </p15:guide>
        <p15:guide id="2" pos="6451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8" pos="3254">
          <p15:clr>
            <a:srgbClr val="43B02A"/>
          </p15:clr>
        </p15:guide>
        <p15:guide id="9" pos="3480">
          <p15:clr>
            <a:srgbClr val="43B02A"/>
          </p15:clr>
        </p15:guide>
        <p15:guide id="10" orient="horz" pos="2743">
          <p15:clr>
            <a:srgbClr val="43B02A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21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18">
            <a:extLst>
              <a:ext uri="{FF2B5EF4-FFF2-40B4-BE49-F238E27FC236}">
                <a16:creationId xmlns="" xmlns:a16="http://schemas.microsoft.com/office/drawing/2014/main" id="{6EF8592A-3580-4A9A-AAF1-BB90AE5170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1" y="364543"/>
            <a:ext cx="10878575" cy="461869"/>
          </a:xfrm>
          <a:prstGeom prst="rect">
            <a:avLst/>
          </a:prstGeom>
        </p:spPr>
      </p:pic>
      <p:pic>
        <p:nvPicPr>
          <p:cNvPr id="7" name="Рисунок 19">
            <a:extLst>
              <a:ext uri="{FF2B5EF4-FFF2-40B4-BE49-F238E27FC236}">
                <a16:creationId xmlns="" xmlns:a16="http://schemas.microsoft.com/office/drawing/2014/main" id="{8B6F3F1A-F341-4CCB-934E-C875D06BD86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8" y="103007"/>
            <a:ext cx="1225047" cy="984939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B6B2E5E2-0795-4D8A-8468-F6C268615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4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04F0177-CADF-4710-AFA1-12941B993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864" y="1736315"/>
            <a:ext cx="10515712" cy="435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DD0DDDA5-E99D-4950-A0D8-4C1D671AF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14403"/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714403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859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</p:sldLayoutIdLst>
  <p:transition>
    <p:fade/>
  </p:transition>
  <p:hf hdr="0" ftr="0" dt="0"/>
  <p:txStyles>
    <p:titleStyle>
      <a:lvl1pPr algn="l" defTabSz="898724" rtl="0" eaLnBrk="1" latinLnBrk="0" hangingPunct="1">
        <a:spcBef>
          <a:spcPct val="0"/>
        </a:spcBef>
        <a:buNone/>
        <a:defRPr sz="1443" kern="1200">
          <a:solidFill>
            <a:schemeClr val="tx1">
              <a:lumMod val="75000"/>
              <a:lumOff val="25000"/>
            </a:schemeClr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0" indent="0" algn="l" defTabSz="898724" rtl="0" eaLnBrk="1" latinLnBrk="0" hangingPunct="1">
        <a:spcBef>
          <a:spcPts val="0"/>
        </a:spcBef>
        <a:spcAft>
          <a:spcPts val="982"/>
        </a:spcAft>
        <a:buSzPct val="100000"/>
        <a:buFont typeface="Arial" panose="020B0604020202020204" pitchFamily="34" charset="0"/>
        <a:buNone/>
        <a:defRPr sz="1299" b="1" kern="1200">
          <a:solidFill>
            <a:srgbClr val="C4D6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0" indent="0" algn="l" defTabSz="898724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/>
        <a:buNone/>
        <a:defRPr lang="en-US" sz="1299" b="1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73376" indent="-173376" algn="l" defTabSz="898724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 panose="020B0604020202020204" pitchFamily="34" charset="0"/>
        <a:buChar char="•"/>
        <a:defRPr lang="en-US" sz="1299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350291" indent="-173376" algn="l" defTabSz="898724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defRPr lang="en-US" sz="1299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523666" indent="-173376" algn="l" defTabSz="784824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tabLst/>
        <a:defRPr lang="en-US" sz="1299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523666" indent="-173376" algn="l" defTabSz="898724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23666" indent="-173376" algn="l" defTabSz="898724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>
          <a:solidFill>
            <a:schemeClr val="tx1"/>
          </a:solidFill>
          <a:latin typeface="+mn-lt"/>
          <a:ea typeface="+mn-ea"/>
          <a:cs typeface="+mn-cs"/>
        </a:defRPr>
      </a:lvl7pPr>
      <a:lvl8pPr marL="523666" indent="-173376" algn="l" defTabSz="898724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23666" indent="-173376" algn="l" defTabSz="898724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1pPr>
      <a:lvl2pPr marL="449363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2pPr>
      <a:lvl3pPr marL="898724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3pPr>
      <a:lvl4pPr marL="1348086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4pPr>
      <a:lvl5pPr marL="1797447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5pPr>
      <a:lvl6pPr marL="2246810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6pPr>
      <a:lvl7pPr marL="2696172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7pPr>
      <a:lvl8pPr marL="3145533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8pPr>
      <a:lvl9pPr marL="3594895" algn="l" defTabSz="898724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6">
          <p15:clr>
            <a:srgbClr val="F26B43"/>
          </p15:clr>
        </p15:guide>
        <p15:guide id="2" pos="8109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8" pos="4090">
          <p15:clr>
            <a:srgbClr val="43B02A"/>
          </p15:clr>
        </p15:guide>
        <p15:guide id="9" pos="4374">
          <p15:clr>
            <a:srgbClr val="43B02A"/>
          </p15:clr>
        </p15:guide>
        <p15:guide id="10" orient="horz" pos="2743">
          <p15:clr>
            <a:srgbClr val="43B02A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21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18">
            <a:extLst>
              <a:ext uri="{FF2B5EF4-FFF2-40B4-BE49-F238E27FC236}">
                <a16:creationId xmlns="" xmlns:a16="http://schemas.microsoft.com/office/drawing/2014/main" id="{6EF8592A-3580-4A9A-AAF1-BB90AE5170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0" y="364542"/>
            <a:ext cx="10878575" cy="461869"/>
          </a:xfrm>
          <a:prstGeom prst="rect">
            <a:avLst/>
          </a:prstGeom>
        </p:spPr>
      </p:pic>
      <p:pic>
        <p:nvPicPr>
          <p:cNvPr id="7" name="Рисунок 19">
            <a:extLst>
              <a:ext uri="{FF2B5EF4-FFF2-40B4-BE49-F238E27FC236}">
                <a16:creationId xmlns="" xmlns:a16="http://schemas.microsoft.com/office/drawing/2014/main" id="{8B6F3F1A-F341-4CCB-934E-C875D06BD86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7" y="103006"/>
            <a:ext cx="1225047" cy="984939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B6B2E5E2-0795-4D8A-8468-F6C268615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3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04F0177-CADF-4710-AFA1-12941B993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863" y="1736315"/>
            <a:ext cx="10515712" cy="435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DD0DDDA5-E99D-4950-A0D8-4C1D671AF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568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</p:sldLayoutIdLst>
  <p:transition>
    <p:fade/>
  </p:transition>
  <p:hf hdr="0" ftr="0" dt="0"/>
  <p:txStyles>
    <p:titleStyle>
      <a:lvl1pPr algn="l" defTabSz="1129598" rtl="0" eaLnBrk="1" latinLnBrk="0" hangingPunct="1">
        <a:spcBef>
          <a:spcPct val="0"/>
        </a:spcBef>
        <a:buNone/>
        <a:defRPr sz="1814" kern="1200">
          <a:solidFill>
            <a:schemeClr val="tx1">
              <a:lumMod val="75000"/>
              <a:lumOff val="25000"/>
            </a:schemeClr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0" indent="0" algn="l" defTabSz="1129598" rtl="0" eaLnBrk="1" latinLnBrk="0" hangingPunct="1">
        <a:spcBef>
          <a:spcPts val="0"/>
        </a:spcBef>
        <a:spcAft>
          <a:spcPts val="1235"/>
        </a:spcAft>
        <a:buSzPct val="100000"/>
        <a:buFont typeface="Arial" panose="020B0604020202020204" pitchFamily="34" charset="0"/>
        <a:buNone/>
        <a:defRPr sz="1633" b="1" kern="1200">
          <a:solidFill>
            <a:srgbClr val="C4D6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0" indent="0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Arial"/>
        <a:buNone/>
        <a:defRPr lang="en-US" sz="1633" b="1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217914" indent="-217914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Arial" panose="020B0604020202020204" pitchFamily="34" charset="0"/>
        <a:buChar char="•"/>
        <a:defRPr lang="en-US" sz="1633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440277" indent="-217914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Verdana" panose="020B0604030504040204" pitchFamily="34" charset="0"/>
        <a:buChar char="−"/>
        <a:defRPr lang="en-US" sz="1633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658190" indent="-217914" algn="l" defTabSz="98643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Verdana" panose="020B0604030504040204" pitchFamily="34" charset="0"/>
        <a:buChar char="−"/>
        <a:tabLst/>
        <a:defRPr lang="en-US" sz="1633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>
          <a:solidFill>
            <a:schemeClr val="tx1"/>
          </a:solidFill>
          <a:latin typeface="+mn-lt"/>
          <a:ea typeface="+mn-ea"/>
          <a:cs typeface="+mn-cs"/>
        </a:defRPr>
      </a:lvl7pPr>
      <a:lvl8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1pPr>
      <a:lvl2pPr marL="564800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2pPr>
      <a:lvl3pPr marL="1129598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3pPr>
      <a:lvl4pPr marL="1694396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4pPr>
      <a:lvl5pPr marL="2259194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5pPr>
      <a:lvl6pPr marL="2823993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6pPr>
      <a:lvl7pPr marL="3388792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7pPr>
      <a:lvl8pPr marL="3953589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8pPr>
      <a:lvl9pPr marL="4518389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6">
          <p15:clr>
            <a:srgbClr val="F26B43"/>
          </p15:clr>
        </p15:guide>
        <p15:guide id="2" pos="8109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8" pos="4090">
          <p15:clr>
            <a:srgbClr val="43B02A"/>
          </p15:clr>
        </p15:guide>
        <p15:guide id="9" pos="4374">
          <p15:clr>
            <a:srgbClr val="43B02A"/>
          </p15:clr>
        </p15:guide>
        <p15:guide id="10" orient="horz" pos="2743">
          <p15:clr>
            <a:srgbClr val="43B02A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0E20DC-12DF-4CCE-A7BC-BB55935983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6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374A62-5D56-40E5-A393-D818C7061EE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091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65" r:id="rId14"/>
    <p:sldLayoutId id="214748376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21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18">
            <a:extLst>
              <a:ext uri="{FF2B5EF4-FFF2-40B4-BE49-F238E27FC236}">
                <a16:creationId xmlns="" xmlns:a16="http://schemas.microsoft.com/office/drawing/2014/main" id="{6EF8592A-3580-4A9A-AAF1-BB90AE5170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0" y="364542"/>
            <a:ext cx="10878575" cy="461869"/>
          </a:xfrm>
          <a:prstGeom prst="rect">
            <a:avLst/>
          </a:prstGeom>
        </p:spPr>
      </p:pic>
      <p:pic>
        <p:nvPicPr>
          <p:cNvPr id="7" name="Рисунок 19">
            <a:extLst>
              <a:ext uri="{FF2B5EF4-FFF2-40B4-BE49-F238E27FC236}">
                <a16:creationId xmlns="" xmlns:a16="http://schemas.microsoft.com/office/drawing/2014/main" id="{8B6F3F1A-F341-4CCB-934E-C875D06BD86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7" y="103006"/>
            <a:ext cx="1225047" cy="984939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94068769-A564-4619-8FAA-51CE3E347E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20339" y="6311279"/>
            <a:ext cx="2742520" cy="3643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3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B6B2E5E2-0795-4D8A-8468-F6C268615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3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04F0177-CADF-4710-AFA1-12941B993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863" y="1736315"/>
            <a:ext cx="10515712" cy="435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361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</p:sldLayoutIdLst>
  <p:transition>
    <p:fade/>
  </p:transition>
  <p:hf hdr="0" dt="0"/>
  <p:txStyles>
    <p:titleStyle>
      <a:lvl1pPr algn="l" defTabSz="1129598" rtl="0" eaLnBrk="1" latinLnBrk="0" hangingPunct="1">
        <a:spcBef>
          <a:spcPct val="0"/>
        </a:spcBef>
        <a:buNone/>
        <a:defRPr sz="1814" kern="1200">
          <a:solidFill>
            <a:schemeClr val="tx1">
              <a:lumMod val="75000"/>
              <a:lumOff val="25000"/>
            </a:schemeClr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0" indent="0" algn="l" defTabSz="1129598" rtl="0" eaLnBrk="1" latinLnBrk="0" hangingPunct="1">
        <a:spcBef>
          <a:spcPts val="0"/>
        </a:spcBef>
        <a:spcAft>
          <a:spcPts val="1235"/>
        </a:spcAft>
        <a:buSzPct val="100000"/>
        <a:buFont typeface="Arial" panose="020B0604020202020204" pitchFamily="34" charset="0"/>
        <a:buNone/>
        <a:defRPr sz="1633" b="1" kern="1200">
          <a:solidFill>
            <a:srgbClr val="C4D6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0" indent="0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Arial"/>
        <a:buNone/>
        <a:defRPr lang="en-US" sz="1633" b="1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217914" indent="-217914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Arial" panose="020B0604020202020204" pitchFamily="34" charset="0"/>
        <a:buChar char="•"/>
        <a:defRPr lang="en-US" sz="1633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440277" indent="-217914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Verdana" panose="020B0604030504040204" pitchFamily="34" charset="0"/>
        <a:buChar char="−"/>
        <a:defRPr lang="en-US" sz="1633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658190" indent="-217914" algn="l" defTabSz="98643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Verdana" panose="020B0604030504040204" pitchFamily="34" charset="0"/>
        <a:buChar char="−"/>
        <a:tabLst/>
        <a:defRPr lang="en-US" sz="1633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>
          <a:solidFill>
            <a:schemeClr val="tx1"/>
          </a:solidFill>
          <a:latin typeface="+mn-lt"/>
          <a:ea typeface="+mn-ea"/>
          <a:cs typeface="+mn-cs"/>
        </a:defRPr>
      </a:lvl7pPr>
      <a:lvl8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1pPr>
      <a:lvl2pPr marL="564800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2pPr>
      <a:lvl3pPr marL="1129598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3pPr>
      <a:lvl4pPr marL="1694396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4pPr>
      <a:lvl5pPr marL="2259194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5pPr>
      <a:lvl6pPr marL="2823993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6pPr>
      <a:lvl7pPr marL="3388792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7pPr>
      <a:lvl8pPr marL="3953589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8pPr>
      <a:lvl9pPr marL="4518389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6">
          <p15:clr>
            <a:srgbClr val="F26B43"/>
          </p15:clr>
        </p15:guide>
        <p15:guide id="2" pos="8109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8" pos="4090">
          <p15:clr>
            <a:srgbClr val="43B02A"/>
          </p15:clr>
        </p15:guide>
        <p15:guide id="9" pos="4374">
          <p15:clr>
            <a:srgbClr val="43B02A"/>
          </p15:clr>
        </p15:guide>
        <p15:guide id="10" orient="horz" pos="2743">
          <p15:clr>
            <a:srgbClr val="43B02A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1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18">
            <a:extLst>
              <a:ext uri="{FF2B5EF4-FFF2-40B4-BE49-F238E27FC236}">
                <a16:creationId xmlns="" xmlns:a16="http://schemas.microsoft.com/office/drawing/2014/main" id="{6EF8592A-3580-4A9A-AAF1-BB90AE5170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0" y="364542"/>
            <a:ext cx="10878575" cy="461869"/>
          </a:xfrm>
          <a:prstGeom prst="rect">
            <a:avLst/>
          </a:prstGeom>
        </p:spPr>
      </p:pic>
      <p:pic>
        <p:nvPicPr>
          <p:cNvPr id="7" name="Рисунок 19">
            <a:extLst>
              <a:ext uri="{FF2B5EF4-FFF2-40B4-BE49-F238E27FC236}">
                <a16:creationId xmlns="" xmlns:a16="http://schemas.microsoft.com/office/drawing/2014/main" id="{8B6F3F1A-F341-4CCB-934E-C875D06BD86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477" y="103006"/>
            <a:ext cx="1225047" cy="984939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="" xmlns:a16="http://schemas.microsoft.com/office/drawing/2014/main" id="{B6B2E5E2-0795-4D8A-8468-F6C268615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63" y="826411"/>
            <a:ext cx="10515712" cy="6856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04F0177-CADF-4710-AFA1-12941B993D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2863" y="1736315"/>
            <a:ext cx="10515712" cy="43506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DD0DDDA5-E99D-4950-A0D8-4C1D671AF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732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417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</p:sldLayoutIdLst>
  <p:transition>
    <p:fade/>
  </p:transition>
  <p:hf hdr="0" ftr="0" dt="0"/>
  <p:txStyles>
    <p:titleStyle>
      <a:lvl1pPr algn="l" defTabSz="1129598" rtl="0" eaLnBrk="1" latinLnBrk="0" hangingPunct="1">
        <a:spcBef>
          <a:spcPct val="0"/>
        </a:spcBef>
        <a:buNone/>
        <a:defRPr sz="1814" kern="1200">
          <a:solidFill>
            <a:schemeClr val="tx1">
              <a:lumMod val="75000"/>
              <a:lumOff val="25000"/>
            </a:schemeClr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0" indent="0" algn="l" defTabSz="1129598" rtl="0" eaLnBrk="1" latinLnBrk="0" hangingPunct="1">
        <a:spcBef>
          <a:spcPts val="0"/>
        </a:spcBef>
        <a:spcAft>
          <a:spcPts val="1235"/>
        </a:spcAft>
        <a:buSzPct val="100000"/>
        <a:buFont typeface="Arial" panose="020B0604020202020204" pitchFamily="34" charset="0"/>
        <a:buNone/>
        <a:defRPr sz="1633" b="1" kern="1200">
          <a:solidFill>
            <a:srgbClr val="C4D600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0" indent="0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Arial"/>
        <a:buNone/>
        <a:defRPr lang="en-US" sz="1633" b="1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217914" indent="-217914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Arial" panose="020B0604020202020204" pitchFamily="34" charset="0"/>
        <a:buChar char="•"/>
        <a:defRPr lang="en-US" sz="1633" kern="120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440277" indent="-217914" algn="l" defTabSz="112959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Verdana" panose="020B0604030504040204" pitchFamily="34" charset="0"/>
        <a:buChar char="−"/>
        <a:defRPr lang="en-US" sz="1633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658190" indent="-217914" algn="l" defTabSz="986438" rtl="0" eaLnBrk="1" latinLnBrk="0" hangingPunct="1">
        <a:spcBef>
          <a:spcPts val="0"/>
        </a:spcBef>
        <a:spcAft>
          <a:spcPts val="1235"/>
        </a:spcAft>
        <a:buClrTx/>
        <a:buSzPct val="100000"/>
        <a:buFont typeface="Verdana" panose="020B0604030504040204" pitchFamily="34" charset="0"/>
        <a:buChar char="−"/>
        <a:tabLst/>
        <a:defRPr lang="en-US" sz="1633" kern="1200" baseline="0" dirty="0" smtClean="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>
          <a:solidFill>
            <a:schemeClr val="tx1"/>
          </a:solidFill>
          <a:latin typeface="+mn-lt"/>
          <a:ea typeface="+mn-ea"/>
          <a:cs typeface="+mn-cs"/>
        </a:defRPr>
      </a:lvl7pPr>
      <a:lvl8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658190" indent="-217914" algn="l" defTabSz="1129598" rtl="0" eaLnBrk="1" latinLnBrk="0" hangingPunct="1">
        <a:spcBef>
          <a:spcPts val="0"/>
        </a:spcBef>
        <a:spcAft>
          <a:spcPts val="1235"/>
        </a:spcAft>
        <a:buFont typeface="Verdana" panose="020B0604030504040204" pitchFamily="34" charset="0"/>
        <a:buChar char="−"/>
        <a:defRPr sz="1482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1pPr>
      <a:lvl2pPr marL="564800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2pPr>
      <a:lvl3pPr marL="1129598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3pPr>
      <a:lvl4pPr marL="1694396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4pPr>
      <a:lvl5pPr marL="2259194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5pPr>
      <a:lvl6pPr marL="2823993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6pPr>
      <a:lvl7pPr marL="3388792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7pPr>
      <a:lvl8pPr marL="3953589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8pPr>
      <a:lvl9pPr marL="4518389" algn="l" defTabSz="1129598" rtl="0" eaLnBrk="1" latinLnBrk="0" hangingPunct="1">
        <a:defRPr sz="22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6">
          <p15:clr>
            <a:srgbClr val="F26B43"/>
          </p15:clr>
        </p15:guide>
        <p15:guide id="2" pos="8109">
          <p15:clr>
            <a:srgbClr val="F26B43"/>
          </p15:clr>
        </p15:guide>
        <p15:guide id="3" orient="horz" pos="74">
          <p15:clr>
            <a:srgbClr val="F26B43"/>
          </p15:clr>
        </p15:guide>
        <p15:guide id="4" orient="horz" pos="408">
          <p15:clr>
            <a:srgbClr val="F26B43"/>
          </p15:clr>
        </p15:guide>
        <p15:guide id="5" orient="horz" pos="680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orient="horz" pos="4496">
          <p15:clr>
            <a:srgbClr val="F26B43"/>
          </p15:clr>
        </p15:guide>
        <p15:guide id="8" pos="4090">
          <p15:clr>
            <a:srgbClr val="43B02A"/>
          </p15:clr>
        </p15:guide>
        <p15:guide id="9" pos="4374">
          <p15:clr>
            <a:srgbClr val="43B02A"/>
          </p15:clr>
        </p15:guide>
        <p15:guide id="10" orient="horz" pos="2743">
          <p15:clr>
            <a:srgbClr val="43B02A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5.jpe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5.png"/><Relationship Id="rId5" Type="http://schemas.openxmlformats.org/officeDocument/2006/relationships/image" Target="../media/image4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37.xml"/><Relationship Id="rId7" Type="http://schemas.openxmlformats.org/officeDocument/2006/relationships/image" Target="../media/image4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45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5" Type="http://schemas.openxmlformats.org/officeDocument/2006/relationships/image" Target="../media/image4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png"/><Relationship Id="rId5" Type="http://schemas.openxmlformats.org/officeDocument/2006/relationships/image" Target="../media/image47.jpeg"/><Relationship Id="rId4" Type="http://schemas.openxmlformats.org/officeDocument/2006/relationships/image" Target="../media/image8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chart" Target="../charts/chart10.xml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6.xml"/><Relationship Id="rId6" Type="http://schemas.openxmlformats.org/officeDocument/2006/relationships/image" Target="../media/image11.png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40.xml"/><Relationship Id="rId7" Type="http://schemas.openxmlformats.org/officeDocument/2006/relationships/chart" Target="../charts/chart1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chart" Target="../charts/chart13.xml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80.xml"/><Relationship Id="rId9" Type="http://schemas.microsoft.com/office/2007/relationships/hdphoto" Target="../media/hdphoto4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2.png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openxmlformats.org/officeDocument/2006/relationships/image" Target="../media/image4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png"/><Relationship Id="rId5" Type="http://schemas.openxmlformats.org/officeDocument/2006/relationships/image" Target="../media/image47.jpeg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microsoft.com/office/2007/relationships/hdphoto" Target="../media/hdphoto1.wdp"/><Relationship Id="rId10" Type="http://schemas.openxmlformats.org/officeDocument/2006/relationships/image" Target="../media/image17.png"/><Relationship Id="rId4" Type="http://schemas.openxmlformats.org/officeDocument/2006/relationships/image" Target="../media/image5.jpe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openxmlformats.org/officeDocument/2006/relationships/image" Target="../media/image46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1.xml"/><Relationship Id="rId6" Type="http://schemas.openxmlformats.org/officeDocument/2006/relationships/image" Target="../media/image42.png"/><Relationship Id="rId5" Type="http://schemas.openxmlformats.org/officeDocument/2006/relationships/image" Target="../media/image78.svg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51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7.jpeg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03.xml"/><Relationship Id="rId7" Type="http://schemas.openxmlformats.org/officeDocument/2006/relationships/image" Target="../media/image5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0.bin"/><Relationship Id="rId4" Type="http://schemas.openxmlformats.org/officeDocument/2006/relationships/chart" Target="../charts/chart1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microsoft.com/office/2007/relationships/hdphoto" Target="../media/hdphoto2.wdp"/><Relationship Id="rId18" Type="http://schemas.openxmlformats.org/officeDocument/2006/relationships/image" Target="../media/image32.png"/><Relationship Id="rId3" Type="http://schemas.openxmlformats.org/officeDocument/2006/relationships/chart" Target="../charts/chart2.xml"/><Relationship Id="rId21" Type="http://schemas.microsoft.com/office/2007/relationships/hdphoto" Target="../media/hdphoto3.wdp"/><Relationship Id="rId7" Type="http://schemas.openxmlformats.org/officeDocument/2006/relationships/chart" Target="../charts/chart4.xml"/><Relationship Id="rId12" Type="http://schemas.openxmlformats.org/officeDocument/2006/relationships/image" Target="../media/image27.png"/><Relationship Id="rId17" Type="http://schemas.openxmlformats.org/officeDocument/2006/relationships/image" Target="../media/image31.jpg"/><Relationship Id="rId25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0.jp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24.png"/><Relationship Id="rId11" Type="http://schemas.openxmlformats.org/officeDocument/2006/relationships/chart" Target="../charts/chart6.xml"/><Relationship Id="rId24" Type="http://schemas.openxmlformats.org/officeDocument/2006/relationships/image" Target="../media/image5.jpeg"/><Relationship Id="rId5" Type="http://schemas.openxmlformats.org/officeDocument/2006/relationships/chart" Target="../charts/chart3.xml"/><Relationship Id="rId15" Type="http://schemas.openxmlformats.org/officeDocument/2006/relationships/image" Target="../media/image29.jpg"/><Relationship Id="rId23" Type="http://schemas.openxmlformats.org/officeDocument/2006/relationships/image" Target="../media/image11.png"/><Relationship Id="rId10" Type="http://schemas.openxmlformats.org/officeDocument/2006/relationships/image" Target="../media/image26.png"/><Relationship Id="rId19" Type="http://schemas.openxmlformats.org/officeDocument/2006/relationships/image" Target="../media/image33.jpeg"/><Relationship Id="rId4" Type="http://schemas.openxmlformats.org/officeDocument/2006/relationships/image" Target="../media/image23.png"/><Relationship Id="rId9" Type="http://schemas.openxmlformats.org/officeDocument/2006/relationships/chart" Target="../charts/chart5.xml"/><Relationship Id="rId14" Type="http://schemas.openxmlformats.org/officeDocument/2006/relationships/image" Target="../media/image28.jpg"/><Relationship Id="rId22" Type="http://schemas.openxmlformats.org/officeDocument/2006/relationships/image" Target="../media/image3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6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5.jpeg"/><Relationship Id="rId11" Type="http://schemas.openxmlformats.org/officeDocument/2006/relationships/image" Target="../media/image40.png"/><Relationship Id="rId5" Type="http://schemas.openxmlformats.org/officeDocument/2006/relationships/image" Target="../media/image4.png"/><Relationship Id="rId10" Type="http://schemas.openxmlformats.org/officeDocument/2006/relationships/image" Target="../media/image10.png"/><Relationship Id="rId4" Type="http://schemas.openxmlformats.org/officeDocument/2006/relationships/chart" Target="../charts/chart7.xml"/><Relationship Id="rId9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1.xml"/><Relationship Id="rId7" Type="http://schemas.openxmlformats.org/officeDocument/2006/relationships/image" Target="../media/image4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40.png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chart" Target="../charts/chart8.xml"/><Relationship Id="rId7" Type="http://schemas.openxmlformats.org/officeDocument/2006/relationships/image" Target="../media/image4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5.jpeg"/><Relationship Id="rId5" Type="http://schemas.openxmlformats.org/officeDocument/2006/relationships/image" Target="../media/image11.png"/><Relationship Id="rId10" Type="http://schemas.openxmlformats.org/officeDocument/2006/relationships/image" Target="../media/image26.png"/><Relationship Id="rId4" Type="http://schemas.openxmlformats.org/officeDocument/2006/relationships/image" Target="../media/image36.png"/><Relationship Id="rId9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33.xml"/><Relationship Id="rId7" Type="http://schemas.openxmlformats.org/officeDocument/2006/relationships/image" Target="../media/image4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32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5.xml"/><Relationship Id="rId7" Type="http://schemas.openxmlformats.org/officeDocument/2006/relationships/image" Target="../media/image4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4655840" y="3515664"/>
          <a:ext cx="7562428" cy="3453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CorelDRAW" r:id="rId3" imgW="4187893" imgH="205149" progId="CorelDraw.Graphic.17">
                  <p:embed/>
                </p:oleObj>
              </mc:Choice>
              <mc:Fallback>
                <p:oleObj name="CorelDRAW" r:id="rId3" imgW="4187893" imgH="205149" progId="CorelDraw.Graphic.1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655840" y="3515664"/>
                        <a:ext cx="7562428" cy="3453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1628376"/>
            <a:ext cx="3314410" cy="266472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655840" y="1988841"/>
            <a:ext cx="7178758" cy="1081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</a:pPr>
            <a:r>
              <a:rPr lang="ru-RU" sz="2600" b="1" cap="all" dirty="0">
                <a:solidFill>
                  <a:srgbClr val="545454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ТОО «</a:t>
            </a:r>
            <a:r>
              <a:rPr lang="en-US" sz="2600" b="1" cap="all" dirty="0">
                <a:solidFill>
                  <a:srgbClr val="545454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SK </a:t>
            </a:r>
            <a:r>
              <a:rPr lang="en-US" sz="2600" b="1" cap="all" dirty="0" err="1">
                <a:solidFill>
                  <a:srgbClr val="545454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Ondeu</a:t>
            </a:r>
            <a:r>
              <a:rPr lang="ru-RU" sz="2600" b="1" cap="all" dirty="0">
                <a:solidFill>
                  <a:srgbClr val="545454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»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</a:pPr>
            <a:r>
              <a:rPr lang="kk-KZ" sz="2600" cap="all" dirty="0">
                <a:solidFill>
                  <a:srgbClr val="545454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Общая информация</a:t>
            </a:r>
            <a:endParaRPr lang="ru-RU" sz="2600" cap="all" dirty="0">
              <a:solidFill>
                <a:srgbClr val="545454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8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75C418A7-8F1E-36FD-6C85-0B544B6ED0FD}"/>
              </a:ext>
            </a:extLst>
          </p:cNvPr>
          <p:cNvSpPr/>
          <p:nvPr/>
        </p:nvSpPr>
        <p:spPr>
          <a:xfrm>
            <a:off x="588945" y="1141695"/>
            <a:ext cx="4734171" cy="6370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Цель проекта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- производство импортозамещающей и </a:t>
            </a:r>
            <a:r>
              <a:rPr lang="ru-RU" sz="1091" dirty="0" err="1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экспорториентированной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полимерной тары (мешков), полипропиленовой (БОПП) и полиэтиленовой плёнки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E3393145-81B1-1E95-16E5-88E66B673053}"/>
              </a:ext>
            </a:extLst>
          </p:cNvPr>
          <p:cNvSpPr txBox="1"/>
          <p:nvPr/>
        </p:nvSpPr>
        <p:spPr>
          <a:xfrm>
            <a:off x="588945" y="2095120"/>
            <a:ext cx="4667000" cy="2601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Местонахождение: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Атырауская область, СЭЗ НИНТ</a:t>
            </a:r>
            <a:endParaRPr lang="en-US" sz="109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0989D2D8-40F9-2A50-759C-9BCFC7C94A4B}"/>
              </a:ext>
            </a:extLst>
          </p:cNvPr>
          <p:cNvSpPr/>
          <p:nvPr/>
        </p:nvSpPr>
        <p:spPr>
          <a:xfrm>
            <a:off x="621909" y="4466273"/>
            <a:ext cx="3217260" cy="26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Участники: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98FC2310-ECDF-4C67-FD5F-4DE57C376E9A}"/>
              </a:ext>
            </a:extLst>
          </p:cNvPr>
          <p:cNvGrpSpPr/>
          <p:nvPr/>
        </p:nvGrpSpPr>
        <p:grpSpPr>
          <a:xfrm>
            <a:off x="969615" y="4661213"/>
            <a:ext cx="3690937" cy="1547258"/>
            <a:chOff x="100960" y="7150912"/>
            <a:chExt cx="5413374" cy="2269312"/>
          </a:xfrm>
        </p:grpSpPr>
        <p:graphicFrame>
          <p:nvGraphicFramePr>
            <p:cNvPr id="34" name="Диаграмма 33">
              <a:extLst>
                <a:ext uri="{FF2B5EF4-FFF2-40B4-BE49-F238E27FC236}">
                  <a16:creationId xmlns="" xmlns:a16="http://schemas.microsoft.com/office/drawing/2014/main" id="{A8161836-7C4B-EE1A-A116-85D61C88045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77209030"/>
                </p:ext>
              </p:extLst>
            </p:nvPr>
          </p:nvGraphicFramePr>
          <p:xfrm>
            <a:off x="100960" y="7150912"/>
            <a:ext cx="5413374" cy="22693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37" name="Овал 36">
              <a:extLst>
                <a:ext uri="{FF2B5EF4-FFF2-40B4-BE49-F238E27FC236}">
                  <a16:creationId xmlns="" xmlns:a16="http://schemas.microsoft.com/office/drawing/2014/main" id="{2E471E8A-4B2B-C384-F94D-36FE7B69253B}"/>
                </a:ext>
              </a:extLst>
            </p:cNvPr>
            <p:cNvSpPr/>
            <p:nvPr/>
          </p:nvSpPr>
          <p:spPr>
            <a:xfrm>
              <a:off x="1184533" y="7595729"/>
              <a:ext cx="1375955" cy="14020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91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99,</a:t>
              </a:r>
              <a:r>
                <a:rPr lang="en-US" sz="1091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83</a:t>
              </a:r>
              <a:r>
                <a:rPr lang="ru-RU" sz="1091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%</a:t>
              </a:r>
            </a:p>
            <a:p>
              <a:pPr algn="ctr"/>
              <a:r>
                <a:rPr lang="ru-RU" sz="1091" b="1" dirty="0">
                  <a:solidFill>
                    <a:srgbClr val="47CC9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0,</a:t>
              </a:r>
              <a:r>
                <a:rPr lang="en-US" sz="1091" b="1" dirty="0">
                  <a:solidFill>
                    <a:srgbClr val="47CC9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17</a:t>
              </a:r>
              <a:r>
                <a:rPr lang="ru-RU" sz="1091" b="1" dirty="0">
                  <a:solidFill>
                    <a:srgbClr val="47CC9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%</a:t>
              </a:r>
              <a:endParaRPr lang="ru-KZ" sz="1091" b="1" dirty="0">
                <a:solidFill>
                  <a:srgbClr val="47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id="{435AFBB2-9B5A-0255-033E-D03CF1DABEB3}"/>
              </a:ext>
            </a:extLst>
          </p:cNvPr>
          <p:cNvGrpSpPr/>
          <p:nvPr/>
        </p:nvGrpSpPr>
        <p:grpSpPr>
          <a:xfrm>
            <a:off x="1187621" y="2355319"/>
            <a:ext cx="3217260" cy="1869516"/>
            <a:chOff x="787881" y="3877196"/>
            <a:chExt cx="4718648" cy="2741957"/>
          </a:xfrm>
        </p:grpSpPr>
        <p:pic>
          <p:nvPicPr>
            <p:cNvPr id="44" name="Рисунок 43">
              <a:extLst>
                <a:ext uri="{FF2B5EF4-FFF2-40B4-BE49-F238E27FC236}">
                  <a16:creationId xmlns="" xmlns:a16="http://schemas.microsoft.com/office/drawing/2014/main" id="{11C6B8EC-C1AA-2FE6-7858-9D2321DB5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7881" y="3877196"/>
              <a:ext cx="4718648" cy="2741957"/>
            </a:xfrm>
            <a:prstGeom prst="rect">
              <a:avLst/>
            </a:prstGeom>
          </p:spPr>
        </p:pic>
        <p:sp>
          <p:nvSpPr>
            <p:cNvPr id="45" name="Овал 44">
              <a:extLst>
                <a:ext uri="{FF2B5EF4-FFF2-40B4-BE49-F238E27FC236}">
                  <a16:creationId xmlns="" xmlns:a16="http://schemas.microsoft.com/office/drawing/2014/main" id="{B5DAF093-6D64-7887-F862-B6A3AA4D8EC4}"/>
                </a:ext>
              </a:extLst>
            </p:cNvPr>
            <p:cNvSpPr/>
            <p:nvPr/>
          </p:nvSpPr>
          <p:spPr>
            <a:xfrm>
              <a:off x="1389116" y="5185024"/>
              <a:ext cx="114300" cy="1143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7"/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76D04380-DFF9-E184-E22E-F7C5EB7F5662}"/>
              </a:ext>
            </a:extLst>
          </p:cNvPr>
          <p:cNvSpPr/>
          <p:nvPr/>
        </p:nvSpPr>
        <p:spPr>
          <a:xfrm>
            <a:off x="5852311" y="927507"/>
            <a:ext cx="6096000" cy="2133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Производственная мощность: </a:t>
            </a:r>
          </a:p>
          <a:p>
            <a:pPr marL="194824" indent="-194824">
              <a:buFont typeface="Arial" panose="020B0604020202020204" pitchFamily="34" charset="0"/>
              <a:buChar char="•"/>
            </a:pPr>
            <a:r>
              <a:rPr lang="ru-RU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биаксально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-ориентированной полипропиленовой пленки. Оборудование компании </a:t>
            </a:r>
            <a:r>
              <a:rPr lang="ru-RU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Andritz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 (Австрия) – проектная мощность 10 200 </a:t>
            </a:r>
            <a:r>
              <a:rPr lang="ru-RU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тн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 в год - </a:t>
            </a:r>
            <a:endParaRPr lang="en-US" sz="109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94824" indent="-194824">
              <a:buFont typeface="Arial" panose="020B0604020202020204" pitchFamily="34" charset="0"/>
              <a:buChar char="•"/>
            </a:pP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полипропиленовых мешков. Оборудование компании </a:t>
            </a:r>
            <a:r>
              <a:rPr lang="ru-RU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tarlinger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 (Австрия) – проектная мощность 24 млн. штук в год.</a:t>
            </a:r>
            <a:endParaRPr lang="en-US" sz="109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94824" indent="-194824">
              <a:buFont typeface="Arial" panose="020B0604020202020204" pitchFamily="34" charset="0"/>
              <a:buChar char="•"/>
            </a:pP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полиэтиленовой плёнки. Оборудование компании </a:t>
            </a:r>
            <a:r>
              <a:rPr lang="ru-RU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Kuhne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 (Германия) – проектная мощность </a:t>
            </a:r>
          </a:p>
          <a:p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4 125 </a:t>
            </a:r>
            <a:r>
              <a:rPr lang="ru-RU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тн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 в год. </a:t>
            </a:r>
            <a:endParaRPr lang="en-US" sz="109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/>
            <a:endParaRPr lang="ru-RU" sz="716" b="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  <a:p>
            <a:pPr algn="just"/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Ввод в эксплуатацию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: ПЭ-пленка – 1 кв. 2015 г.; ПП-мешки – 2 кв. 2015 г.; </a:t>
            </a:r>
            <a:endParaRPr lang="en-US" sz="109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/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БОПП – 1 кв. 2016 г. </a:t>
            </a:r>
            <a:endParaRPr lang="en-US" sz="109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lnSpc>
                <a:spcPct val="12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Численность сотрудников: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301 человек, из которых 277 – производственный персонал, 24 – АУП</a:t>
            </a:r>
            <a:endParaRPr lang="en-US" sz="109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  <a:p>
            <a:endParaRPr lang="ru-RU" sz="1091" b="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4" name="Нижний колонтитул 49">
            <a:extLst>
              <a:ext uri="{FF2B5EF4-FFF2-40B4-BE49-F238E27FC236}">
                <a16:creationId xmlns="" xmlns:a16="http://schemas.microsoft.com/office/drawing/2014/main" id="{1D9D51D3-766D-D02A-9644-F7A5FD051128}"/>
              </a:ext>
            </a:extLst>
          </p:cNvPr>
          <p:cNvSpPr txBox="1">
            <a:spLocks/>
          </p:cNvSpPr>
          <p:nvPr/>
        </p:nvSpPr>
        <p:spPr>
          <a:xfrm>
            <a:off x="969615" y="6540169"/>
            <a:ext cx="4866409" cy="301756"/>
          </a:xfrm>
          <a:prstGeom prst="rect">
            <a:avLst/>
          </a:prstGeom>
        </p:spPr>
        <p:txBody>
          <a:bodyPr vert="horz" lIns="62345" tIns="31173" rIns="62345" bIns="31173" rtlCol="0" anchor="ctr"/>
          <a:lstStyle>
            <a:defPPr rtl="0">
              <a:defRPr lang="ru-RU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55" dirty="0">
                <a:latin typeface="Calibri Light" panose="020F0302020204030204" pitchFamily="34" charset="0"/>
                <a:cs typeface="Calibri Light" panose="020F0302020204030204" pitchFamily="34" charset="0"/>
              </a:rPr>
              <a:t>Интегрированный годовой отчет</a:t>
            </a:r>
            <a:r>
              <a:rPr lang="en-US" sz="955" dirty="0">
                <a:latin typeface="Calibri Light" panose="020F0302020204030204" pitchFamily="34" charset="0"/>
                <a:cs typeface="Calibri Light" panose="020F0302020204030204" pitchFamily="34" charset="0"/>
              </a:rPr>
              <a:t> SKO</a:t>
            </a:r>
            <a:r>
              <a:rPr lang="ru-RU" sz="955" dirty="0">
                <a:latin typeface="Calibri Light" panose="020F0302020204030204" pitchFamily="34" charset="0"/>
                <a:cs typeface="Calibri Light" panose="020F0302020204030204" pitchFamily="34" charset="0"/>
              </a:rPr>
              <a:t> 2022 г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7FB13820-9F8C-923F-0908-F47EDAC70DA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396371" y="603043"/>
            <a:ext cx="10481426" cy="367433"/>
          </a:xfrm>
          <a:prstGeom prst="rect">
            <a:avLst/>
          </a:prstGeom>
        </p:spPr>
      </p:pic>
      <p:sp>
        <p:nvSpPr>
          <p:cNvPr id="10" name="SlideTitle">
            <a:extLst>
              <a:ext uri="{FF2B5EF4-FFF2-40B4-BE49-F238E27FC236}">
                <a16:creationId xmlns="" xmlns:a16="http://schemas.microsoft.com/office/drawing/2014/main" id="{FABF4738-D05A-7060-C440-6AFF175A1367}"/>
              </a:ext>
            </a:extLst>
          </p:cNvPr>
          <p:cNvSpPr txBox="1">
            <a:spLocks/>
          </p:cNvSpPr>
          <p:nvPr/>
        </p:nvSpPr>
        <p:spPr>
          <a:xfrm>
            <a:off x="1622050" y="220930"/>
            <a:ext cx="10644986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«ПОЛИМЕР ПРОДАКШН». Производство полимерной продукции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="" xmlns:a16="http://schemas.microsoft.com/office/drawing/2014/main" id="{E81F98D7-5600-5CA6-FBC5-E86783E3D1F8}"/>
              </a:ext>
            </a:extLst>
          </p:cNvPr>
          <p:cNvGrpSpPr/>
          <p:nvPr/>
        </p:nvGrpSpPr>
        <p:grpSpPr>
          <a:xfrm>
            <a:off x="5965954" y="3075476"/>
            <a:ext cx="5525476" cy="60887"/>
            <a:chOff x="7437990" y="5670958"/>
            <a:chExt cx="8104032" cy="385899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="" xmlns:a16="http://schemas.microsoft.com/office/drawing/2014/main" id="{654FE5E2-EA15-B695-4C6B-F78E04362B95}"/>
                </a:ext>
              </a:extLst>
            </p:cNvPr>
            <p:cNvSpPr/>
            <p:nvPr/>
          </p:nvSpPr>
          <p:spPr>
            <a:xfrm flipV="1">
              <a:off x="7437990" y="5670958"/>
              <a:ext cx="8104032" cy="369331"/>
            </a:xfrm>
            <a:prstGeom prst="rect">
              <a:avLst/>
            </a:prstGeom>
            <a:gradFill flip="none" rotWithShape="1">
              <a:gsLst>
                <a:gs pos="3000">
                  <a:srgbClr val="17335D"/>
                </a:gs>
                <a:gs pos="100000">
                  <a:srgbClr val="2DC68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227"/>
            </a:p>
          </p:txBody>
        </p:sp>
        <p:sp>
          <p:nvSpPr>
            <p:cNvPr id="20" name="Текст 9">
              <a:extLst>
                <a:ext uri="{FF2B5EF4-FFF2-40B4-BE49-F238E27FC236}">
                  <a16:creationId xmlns="" xmlns:a16="http://schemas.microsoft.com/office/drawing/2014/main" id="{57C58AA0-93FC-FA68-74C7-FD508C283A2D}"/>
                </a:ext>
              </a:extLst>
            </p:cNvPr>
            <p:cNvSpPr txBox="1">
              <a:spLocks/>
            </p:cNvSpPr>
            <p:nvPr/>
          </p:nvSpPr>
          <p:spPr>
            <a:xfrm>
              <a:off x="10281408" y="5687525"/>
              <a:ext cx="3297834" cy="369332"/>
            </a:xfrm>
            <a:prstGeom prst="rect">
              <a:avLst/>
            </a:prstGeom>
          </p:spPr>
          <p:txBody>
            <a:bodyPr vert="horz" lIns="62345" tIns="31173" rIns="62345" bIns="31173" rtlCol="0" anchor="ctr">
              <a:noAutofit/>
            </a:bodyPr>
            <a:lstStyle>
              <a:lvl1pPr marL="0" indent="0" algn="l" defTabSz="1341150" rtl="0" eaLnBrk="1" latinLnBrk="0" hangingPunct="1">
                <a:lnSpc>
                  <a:spcPct val="90000"/>
                </a:lnSpc>
                <a:spcBef>
                  <a:spcPts val="1467"/>
                </a:spcBef>
                <a:buFontTx/>
                <a:buNone/>
                <a:defRPr sz="1600" b="1" u="none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67057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352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341150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933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201172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682301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68816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58739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02931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699890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KZ" sz="109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073DA9F9-39D2-F241-836F-23DA9321DBF9}"/>
              </a:ext>
            </a:extLst>
          </p:cNvPr>
          <p:cNvSpPr txBox="1"/>
          <p:nvPr/>
        </p:nvSpPr>
        <p:spPr>
          <a:xfrm>
            <a:off x="7119626" y="4762772"/>
            <a:ext cx="20393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86"/>
            <a:r>
              <a:rPr lang="en-US" altLang="ko-KR" sz="1050" dirty="0">
                <a:solidFill>
                  <a:prstClr val="white"/>
                </a:solidFill>
                <a:latin typeface="Arial"/>
                <a:ea typeface="Arial Unicode MS"/>
              </a:rPr>
              <a:t>Add Skills – 80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5847BE97-756B-922D-00AA-BF05F2FB8A15}"/>
              </a:ext>
            </a:extLst>
          </p:cNvPr>
          <p:cNvSpPr txBox="1"/>
          <p:nvPr/>
        </p:nvSpPr>
        <p:spPr>
          <a:xfrm>
            <a:off x="5911978" y="3266298"/>
            <a:ext cx="293825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dist" defTabSz="914286">
              <a:defRPr sz="2000" b="1" cap="all">
                <a:solidFill>
                  <a:srgbClr val="002060"/>
                </a:solidFill>
                <a:ea typeface="Arial Unicode MS"/>
              </a:defRPr>
            </a:lvl1pPr>
          </a:lstStyle>
          <a:p>
            <a:pPr algn="l"/>
            <a:r>
              <a:rPr lang="ru-RU" altLang="ko-KR" sz="1100" dirty="0">
                <a:latin typeface="+mj-lt"/>
              </a:rPr>
              <a:t>Основное сырье:</a:t>
            </a:r>
            <a:endParaRPr lang="ko-KR" altLang="en-US" sz="1100" dirty="0">
              <a:latin typeface="+mj-lt"/>
            </a:endParaRPr>
          </a:p>
        </p:txBody>
      </p:sp>
      <p:sp>
        <p:nvSpPr>
          <p:cNvPr id="26" name="Rectangle 96">
            <a:extLst>
              <a:ext uri="{FF2B5EF4-FFF2-40B4-BE49-F238E27FC236}">
                <a16:creationId xmlns="" xmlns:a16="http://schemas.microsoft.com/office/drawing/2014/main" id="{08D520B3-0612-F6D9-D3E8-5B446476F27A}"/>
              </a:ext>
            </a:extLst>
          </p:cNvPr>
          <p:cNvSpPr/>
          <p:nvPr/>
        </p:nvSpPr>
        <p:spPr>
          <a:xfrm>
            <a:off x="5845186" y="3553322"/>
            <a:ext cx="111100" cy="52722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86"/>
            <a:endParaRPr lang="en-US" sz="1400" kern="0">
              <a:solidFill>
                <a:prstClr val="white"/>
              </a:solidFill>
              <a:latin typeface="Arial"/>
              <a:ea typeface="Arial Unicode M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91E73563-98B2-8F18-2F35-F28BFCD128FB}"/>
              </a:ext>
            </a:extLst>
          </p:cNvPr>
          <p:cNvSpPr txBox="1"/>
          <p:nvPr/>
        </p:nvSpPr>
        <p:spPr>
          <a:xfrm>
            <a:off x="6196129" y="3609450"/>
            <a:ext cx="5295302" cy="3642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>
              <a:lnSpc>
                <a:spcPct val="80000"/>
              </a:lnSpc>
            </a:pPr>
            <a:r>
              <a:rPr lang="ru-RU" altLang="ko-KR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Полипропилен иностранного производства (</a:t>
            </a:r>
            <a:r>
              <a:rPr lang="en-US" altLang="ko-KR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SOCAR, </a:t>
            </a:r>
            <a:r>
              <a:rPr lang="ru-RU" altLang="ko-KR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Сибур</a:t>
            </a:r>
            <a:r>
              <a:rPr lang="ru-RU" altLang="ko-KR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)</a:t>
            </a:r>
          </a:p>
          <a:p>
            <a:pPr defTabSz="914286">
              <a:lnSpc>
                <a:spcPct val="80000"/>
              </a:lnSpc>
            </a:pPr>
            <a:r>
              <a:rPr lang="ru-RU" altLang="ko-KR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Ожидается переход на местное сырье после запуска ТОО «</a:t>
            </a:r>
            <a:r>
              <a:rPr lang="en-US" altLang="ko-KR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KPI</a:t>
            </a:r>
            <a:r>
              <a:rPr lang="ru-RU" altLang="ko-KR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»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D354F69-097B-C43F-C2DE-9F7363FE7143}"/>
              </a:ext>
            </a:extLst>
          </p:cNvPr>
          <p:cNvSpPr txBox="1"/>
          <p:nvPr/>
        </p:nvSpPr>
        <p:spPr>
          <a:xfrm>
            <a:off x="5911979" y="4119016"/>
            <a:ext cx="5579452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/>
            <a:r>
              <a:rPr lang="ru-RU" altLang="ko-KR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Поставщик оборудования и технологий: </a:t>
            </a:r>
            <a:endParaRPr lang="ko-KR" altLang="en-US" sz="1100" b="1" cap="all" dirty="0">
              <a:solidFill>
                <a:srgbClr val="002060"/>
              </a:solidFill>
              <a:latin typeface="+mj-lt"/>
              <a:ea typeface="Arial Unicode MS"/>
            </a:endParaRPr>
          </a:p>
        </p:txBody>
      </p:sp>
      <p:sp>
        <p:nvSpPr>
          <p:cNvPr id="30" name="Rectangle 96">
            <a:extLst>
              <a:ext uri="{FF2B5EF4-FFF2-40B4-BE49-F238E27FC236}">
                <a16:creationId xmlns="" xmlns:a16="http://schemas.microsoft.com/office/drawing/2014/main" id="{9331A16D-5F8D-71B6-19B6-DAD7BF974583}"/>
              </a:ext>
            </a:extLst>
          </p:cNvPr>
          <p:cNvSpPr/>
          <p:nvPr/>
        </p:nvSpPr>
        <p:spPr>
          <a:xfrm>
            <a:off x="5852311" y="4422810"/>
            <a:ext cx="103975" cy="633681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86">
              <a:defRPr/>
            </a:pPr>
            <a:endParaRPr lang="en-US" sz="1400" kern="0">
              <a:solidFill>
                <a:prstClr val="white"/>
              </a:solidFill>
              <a:latin typeface="Arial"/>
              <a:ea typeface="Arial Unicode M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26B2EB07-7655-5942-70F2-148514279EAD}"/>
              </a:ext>
            </a:extLst>
          </p:cNvPr>
          <p:cNvSpPr txBox="1"/>
          <p:nvPr/>
        </p:nvSpPr>
        <p:spPr>
          <a:xfrm>
            <a:off x="6196129" y="4445852"/>
            <a:ext cx="5295302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4824" indent="-19482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БОПП пленка - </a:t>
            </a:r>
            <a:r>
              <a:rPr lang="en-US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Andritz (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Австрия)</a:t>
            </a:r>
          </a:p>
          <a:p>
            <a:pPr marL="194824" indent="-19482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ПМ - </a:t>
            </a:r>
            <a:r>
              <a:rPr lang="en-US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tarlinger</a:t>
            </a:r>
            <a:r>
              <a:rPr lang="en-US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 (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Австрия)</a:t>
            </a:r>
          </a:p>
          <a:p>
            <a:pPr marL="194824" indent="-19482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Полиэтилен </a:t>
            </a:r>
            <a:r>
              <a:rPr lang="ru-RU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выского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 давления - </a:t>
            </a:r>
            <a:r>
              <a:rPr lang="en-US" sz="109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Kuhne</a:t>
            </a:r>
            <a:r>
              <a:rPr lang="en-US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 (</a:t>
            </a:r>
            <a:r>
              <a:rPr lang="ru-RU" sz="1091" dirty="0">
                <a:latin typeface="Calibri Light" panose="020F0302020204030204" pitchFamily="34" charset="0"/>
                <a:cs typeface="Calibri Light" panose="020F0302020204030204" pitchFamily="34" charset="0"/>
              </a:rPr>
              <a:t>Германия)</a:t>
            </a:r>
            <a:endParaRPr lang="en-US" altLang="ko-KR" sz="109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A20F7F78-DD2A-CD09-BD32-33905B56C0BA}"/>
              </a:ext>
            </a:extLst>
          </p:cNvPr>
          <p:cNvSpPr/>
          <p:nvPr/>
        </p:nvSpPr>
        <p:spPr>
          <a:xfrm>
            <a:off x="6070725" y="5671631"/>
            <a:ext cx="5372101" cy="562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35">
              <a:lnSpc>
                <a:spcPct val="120000"/>
              </a:lnSpc>
              <a:spcBef>
                <a:spcPts val="600"/>
              </a:spcBef>
              <a:defRPr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Исполнение производственной программы на 2023 год.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 defTabSz="914235">
              <a:lnSpc>
                <a:spcPct val="120000"/>
              </a:lnSpc>
              <a:spcBef>
                <a:spcPts val="600"/>
              </a:spcBef>
              <a:defRPr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Реализация произведенной продукции в 2023 году.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6C0600-8BF1-290F-4DE1-0B39D330B5CC}"/>
              </a:ext>
            </a:extLst>
          </p:cNvPr>
          <p:cNvGrpSpPr/>
          <p:nvPr/>
        </p:nvGrpSpPr>
        <p:grpSpPr>
          <a:xfrm>
            <a:off x="6004354" y="5238712"/>
            <a:ext cx="5525476" cy="60887"/>
            <a:chOff x="7437990" y="5670958"/>
            <a:chExt cx="8104032" cy="385899"/>
          </a:xfrm>
        </p:grpSpPr>
        <p:sp>
          <p:nvSpPr>
            <p:cNvPr id="39" name="Прямоугольник 38">
              <a:extLst>
                <a:ext uri="{FF2B5EF4-FFF2-40B4-BE49-F238E27FC236}">
                  <a16:creationId xmlns="" xmlns:a16="http://schemas.microsoft.com/office/drawing/2014/main" id="{9C44A566-4755-3A6E-2272-C78E97FED578}"/>
                </a:ext>
              </a:extLst>
            </p:cNvPr>
            <p:cNvSpPr/>
            <p:nvPr/>
          </p:nvSpPr>
          <p:spPr>
            <a:xfrm flipV="1">
              <a:off x="7437990" y="5670958"/>
              <a:ext cx="8104032" cy="369331"/>
            </a:xfrm>
            <a:prstGeom prst="rect">
              <a:avLst/>
            </a:prstGeom>
            <a:gradFill flip="none" rotWithShape="1">
              <a:gsLst>
                <a:gs pos="3000">
                  <a:srgbClr val="17335D"/>
                </a:gs>
                <a:gs pos="100000">
                  <a:srgbClr val="2DC68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227"/>
            </a:p>
          </p:txBody>
        </p:sp>
        <p:sp>
          <p:nvSpPr>
            <p:cNvPr id="40" name="Текст 9">
              <a:extLst>
                <a:ext uri="{FF2B5EF4-FFF2-40B4-BE49-F238E27FC236}">
                  <a16:creationId xmlns="" xmlns:a16="http://schemas.microsoft.com/office/drawing/2014/main" id="{EE56D14F-1A86-F08C-2B6C-3BEAE0CDAE18}"/>
                </a:ext>
              </a:extLst>
            </p:cNvPr>
            <p:cNvSpPr txBox="1">
              <a:spLocks/>
            </p:cNvSpPr>
            <p:nvPr/>
          </p:nvSpPr>
          <p:spPr>
            <a:xfrm>
              <a:off x="10281408" y="5687525"/>
              <a:ext cx="3297834" cy="369332"/>
            </a:xfrm>
            <a:prstGeom prst="rect">
              <a:avLst/>
            </a:prstGeom>
          </p:spPr>
          <p:txBody>
            <a:bodyPr vert="horz" lIns="62345" tIns="31173" rIns="62345" bIns="31173" rtlCol="0" anchor="ctr">
              <a:noAutofit/>
            </a:bodyPr>
            <a:lstStyle>
              <a:lvl1pPr marL="0" indent="0" algn="l" defTabSz="1341150" rtl="0" eaLnBrk="1" latinLnBrk="0" hangingPunct="1">
                <a:lnSpc>
                  <a:spcPct val="90000"/>
                </a:lnSpc>
                <a:spcBef>
                  <a:spcPts val="1467"/>
                </a:spcBef>
                <a:buFontTx/>
                <a:buNone/>
                <a:defRPr sz="1600" b="1" u="none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67057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352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341150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933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201172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682301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68816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58739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02931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699890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KZ" sz="109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D892086B-5388-5482-C40C-19A3521C54C9}"/>
              </a:ext>
            </a:extLst>
          </p:cNvPr>
          <p:cNvSpPr txBox="1"/>
          <p:nvPr/>
        </p:nvSpPr>
        <p:spPr>
          <a:xfrm>
            <a:off x="5911978" y="5401377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планы на 202</a:t>
            </a:r>
            <a:r>
              <a:rPr lang="en-US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3</a:t>
            </a:r>
            <a:r>
              <a:rPr lang="ru-RU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 год</a:t>
            </a:r>
          </a:p>
        </p:txBody>
      </p:sp>
      <p:sp>
        <p:nvSpPr>
          <p:cNvPr id="2" name="Номер слайда 3">
            <a:extLst>
              <a:ext uri="{FF2B5EF4-FFF2-40B4-BE49-F238E27FC236}">
                <a16:creationId xmlns="" xmlns:a16="http://schemas.microsoft.com/office/drawing/2014/main" id="{104BF7A6-56F1-F181-E6F9-DC8B5F032295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10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75AEB9D8-88B3-F88A-A603-A96251B1604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F067F226-35D4-5EA9-903E-EF81F29062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90" y="93234"/>
            <a:ext cx="942450" cy="47122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16CC88E-55BD-432B-2922-016718E4979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6102" y="44625"/>
            <a:ext cx="1074309" cy="86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240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5928" y="2484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5928" y="2484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1144292" y="894"/>
            <a:ext cx="163720" cy="15870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-17140" y="513254"/>
            <a:ext cx="11011272" cy="46747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6102" y="44625"/>
            <a:ext cx="1074309" cy="863723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B2FD4FB-C532-1286-211D-FB20A58C489F}"/>
              </a:ext>
            </a:extLst>
          </p:cNvPr>
          <p:cNvSpPr/>
          <p:nvPr/>
        </p:nvSpPr>
        <p:spPr>
          <a:xfrm>
            <a:off x="1077382" y="1252442"/>
            <a:ext cx="2537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prstClr val="black">
                    <a:lumMod val="65000"/>
                    <a:lumOff val="35000"/>
                  </a:prstClr>
                </a:solidFill>
                <a:cs typeface="Segoe UI Semilight" panose="020B0402040204020203" pitchFamily="34" charset="0"/>
              </a:rPr>
              <a:t>Стоимость проекта</a:t>
            </a:r>
            <a:endParaRPr lang="ru-RU" b="1" cap="all" dirty="0">
              <a:solidFill>
                <a:srgbClr val="002060"/>
              </a:solidFill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D3A6F98E-ADCC-E6D7-7491-B007A9E78914}"/>
              </a:ext>
            </a:extLst>
          </p:cNvPr>
          <p:cNvSpPr/>
          <p:nvPr/>
        </p:nvSpPr>
        <p:spPr>
          <a:xfrm>
            <a:off x="6302221" y="1252442"/>
            <a:ext cx="45031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</a:pPr>
            <a:r>
              <a:rPr lang="kk-KZ" b="1" dirty="0">
                <a:solidFill>
                  <a:prstClr val="black">
                    <a:lumMod val="65000"/>
                    <a:lumOff val="35000"/>
                  </a:prstClr>
                </a:solidFill>
                <a:cs typeface="Segoe UI Semilight" panose="020B0402040204020203" pitchFamily="34" charset="0"/>
              </a:rPr>
              <a:t>Основные показатели деятельности</a:t>
            </a:r>
            <a:endParaRPr lang="ru-RU" b="1" cap="all" dirty="0">
              <a:solidFill>
                <a:srgbClr val="002060"/>
              </a:solidFill>
              <a:cs typeface="Calibri" panose="020F0502020204030204" pitchFamily="34" charset="0"/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="" xmlns:a16="http://schemas.microsoft.com/office/drawing/2014/main" id="{EB88217A-B9EE-0D87-916C-632A6C0DD5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0482110"/>
              </p:ext>
            </p:extLst>
          </p:nvPr>
        </p:nvGraphicFramePr>
        <p:xfrm>
          <a:off x="528506" y="1817077"/>
          <a:ext cx="4277545" cy="41752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814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961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118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 Наимено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млн. тенг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Общая стоимость проекта: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6 87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апитальные затраты: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 07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СМР</a:t>
                      </a:r>
                      <a:endParaRPr lang="ru-RU" sz="1400" b="1" i="1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49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Оборудование, в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т.ч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.:</a:t>
                      </a:r>
                      <a:endParaRPr lang="ru-RU" sz="1400" b="1" i="1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 96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ANDRITZ</a:t>
                      </a:r>
                      <a:r>
                        <a:rPr 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- </a:t>
                      </a:r>
                      <a:r>
                        <a:rPr lang="ru-RU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оизводство БОПП пленки</a:t>
                      </a:r>
                      <a:endParaRPr lang="ru-RU" sz="1400" b="0" i="1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 559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STARLINGER</a:t>
                      </a:r>
                      <a:r>
                        <a:rPr 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- </a:t>
                      </a:r>
                      <a:r>
                        <a:rPr lang="ru-RU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оизводство ПМ мешков</a:t>
                      </a:r>
                      <a:endParaRPr lang="ru-RU" sz="1400" b="0" i="1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 028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KUHNE</a:t>
                      </a:r>
                      <a:r>
                        <a:rPr 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- </a:t>
                      </a:r>
                      <a:r>
                        <a:rPr lang="ru-RU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олиэтилен высокого давления</a:t>
                      </a:r>
                      <a:endParaRPr lang="ru-RU" sz="1400" b="0" i="1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8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ИР (ПСД, лицензия)</a:t>
                      </a:r>
                      <a:endParaRPr lang="ru-RU" sz="1400" b="1" i="1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4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иобретение машин и спецтехники</a:t>
                      </a:r>
                      <a:endParaRPr lang="ru-RU" sz="1400" b="1" i="1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71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Общие и административные расходы 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 42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оценты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96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118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Операционные затраты (закуп и транспортировка сырья)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 39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8" name="SlideTitle">
            <a:extLst>
              <a:ext uri="{FF2B5EF4-FFF2-40B4-BE49-F238E27FC236}">
                <a16:creationId xmlns="" xmlns:a16="http://schemas.microsoft.com/office/drawing/2014/main" id="{3EB8117B-453F-4522-7B1D-6358FA99C2FA}"/>
              </a:ext>
            </a:extLst>
          </p:cNvPr>
          <p:cNvSpPr txBox="1">
            <a:spLocks/>
          </p:cNvSpPr>
          <p:nvPr/>
        </p:nvSpPr>
        <p:spPr>
          <a:xfrm>
            <a:off x="1643729" y="151497"/>
            <a:ext cx="10644986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«ПОЛИМЕР ПРОДАКШН». Параметры комплекса </a:t>
            </a:r>
            <a:r>
              <a:rPr lang="ru-RU" sz="20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ормуляции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Номер слайда 3">
            <a:extLst>
              <a:ext uri="{FF2B5EF4-FFF2-40B4-BE49-F238E27FC236}">
                <a16:creationId xmlns="" xmlns:a16="http://schemas.microsoft.com/office/drawing/2014/main" id="{B9C33F0E-77E6-8232-2DA3-1E52CCAD9CE9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solidFill>
                  <a:srgbClr val="54545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11</a:t>
            </a:fld>
            <a:endParaRPr lang="ru-RU" dirty="0">
              <a:solidFill>
                <a:srgbClr val="54545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2FBE8346-717D-12D1-8F77-2BC23DED011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90" y="93234"/>
            <a:ext cx="942450" cy="471225"/>
          </a:xfrm>
          <a:prstGeom prst="rect">
            <a:avLst/>
          </a:prstGeom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621107"/>
              </p:ext>
            </p:extLst>
          </p:nvPr>
        </p:nvGraphicFramePr>
        <p:xfrm>
          <a:off x="5837930" y="1844040"/>
          <a:ext cx="5372226" cy="3028950"/>
        </p:xfrm>
        <a:graphic>
          <a:graphicData uri="http://schemas.openxmlformats.org/drawingml/2006/table">
            <a:tbl>
              <a:tblPr/>
              <a:tblGrid>
                <a:gridCol w="10226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498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4985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4985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00100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Год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Объем производства БОПП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Объем производства ПМ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Доход от реализации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244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тонн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шт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тыс. тенге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078 00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92 425,6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856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7 195 00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287 834,3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043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0 069 648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 121 977,3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4 596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5 680 44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654 337,4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7 07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 788 543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4 898 712,6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2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8 312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7 338 308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6 078 649,5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2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9 357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5 557 336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9 830 081,4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2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5 299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5 475 549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6 696 585,55*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1.05.202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8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4 455 323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79 017,4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13DAA0A-BA67-493A-97AE-616C612D6277}"/>
              </a:ext>
            </a:extLst>
          </p:cNvPr>
          <p:cNvSpPr txBox="1"/>
          <p:nvPr/>
        </p:nvSpPr>
        <p:spPr>
          <a:xfrm>
            <a:off x="5732584" y="4938387"/>
            <a:ext cx="55244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900" dirty="0"/>
              <a:t>*Доходы от реализации БОПП-пленки составили 5 713 млн. тенге, что на 27% меньше плана. Реализовано 5 076 тонн по средней цене 1 126 тыс. тенге за тонну при плане 9 300 тонн по цене 844 тыс. тенге за тонну;</a:t>
            </a:r>
            <a:endParaRPr lang="ru-RU" sz="1050" dirty="0"/>
          </a:p>
          <a:p>
            <a:pPr lvl="0"/>
            <a:endParaRPr lang="ru-RU" sz="900" dirty="0"/>
          </a:p>
          <a:p>
            <a:pPr lvl="0"/>
            <a:r>
              <a:rPr lang="ru-RU" sz="900" dirty="0"/>
              <a:t>Доходы от реализации ПП-мешков составили 983 млн. тенге. Было реализовано 20,2 млн. штук по цене 49 тенге за штуку.</a:t>
            </a:r>
            <a:endParaRPr lang="ru-RU" sz="105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593648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658B7641-1FF0-42E9-A070-C6D90234D20D}"/>
              </a:ext>
            </a:extLst>
          </p:cNvPr>
          <p:cNvSpPr txBox="1"/>
          <p:nvPr/>
        </p:nvSpPr>
        <p:spPr>
          <a:xfrm>
            <a:off x="4097298" y="5050662"/>
            <a:ext cx="25331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>
                <a:solidFill>
                  <a:schemeClr val="bg1"/>
                </a:solidFill>
              </a:rPr>
              <a:t>Add Skills – 90%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FF788D3D-8864-4597-8E67-73994C22CFA9}"/>
              </a:ext>
            </a:extLst>
          </p:cNvPr>
          <p:cNvSpPr txBox="1"/>
          <p:nvPr/>
        </p:nvSpPr>
        <p:spPr>
          <a:xfrm>
            <a:off x="4107964" y="5187191"/>
            <a:ext cx="25331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ko-KR" sz="1200" dirty="0">
                <a:solidFill>
                  <a:schemeClr val="bg1"/>
                </a:solidFill>
              </a:rPr>
              <a:t>Add Skills – 80%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1209" y="206548"/>
            <a:ext cx="839399" cy="674860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08567" y="5861717"/>
            <a:ext cx="973425" cy="989022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231392" y="517100"/>
            <a:ext cx="11011272" cy="467475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1056554" y="1965642"/>
            <a:ext cx="10294982" cy="199035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</a:rPr>
              <a:t>Высокая стоимость реализации полипропилена, производимой в РК, на внутренний рынок;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</a:rPr>
              <a:t>Отсутствие государственного регулирования вопросов распределения на внутренний рынок части объемов производимого в РК полипропилена;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</a:rPr>
              <a:t>Слабое развитие рынка типографии в РК, что не позволяет увеличить </a:t>
            </a:r>
            <a:r>
              <a:rPr lang="ru-RU" sz="1400" dirty="0" err="1">
                <a:latin typeface="Century Gothic" panose="020B0502020202020204" pitchFamily="34" charset="0"/>
              </a:rPr>
              <a:t>импортозамещение</a:t>
            </a:r>
            <a:r>
              <a:rPr lang="ru-RU" sz="1400" dirty="0">
                <a:latin typeface="Century Gothic" panose="020B0502020202020204" pitchFamily="34" charset="0"/>
              </a:rPr>
              <a:t> и потребление Казахстаном конечной продукции полного цикла (от производства полипропилена до окончательной упаковки пищевой продукции)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80678" y="4373867"/>
            <a:ext cx="351730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/>
            <a:r>
              <a:rPr lang="ru-RU" sz="2000" b="1" cap="all" dirty="0">
                <a:solidFill>
                  <a:srgbClr val="002060"/>
                </a:solidFill>
                <a:latin typeface="Century Gothic" panose="020B0502020202020204" pitchFamily="34" charset="0"/>
                <a:ea typeface="Arial Unicode MS"/>
              </a:rPr>
              <a:t>пути решения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980679" y="4801392"/>
            <a:ext cx="9127522" cy="134402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</a:rPr>
              <a:t>Необходимо обязать производителей полипропилена реализовывать до 10% продукта на внутреннем рынке РК;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</a:rPr>
              <a:t>Формирование цены на полипропилен осуществлять исходя из наименьшей стоимости реализации полипропилена на внешние рынки.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980678" y="1447090"/>
            <a:ext cx="498399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/>
            <a:r>
              <a:rPr lang="ru-RU" sz="2000" b="1" cap="all" dirty="0">
                <a:solidFill>
                  <a:srgbClr val="002060"/>
                </a:solidFill>
                <a:latin typeface="Century Gothic" panose="020B0502020202020204" pitchFamily="34" charset="0"/>
                <a:ea typeface="Arial Unicode MS"/>
              </a:rPr>
              <a:t>Проблемные вопросы</a:t>
            </a:r>
          </a:p>
        </p:txBody>
      </p:sp>
      <p:sp>
        <p:nvSpPr>
          <p:cNvPr id="2" name="SlideTitle">
            <a:extLst>
              <a:ext uri="{FF2B5EF4-FFF2-40B4-BE49-F238E27FC236}">
                <a16:creationId xmlns="" xmlns:a16="http://schemas.microsoft.com/office/drawing/2014/main" id="{2F77CA63-DAA4-03C1-77EB-DA949DA5E026}"/>
              </a:ext>
            </a:extLst>
          </p:cNvPr>
          <p:cNvSpPr txBox="1">
            <a:spLocks/>
          </p:cNvSpPr>
          <p:nvPr/>
        </p:nvSpPr>
        <p:spPr>
          <a:xfrm>
            <a:off x="1613249" y="170258"/>
            <a:ext cx="10644986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«ПОЛИМЕР ПРОДАКШН». Проблемные вопросы и пути их решения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Номер слайда 3">
            <a:extLst>
              <a:ext uri="{FF2B5EF4-FFF2-40B4-BE49-F238E27FC236}">
                <a16:creationId xmlns="" xmlns:a16="http://schemas.microsoft.com/office/drawing/2014/main" id="{97903DD7-C387-37FA-A82C-BAAB82946B7F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12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0471E223-43F1-845B-4EBC-284FBF5EAE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90" y="93234"/>
            <a:ext cx="942450" cy="47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23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/>
        </p:nvGraphicFramePr>
        <p:xfrm>
          <a:off x="0" y="728727"/>
          <a:ext cx="12192000" cy="274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4" name="CorelDRAW" r:id="rId3" imgW="4187893" imgH="205149" progId="CorelDraw.Graphic.17">
                  <p:embed/>
                </p:oleObj>
              </mc:Choice>
              <mc:Fallback>
                <p:oleObj name="CorelDRAW" r:id="rId3" imgW="4187893" imgH="205149" progId="CorelDraw.Graphic.17">
                  <p:embed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728727"/>
                        <a:ext cx="12192000" cy="2748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735" y="5089255"/>
            <a:ext cx="1710529" cy="137523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617125" y="2819243"/>
            <a:ext cx="4706737" cy="8058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14403">
              <a:lnSpc>
                <a:spcPct val="150000"/>
              </a:lnSpc>
            </a:pPr>
            <a:r>
              <a:rPr lang="ru-RU" sz="3447" b="1" dirty="0" smtClean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АЛЬНЕЙШЕЕ РАЗВИТИЕ</a:t>
            </a:r>
            <a:endParaRPr lang="en-US" sz="3447" b="1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417385" y="6070973"/>
            <a:ext cx="774615" cy="787027"/>
          </a:xfrm>
          <a:prstGeom prst="rect">
            <a:avLst/>
          </a:prstGeom>
        </p:spPr>
      </p:pic>
      <p:sp>
        <p:nvSpPr>
          <p:cNvPr id="2" name="Номер слайда 3">
            <a:extLst>
              <a:ext uri="{FF2B5EF4-FFF2-40B4-BE49-F238E27FC236}">
                <a16:creationId xmlns="" xmlns:a16="http://schemas.microsoft.com/office/drawing/2014/main" id="{40A3AF72-6262-F99A-AEE0-4659C7F99BE0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13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8605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Диаграмма 22">
            <a:extLst>
              <a:ext uri="{FF2B5EF4-FFF2-40B4-BE49-F238E27FC236}">
                <a16:creationId xmlns="" xmlns:a16="http://schemas.microsoft.com/office/drawing/2014/main" id="{225B36BD-7322-0BD8-950A-59CC8043E038}"/>
              </a:ext>
            </a:extLst>
          </p:cNvPr>
          <p:cNvGraphicFramePr/>
          <p:nvPr>
            <p:extLst/>
          </p:nvPr>
        </p:nvGraphicFramePr>
        <p:xfrm>
          <a:off x="6270530" y="2995248"/>
          <a:ext cx="4680980" cy="3388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Диаграмма 24">
            <a:extLst>
              <a:ext uri="{FF2B5EF4-FFF2-40B4-BE49-F238E27FC236}">
                <a16:creationId xmlns="" xmlns:a16="http://schemas.microsoft.com/office/drawing/2014/main" id="{031D79FF-316C-096A-7C2B-60BF61EC6B25}"/>
              </a:ext>
            </a:extLst>
          </p:cNvPr>
          <p:cNvGraphicFramePr/>
          <p:nvPr>
            <p:extLst/>
          </p:nvPr>
        </p:nvGraphicFramePr>
        <p:xfrm>
          <a:off x="6295063" y="2927096"/>
          <a:ext cx="4690605" cy="3403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Номер слайда 3">
            <a:extLst>
              <a:ext uri="{FF2B5EF4-FFF2-40B4-BE49-F238E27FC236}">
                <a16:creationId xmlns="" xmlns:a16="http://schemas.microsoft.com/office/drawing/2014/main" id="{77F19817-9C50-8EE7-90D2-4CB5250614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65647" y="6451633"/>
            <a:ext cx="1468274" cy="298790"/>
          </a:xfrm>
        </p:spPr>
        <p:txBody>
          <a:bodyPr rtlCol="0"/>
          <a:lstStyle/>
          <a:p>
            <a:fld id="{CB2079F2-58AF-ED44-82D7-E04B2F6FD686}" type="slidenum">
              <a:rPr lang="ru-RU" sz="1800" smtClean="0">
                <a:solidFill>
                  <a:prstClr val="black">
                    <a:tint val="7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/>
              <a:t>14</a:t>
            </a:fld>
            <a:endParaRPr lang="ru-RU" sz="1800" dirty="0">
              <a:solidFill>
                <a:prstClr val="black">
                  <a:tint val="75000"/>
                </a:prst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Нижний колонтитул 49">
            <a:extLst>
              <a:ext uri="{FF2B5EF4-FFF2-40B4-BE49-F238E27FC236}">
                <a16:creationId xmlns="" xmlns:a16="http://schemas.microsoft.com/office/drawing/2014/main" id="{857412EF-AAAA-3F03-B610-C553602E11E3}"/>
              </a:ext>
            </a:extLst>
          </p:cNvPr>
          <p:cNvSpPr txBox="1">
            <a:spLocks/>
          </p:cNvSpPr>
          <p:nvPr/>
        </p:nvSpPr>
        <p:spPr>
          <a:xfrm>
            <a:off x="969615" y="6239379"/>
            <a:ext cx="4866409" cy="301756"/>
          </a:xfrm>
          <a:prstGeom prst="rect">
            <a:avLst/>
          </a:prstGeom>
        </p:spPr>
        <p:txBody>
          <a:bodyPr vert="horz" lIns="62345" tIns="31173" rIns="62345" bIns="31173" rtlCol="0" anchor="ctr"/>
          <a:lstStyle>
            <a:defPPr rtl="0">
              <a:defRPr lang="ru-RU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55" dirty="0">
                <a:solidFill>
                  <a:prstClr val="white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нтегрированный годовой отчет</a:t>
            </a:r>
            <a:r>
              <a:rPr lang="en-US" sz="955" dirty="0">
                <a:solidFill>
                  <a:prstClr val="white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SKO</a:t>
            </a:r>
            <a:r>
              <a:rPr lang="ru-RU" sz="955" dirty="0">
                <a:solidFill>
                  <a:prstClr val="white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2022 г.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E5A3E8E4-72D5-4DAD-FF9A-6E7C6B484D49}"/>
              </a:ext>
            </a:extLst>
          </p:cNvPr>
          <p:cNvSpPr/>
          <p:nvPr/>
        </p:nvSpPr>
        <p:spPr>
          <a:xfrm>
            <a:off x="801057" y="1204564"/>
            <a:ext cx="600214" cy="680058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227">
              <a:solidFill>
                <a:prstClr val="white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19C4C601-7D45-B5CB-CF05-7242AB3E3601}"/>
              </a:ext>
            </a:extLst>
          </p:cNvPr>
          <p:cNvSpPr txBox="1">
            <a:spLocks/>
          </p:cNvSpPr>
          <p:nvPr/>
        </p:nvSpPr>
        <p:spPr>
          <a:xfrm>
            <a:off x="1476307" y="1204564"/>
            <a:ext cx="3807903" cy="680058"/>
          </a:xfrm>
          <a:prstGeom prst="rect">
            <a:avLst/>
          </a:prstGeom>
          <a:solidFill>
            <a:schemeClr val="bg1">
              <a:alpha val="74000"/>
            </a:schemeClr>
          </a:solidFill>
        </p:spPr>
        <p:txBody>
          <a:bodyPr vert="horz" lIns="62345" tIns="31173" rIns="62345" bIns="31173" rtlCol="0" anchor="ctr">
            <a:normAutofit/>
          </a:bodyPr>
          <a:lstStyle>
            <a:lvl1pPr algn="l" defTabSz="13411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182" b="1" dirty="0">
                <a:solidFill>
                  <a:srgbClr val="17335D"/>
                </a:solidFill>
                <a:cs typeface="Calibri Light" panose="020F0302020204030204" pitchFamily="34" charset="0"/>
              </a:rPr>
              <a:t>ОБЗОР РЫНКА</a:t>
            </a:r>
            <a:endParaRPr lang="en-US" sz="2182" b="1" dirty="0">
              <a:solidFill>
                <a:srgbClr val="17335D"/>
              </a:solidFill>
              <a:cs typeface="Calibri Light" panose="020F0302020204030204" pitchFamily="34" charset="0"/>
            </a:endParaRPr>
          </a:p>
        </p:txBody>
      </p:sp>
      <p:grpSp>
        <p:nvGrpSpPr>
          <p:cNvPr id="9" name="Group 14">
            <a:extLst>
              <a:ext uri="{FF2B5EF4-FFF2-40B4-BE49-F238E27FC236}">
                <a16:creationId xmlns="" xmlns:a16="http://schemas.microsoft.com/office/drawing/2014/main" id="{BA01B986-A51F-D3A4-33A9-A113D732D596}"/>
              </a:ext>
            </a:extLst>
          </p:cNvPr>
          <p:cNvGrpSpPr/>
          <p:nvPr/>
        </p:nvGrpSpPr>
        <p:grpSpPr>
          <a:xfrm>
            <a:off x="1255495" y="2356812"/>
            <a:ext cx="4422603" cy="600004"/>
            <a:chOff x="887803" y="866332"/>
            <a:chExt cx="4349167" cy="854896"/>
          </a:xfrm>
        </p:grpSpPr>
        <p:sp>
          <p:nvSpPr>
            <p:cNvPr id="10" name="Прямоугольник 46">
              <a:extLst>
                <a:ext uri="{FF2B5EF4-FFF2-40B4-BE49-F238E27FC236}">
                  <a16:creationId xmlns="" xmlns:a16="http://schemas.microsoft.com/office/drawing/2014/main" id="{47342B5D-1A64-F538-9CA5-28CD46220BF2}"/>
                </a:ext>
              </a:extLst>
            </p:cNvPr>
            <p:cNvSpPr/>
            <p:nvPr/>
          </p:nvSpPr>
          <p:spPr>
            <a:xfrm>
              <a:off x="887803" y="866332"/>
              <a:ext cx="4349167" cy="6239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23" b="1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Доля химической отрасли в ВВП Казахстана составляет </a:t>
              </a:r>
              <a:r>
                <a:rPr lang="en-US" sz="1123" b="1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&lt;</a:t>
              </a:r>
              <a:r>
                <a:rPr lang="ru-RU" sz="1123" b="1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1</a:t>
              </a:r>
              <a:r>
                <a:rPr lang="en-US" sz="1123" b="1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% </a:t>
              </a:r>
              <a:r>
                <a:rPr lang="ru-RU" sz="1123" b="1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ВП на протяжении последних 12 лет</a:t>
              </a:r>
            </a:p>
          </p:txBody>
        </p:sp>
        <p:cxnSp>
          <p:nvCxnSpPr>
            <p:cNvPr id="11" name="Прямая соединительная линия 41">
              <a:extLst>
                <a:ext uri="{FF2B5EF4-FFF2-40B4-BE49-F238E27FC236}">
                  <a16:creationId xmlns="" xmlns:a16="http://schemas.microsoft.com/office/drawing/2014/main" id="{2C74D915-DD81-8150-EC9C-11DCE9C26175}"/>
                </a:ext>
              </a:extLst>
            </p:cNvPr>
            <p:cNvCxnSpPr>
              <a:cxnSpLocks/>
            </p:cNvCxnSpPr>
            <p:nvPr/>
          </p:nvCxnSpPr>
          <p:spPr>
            <a:xfrm>
              <a:off x="887804" y="1422482"/>
              <a:ext cx="4114800" cy="0"/>
            </a:xfrm>
            <a:prstGeom prst="line">
              <a:avLst/>
            </a:prstGeom>
            <a:ln>
              <a:solidFill>
                <a:schemeClr val="accent6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83FB030C-6CD8-CECF-7245-1622D94100A7}"/>
                </a:ext>
              </a:extLst>
            </p:cNvPr>
            <p:cNvSpPr txBox="1"/>
            <p:nvPr/>
          </p:nvSpPr>
          <p:spPr>
            <a:xfrm>
              <a:off x="887803" y="1428330"/>
              <a:ext cx="4313932" cy="2928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36" i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1-202</a:t>
              </a:r>
              <a:r>
                <a:rPr lang="ru-RU" sz="736" i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 гг., ВВП Казахстана</a:t>
              </a:r>
              <a:r>
                <a:rPr lang="en-US" sz="736" i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ru-RU" sz="736" i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и доля хим. отрасли (млрд. тенге)</a:t>
              </a:r>
            </a:p>
          </p:txBody>
        </p:sp>
      </p:grpSp>
      <p:graphicFrame>
        <p:nvGraphicFramePr>
          <p:cNvPr id="15" name="Диаграмма 14">
            <a:extLst>
              <a:ext uri="{FF2B5EF4-FFF2-40B4-BE49-F238E27FC236}">
                <a16:creationId xmlns="" xmlns:a16="http://schemas.microsoft.com/office/drawing/2014/main" id="{25EA3771-7FF6-9131-C17E-249C581F8FB5}"/>
              </a:ext>
            </a:extLst>
          </p:cNvPr>
          <p:cNvGraphicFramePr/>
          <p:nvPr>
            <p:extLst/>
          </p:nvPr>
        </p:nvGraphicFramePr>
        <p:xfrm>
          <a:off x="744972" y="2977787"/>
          <a:ext cx="4422604" cy="3127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D3346458-0321-2790-4732-BEC8915D10D0}"/>
              </a:ext>
            </a:extLst>
          </p:cNvPr>
          <p:cNvSpPr txBox="1"/>
          <p:nvPr/>
        </p:nvSpPr>
        <p:spPr>
          <a:xfrm>
            <a:off x="1240490" y="5982180"/>
            <a:ext cx="4279537" cy="180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ru-RU" sz="573" i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сточник: Бюро национальной статистики Агентства по стратегическому планированию и реформам РК</a:t>
            </a:r>
          </a:p>
        </p:txBody>
      </p:sp>
      <p:sp>
        <p:nvSpPr>
          <p:cNvPr id="17" name="Right Brace 5">
            <a:extLst>
              <a:ext uri="{FF2B5EF4-FFF2-40B4-BE49-F238E27FC236}">
                <a16:creationId xmlns="" xmlns:a16="http://schemas.microsoft.com/office/drawing/2014/main" id="{3E3D1A62-9B60-08E0-00F4-5FB99AD93B1B}"/>
              </a:ext>
            </a:extLst>
          </p:cNvPr>
          <p:cNvSpPr/>
          <p:nvPr/>
        </p:nvSpPr>
        <p:spPr>
          <a:xfrm>
            <a:off x="4735672" y="3155734"/>
            <a:ext cx="183362" cy="2692830"/>
          </a:xfrm>
          <a:prstGeom prst="rightBrace">
            <a:avLst>
              <a:gd name="adj1" fmla="val 147619"/>
              <a:gd name="adj2" fmla="val 50000"/>
            </a:avLst>
          </a:prstGeom>
          <a:ln w="19050">
            <a:solidFill>
              <a:srgbClr val="47CC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63">
              <a:solidFill>
                <a:prstClr val="black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85AA537F-A204-C498-0F84-C389E210C91F}"/>
              </a:ext>
            </a:extLst>
          </p:cNvPr>
          <p:cNvSpPr txBox="1"/>
          <p:nvPr/>
        </p:nvSpPr>
        <p:spPr>
          <a:xfrm>
            <a:off x="4832327" y="4380395"/>
            <a:ext cx="687700" cy="7730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63" b="1" dirty="0">
                <a:solidFill>
                  <a:srgbClr val="47CC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%</a:t>
            </a:r>
            <a:endParaRPr lang="ru-RU" sz="1263" b="1" dirty="0">
              <a:solidFill>
                <a:srgbClr val="47CC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632" b="1" dirty="0">
                <a:solidFill>
                  <a:srgbClr val="47CC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хим. отрасли в ВВП за последние 12 лет</a:t>
            </a:r>
            <a:endParaRPr lang="en-US" sz="632" b="1" dirty="0">
              <a:solidFill>
                <a:srgbClr val="47CC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46">
            <a:extLst>
              <a:ext uri="{FF2B5EF4-FFF2-40B4-BE49-F238E27FC236}">
                <a16:creationId xmlns="" xmlns:a16="http://schemas.microsoft.com/office/drawing/2014/main" id="{52287555-B29D-1A11-E699-29628BC845D1}"/>
              </a:ext>
            </a:extLst>
          </p:cNvPr>
          <p:cNvSpPr/>
          <p:nvPr/>
        </p:nvSpPr>
        <p:spPr>
          <a:xfrm>
            <a:off x="6449743" y="2311024"/>
            <a:ext cx="4590598" cy="437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оминально объемы химической продукции за 1</a:t>
            </a:r>
            <a:r>
              <a:rPr lang="en-US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ru-RU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лет выросли в </a:t>
            </a:r>
            <a:r>
              <a:rPr lang="en-US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  <a:r>
              <a:rPr lang="ru-RU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  <a:r>
              <a:rPr lang="en-US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r>
              <a:rPr lang="ru-RU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раза, но все еще </a:t>
            </a:r>
            <a:r>
              <a:rPr lang="en-US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&lt;</a:t>
            </a:r>
            <a:r>
              <a:rPr lang="ru-RU" sz="1123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% от ВВП</a:t>
            </a:r>
          </a:p>
        </p:txBody>
      </p:sp>
      <p:cxnSp>
        <p:nvCxnSpPr>
          <p:cNvPr id="21" name="Прямая соединительная линия 41">
            <a:extLst>
              <a:ext uri="{FF2B5EF4-FFF2-40B4-BE49-F238E27FC236}">
                <a16:creationId xmlns="" xmlns:a16="http://schemas.microsoft.com/office/drawing/2014/main" id="{9C046A3C-94F0-D6E0-EFFE-B09EC365B79E}"/>
              </a:ext>
            </a:extLst>
          </p:cNvPr>
          <p:cNvCxnSpPr>
            <a:cxnSpLocks/>
          </p:cNvCxnSpPr>
          <p:nvPr/>
        </p:nvCxnSpPr>
        <p:spPr>
          <a:xfrm>
            <a:off x="6449741" y="2750827"/>
            <a:ext cx="4460714" cy="0"/>
          </a:xfrm>
          <a:prstGeom prst="line">
            <a:avLst/>
          </a:prstGeom>
          <a:ln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4305D55D-4A31-3661-DF49-0BB409D8D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3565" y="1204564"/>
            <a:ext cx="5066219" cy="680058"/>
          </a:xfrm>
          <a:solidFill>
            <a:schemeClr val="bg1">
              <a:alpha val="74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1364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ПРОИЗВОДСТВА ХИМИЧЕСКОЙ ПРОМЫШЛЕННОСТИ В КАЗАХСТАНЕ</a:t>
            </a:r>
            <a:r>
              <a:rPr lang="en-US" sz="1364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64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ЛЯЕТ </a:t>
            </a:r>
            <a:br>
              <a:rPr lang="ru-RU" sz="1364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364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Е 1% ОТ ВВП</a:t>
            </a:r>
            <a:endParaRPr lang="x-none" sz="1364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4D271F8D-ADAA-41E3-AD97-F1C4C95E12E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396371" y="603043"/>
            <a:ext cx="10481426" cy="367433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E9CE7309-2248-4653-B279-F91DD2247D3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5668" y="186922"/>
            <a:ext cx="974594" cy="783554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="" xmlns:a16="http://schemas.microsoft.com/office/drawing/2014/main" id="{7BBDA6C1-1309-7B79-5CEB-1CB376D1F01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381323" y="6031548"/>
            <a:ext cx="774615" cy="7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54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ru-RU" dirty="0"/>
              <a:t>Сальдо торгового баланса химической продукции Казахстана является «отрицательным» по всем торговым позициям и ярко отражает сложившуюся текущую ситуацию</a:t>
            </a:r>
          </a:p>
        </p:txBody>
      </p:sp>
      <p:grpSp>
        <p:nvGrpSpPr>
          <p:cNvPr id="26" name="Группа 5">
            <a:extLst>
              <a:ext uri="{FF2B5EF4-FFF2-40B4-BE49-F238E27FC236}">
                <a16:creationId xmlns="" xmlns:a16="http://schemas.microsoft.com/office/drawing/2014/main" id="{8669141B-DD82-4E42-B0D4-752F8C0813D8}"/>
              </a:ext>
            </a:extLst>
          </p:cNvPr>
          <p:cNvGrpSpPr/>
          <p:nvPr/>
        </p:nvGrpSpPr>
        <p:grpSpPr>
          <a:xfrm>
            <a:off x="499641" y="1656087"/>
            <a:ext cx="5206623" cy="662863"/>
            <a:chOff x="390417" y="1673552"/>
            <a:chExt cx="3960000" cy="662863"/>
          </a:xfrm>
        </p:grpSpPr>
        <p:sp>
          <p:nvSpPr>
            <p:cNvPr id="30" name="Rectangle 25">
              <a:extLst>
                <a:ext uri="{FF2B5EF4-FFF2-40B4-BE49-F238E27FC236}">
                  <a16:creationId xmlns="" xmlns:a16="http://schemas.microsoft.com/office/drawing/2014/main" id="{A8BF1DCC-C8DC-4717-A8E0-D9114E2A15A5}"/>
                </a:ext>
              </a:extLst>
            </p:cNvPr>
            <p:cNvSpPr/>
            <p:nvPr/>
          </p:nvSpPr>
          <p:spPr>
            <a:xfrm>
              <a:off x="390419" y="1673552"/>
              <a:ext cx="3959998" cy="3691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  <a:sym typeface="+mn-lt"/>
                </a:rPr>
                <a:t>Торговый баланс химической продукции (1/2)</a:t>
              </a:r>
            </a:p>
          </p:txBody>
        </p:sp>
        <p:sp>
          <p:nvSpPr>
            <p:cNvPr id="31" name="Rectangle 25">
              <a:extLst>
                <a:ext uri="{FF2B5EF4-FFF2-40B4-BE49-F238E27FC236}">
                  <a16:creationId xmlns="" xmlns:a16="http://schemas.microsoft.com/office/drawing/2014/main" id="{DA62AF06-6D5A-4B3B-A7FA-73532B090AA6}"/>
                </a:ext>
              </a:extLst>
            </p:cNvPr>
            <p:cNvSpPr/>
            <p:nvPr/>
          </p:nvSpPr>
          <p:spPr>
            <a:xfrm>
              <a:off x="390417" y="2050388"/>
              <a:ext cx="3540771" cy="2860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50" i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anose="020B0604020202020204" pitchFamily="34" charset="0"/>
                  <a:sym typeface="+mn-lt"/>
                </a:rPr>
                <a:t>2020, тыс. долл. США.</a:t>
              </a:r>
              <a:r>
                <a:rPr lang="en-US" sz="1050" i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anose="020B0604020202020204" pitchFamily="34" charset="0"/>
                  <a:sym typeface="+mn-lt"/>
                </a:rPr>
                <a:t> </a:t>
              </a:r>
              <a:r>
                <a:rPr lang="ru-RU" sz="1050" i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anose="020B0604020202020204" pitchFamily="34" charset="0"/>
                  <a:sym typeface="+mn-lt"/>
                </a:rPr>
                <a:t>Импорт и экспорт по </a:t>
              </a:r>
              <a:r>
                <a:rPr lang="en-US" sz="1050" i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anose="020B0604020202020204" pitchFamily="34" charset="0"/>
                  <a:sym typeface="+mn-lt"/>
                </a:rPr>
                <a:t>2 </a:t>
              </a:r>
              <a:r>
                <a:rPr lang="ru-RU" sz="1050" i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anose="020B0604020202020204" pitchFamily="34" charset="0"/>
                  <a:sym typeface="+mn-lt"/>
                </a:rPr>
                <a:t>знакам ТН ВЭД</a:t>
              </a:r>
              <a:endParaRPr lang="en-US" sz="1050" i="1" dirty="0">
                <a:solidFill>
                  <a:prstClr val="black">
                    <a:lumMod val="65000"/>
                    <a:lumOff val="35000"/>
                  </a:prstClr>
                </a:solidFill>
                <a:cs typeface="Arial" panose="020B0604020202020204" pitchFamily="34" charset="0"/>
                <a:sym typeface="+mn-lt"/>
              </a:endParaRPr>
            </a:p>
          </p:txBody>
        </p:sp>
      </p:grpSp>
      <p:graphicFrame>
        <p:nvGraphicFramePr>
          <p:cNvPr id="33" name="Таблица 28">
            <a:extLst>
              <a:ext uri="{FF2B5EF4-FFF2-40B4-BE49-F238E27FC236}">
                <a16:creationId xmlns="" xmlns:a16="http://schemas.microsoft.com/office/drawing/2014/main" id="{05C9624E-80D0-4311-8A74-5F33F063C64F}"/>
              </a:ext>
            </a:extLst>
          </p:cNvPr>
          <p:cNvGraphicFramePr>
            <a:graphicFrameLocks noGrp="1"/>
          </p:cNvGraphicFramePr>
          <p:nvPr/>
        </p:nvGraphicFramePr>
        <p:xfrm>
          <a:off x="176981" y="2462988"/>
          <a:ext cx="2586668" cy="364731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5866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44191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Неорганическая химия; редкоземельные металлы</a:t>
                      </a:r>
                      <a:r>
                        <a:rPr lang="ru-RU" sz="800" u="none" strike="noStrike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, радиоактивные элементы (уран)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Органические химические соединения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Удобрения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ластмассы и изделия из них; </a:t>
                      </a:r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Фармацевтическая продукция</a:t>
                      </a:r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рочие химические продукты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Краски и лак; красящие вещества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Эфирные масла и </a:t>
                      </a:r>
                      <a:r>
                        <a:rPr lang="ru-RU" sz="800" u="none" strike="noStrike" dirty="0" err="1">
                          <a:effectLst/>
                          <a:latin typeface="+mn-lt"/>
                          <a:cs typeface="Arial" panose="020B0604020202020204" pitchFamily="34" charset="0"/>
                        </a:rPr>
                        <a:t>резиноиды</a:t>
                      </a:r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; туалетные средства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4191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Моющие средства, смазочные материалы, свечи, пластилин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Каучук, резина и изделия из  них</a:t>
                      </a:r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Химические нити</a:t>
                      </a:r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Белковые вещества; крахмалы; клеи; ферменты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иротехнические изделия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>
                          <a:effectLst/>
                          <a:latin typeface="+mn-lt"/>
                          <a:cs typeface="Arial" panose="020B0604020202020204" pitchFamily="34" charset="0"/>
                        </a:rPr>
                        <a:t>Химические волокна</a:t>
                      </a:r>
                      <a:endParaRPr lang="ru-RU" sz="8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2576"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Фото- и </a:t>
                      </a:r>
                      <a:r>
                        <a:rPr lang="ru-RU" sz="800" u="none" strike="noStrike" dirty="0" err="1">
                          <a:effectLst/>
                          <a:latin typeface="+mn-lt"/>
                          <a:cs typeface="Arial" panose="020B0604020202020204" pitchFamily="34" charset="0"/>
                        </a:rPr>
                        <a:t>кинотовары</a:t>
                      </a:r>
                      <a:endParaRPr lang="ru-RU" sz="800" b="0" i="0" u="none" strike="noStrike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073" marR="3073" marT="3073" marB="0" anchor="ctr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graphicFrame>
        <p:nvGraphicFramePr>
          <p:cNvPr id="34" name="Chart 33">
            <a:extLst>
              <a:ext uri="{FF2B5EF4-FFF2-40B4-BE49-F238E27FC236}">
                <a16:creationId xmlns="" xmlns:a16="http://schemas.microsoft.com/office/drawing/2014/main" id="{C995D6F5-33EB-4574-9DA4-65B4B2CA18F1}"/>
              </a:ext>
            </a:extLst>
          </p:cNvPr>
          <p:cNvGraphicFramePr>
            <a:graphicFrameLocks/>
          </p:cNvGraphicFramePr>
          <p:nvPr/>
        </p:nvGraphicFramePr>
        <p:xfrm>
          <a:off x="2204504" y="2341874"/>
          <a:ext cx="4572000" cy="397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B149CB44-0976-4B41-A662-92B6FA200F15}"/>
              </a:ext>
            </a:extLst>
          </p:cNvPr>
          <p:cNvGrpSpPr/>
          <p:nvPr/>
        </p:nvGrpSpPr>
        <p:grpSpPr>
          <a:xfrm>
            <a:off x="5035820" y="6428507"/>
            <a:ext cx="1740684" cy="246221"/>
            <a:chOff x="4035653" y="5897023"/>
            <a:chExt cx="1740684" cy="246221"/>
          </a:xfrm>
        </p:grpSpPr>
        <p:grpSp>
          <p:nvGrpSpPr>
            <p:cNvPr id="6" name="Group 5">
              <a:extLst>
                <a:ext uri="{FF2B5EF4-FFF2-40B4-BE49-F238E27FC236}">
                  <a16:creationId xmlns="" xmlns:a16="http://schemas.microsoft.com/office/drawing/2014/main" id="{583494BC-862F-427E-AB24-2C08549A6C39}"/>
                </a:ext>
              </a:extLst>
            </p:cNvPr>
            <p:cNvGrpSpPr/>
            <p:nvPr/>
          </p:nvGrpSpPr>
          <p:grpSpPr>
            <a:xfrm>
              <a:off x="4035653" y="5897023"/>
              <a:ext cx="909702" cy="246221"/>
              <a:chOff x="3810000" y="5693489"/>
              <a:chExt cx="909702" cy="246221"/>
            </a:xfrm>
          </p:grpSpPr>
          <p:sp>
            <p:nvSpPr>
              <p:cNvPr id="3" name="Rectangle 2">
                <a:extLst>
                  <a:ext uri="{FF2B5EF4-FFF2-40B4-BE49-F238E27FC236}">
                    <a16:creationId xmlns="" xmlns:a16="http://schemas.microsoft.com/office/drawing/2014/main" id="{8F184A57-7EA7-43C3-A912-46DD3BB41B68}"/>
                  </a:ext>
                </a:extLst>
              </p:cNvPr>
              <p:cNvSpPr/>
              <p:nvPr/>
            </p:nvSpPr>
            <p:spPr>
              <a:xfrm>
                <a:off x="3810000" y="5760720"/>
                <a:ext cx="111760" cy="111760"/>
              </a:xfrm>
              <a:prstGeom prst="rect">
                <a:avLst/>
              </a:prstGeom>
              <a:solidFill>
                <a:srgbClr val="B9B88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" name="TextBox 3">
                <a:extLst>
                  <a:ext uri="{FF2B5EF4-FFF2-40B4-BE49-F238E27FC236}">
                    <a16:creationId xmlns="" xmlns:a16="http://schemas.microsoft.com/office/drawing/2014/main" id="{FE5C27A8-72E9-47D7-A470-E6F983975296}"/>
                  </a:ext>
                </a:extLst>
              </p:cNvPr>
              <p:cNvSpPr txBox="1"/>
              <p:nvPr/>
            </p:nvSpPr>
            <p:spPr>
              <a:xfrm>
                <a:off x="3921760" y="5693489"/>
                <a:ext cx="79794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ru-RU" sz="1000" dirty="0">
                    <a:solidFill>
                      <a:prstClr val="black"/>
                    </a:solidFill>
                  </a:rPr>
                  <a:t>Импорт</a:t>
                </a:r>
                <a:endParaRPr lang="en-US" sz="10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="" xmlns:a16="http://schemas.microsoft.com/office/drawing/2014/main" id="{A3D8C747-4C9F-48F3-BF02-359D02F124CA}"/>
                </a:ext>
              </a:extLst>
            </p:cNvPr>
            <p:cNvGrpSpPr/>
            <p:nvPr/>
          </p:nvGrpSpPr>
          <p:grpSpPr>
            <a:xfrm>
              <a:off x="4866635" y="5897023"/>
              <a:ext cx="909702" cy="246221"/>
              <a:chOff x="4841622" y="5677059"/>
              <a:chExt cx="909702" cy="246221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="" xmlns:a16="http://schemas.microsoft.com/office/drawing/2014/main" id="{7E42F64D-9842-41CE-BCBC-8DA3D6D7D81B}"/>
                  </a:ext>
                </a:extLst>
              </p:cNvPr>
              <p:cNvSpPr/>
              <p:nvPr/>
            </p:nvSpPr>
            <p:spPr>
              <a:xfrm>
                <a:off x="4841622" y="5744290"/>
                <a:ext cx="111760" cy="111760"/>
              </a:xfrm>
              <a:prstGeom prst="rect">
                <a:avLst/>
              </a:prstGeom>
              <a:solidFill>
                <a:srgbClr val="9DD4C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="" xmlns:a16="http://schemas.microsoft.com/office/drawing/2014/main" id="{96C885C1-F7A6-48C1-939A-9ED0C0F96D50}"/>
                  </a:ext>
                </a:extLst>
              </p:cNvPr>
              <p:cNvSpPr txBox="1"/>
              <p:nvPr/>
            </p:nvSpPr>
            <p:spPr>
              <a:xfrm>
                <a:off x="4953382" y="5677059"/>
                <a:ext cx="79794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ru-RU" sz="1000" dirty="0">
                    <a:solidFill>
                      <a:prstClr val="black"/>
                    </a:solidFill>
                  </a:rPr>
                  <a:t>Экспорт</a:t>
                </a:r>
                <a:endParaRPr lang="en-US" sz="1000" dirty="0">
                  <a:solidFill>
                    <a:prstClr val="black"/>
                  </a:solidFill>
                </a:endParaRPr>
              </a:p>
            </p:txBody>
          </p:sp>
        </p:grpSp>
      </p:grpSp>
      <p:sp useBgFill="1">
        <p:nvSpPr>
          <p:cNvPr id="38" name="Полилиния 99">
            <a:extLst>
              <a:ext uri="{FF2B5EF4-FFF2-40B4-BE49-F238E27FC236}">
                <a16:creationId xmlns="" xmlns:a16="http://schemas.microsoft.com/office/drawing/2014/main" id="{D2CC0CB8-3B77-4432-95EA-DB53516DC49C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859387" y="2480602"/>
            <a:ext cx="140453" cy="253681"/>
          </a:xfrm>
          <a:custGeom>
            <a:avLst/>
            <a:gdLst/>
            <a:ahLst/>
            <a:cxnLst/>
            <a:rect l="0" t="0" r="0" b="0"/>
            <a:pathLst>
              <a:path w="127001" h="261938">
                <a:moveTo>
                  <a:pt x="127000" y="0"/>
                </a:moveTo>
                <a:lnTo>
                  <a:pt x="57150" y="261937"/>
                </a:lnTo>
                <a:lnTo>
                  <a:pt x="0" y="261937"/>
                </a:lnTo>
                <a:lnTo>
                  <a:pt x="69850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defRPr/>
            </a:pPr>
            <a:endParaRPr lang="ru-RU" sz="1200" dirty="0" err="1">
              <a:solidFill>
                <a:prstClr val="white"/>
              </a:solidFill>
            </a:endParaRPr>
          </a:p>
        </p:txBody>
      </p:sp>
      <p:sp>
        <p:nvSpPr>
          <p:cNvPr id="39" name="Полилиния 100">
            <a:extLst>
              <a:ext uri="{FF2B5EF4-FFF2-40B4-BE49-F238E27FC236}">
                <a16:creationId xmlns="" xmlns:a16="http://schemas.microsoft.com/office/drawing/2014/main" id="{79BEE9A5-9B79-47E9-8F33-AD38A891564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922591" y="2480602"/>
            <a:ext cx="77250" cy="253681"/>
          </a:xfrm>
          <a:custGeom>
            <a:avLst/>
            <a:gdLst/>
            <a:ahLst/>
            <a:cxnLst/>
            <a:rect l="0" t="0" r="0" b="0"/>
            <a:pathLst>
              <a:path w="69851" h="261938">
                <a:moveTo>
                  <a:pt x="69850" y="0"/>
                </a:moveTo>
                <a:lnTo>
                  <a:pt x="0" y="261937"/>
                </a:lnTo>
              </a:path>
            </a:pathLst>
          </a:custGeom>
          <a:solidFill>
            <a:srgbClr val="AE2C25"/>
          </a:solidFill>
          <a:ln w="9525">
            <a:solidFill>
              <a:schemeClr val="tx1"/>
            </a:solidFill>
            <a:miter lim="800000"/>
            <a:headEnd type="none" w="med" len="med"/>
            <a:tailEnd type="none"/>
          </a:ln>
        </p:spPr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0" name="Полилиния 101">
            <a:extLst>
              <a:ext uri="{FF2B5EF4-FFF2-40B4-BE49-F238E27FC236}">
                <a16:creationId xmlns="" xmlns:a16="http://schemas.microsoft.com/office/drawing/2014/main" id="{D4DD80BC-36CB-4B59-B096-46BD0883678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859387" y="2480602"/>
            <a:ext cx="77250" cy="253681"/>
          </a:xfrm>
          <a:custGeom>
            <a:avLst/>
            <a:gdLst/>
            <a:ahLst/>
            <a:cxnLst/>
            <a:rect l="0" t="0" r="0" b="0"/>
            <a:pathLst>
              <a:path w="69851" h="261938">
                <a:moveTo>
                  <a:pt x="69850" y="0"/>
                </a:moveTo>
                <a:lnTo>
                  <a:pt x="0" y="261937"/>
                </a:lnTo>
              </a:path>
            </a:pathLst>
          </a:custGeom>
          <a:solidFill>
            <a:srgbClr val="AE2C25"/>
          </a:solidFill>
          <a:ln w="9525">
            <a:solidFill>
              <a:schemeClr val="tx1"/>
            </a:solidFill>
            <a:miter lim="800000"/>
            <a:headEnd type="none" w="med" len="med"/>
            <a:tailEnd type="none"/>
          </a:ln>
        </p:spPr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42" name="Chart 41">
            <a:extLst>
              <a:ext uri="{FF2B5EF4-FFF2-40B4-BE49-F238E27FC236}">
                <a16:creationId xmlns="" xmlns:a16="http://schemas.microsoft.com/office/drawing/2014/main" id="{333D8ECF-15E9-4B8C-B3C7-D17D88AB1A1B}"/>
              </a:ext>
            </a:extLst>
          </p:cNvPr>
          <p:cNvGraphicFramePr>
            <a:graphicFrameLocks/>
          </p:cNvGraphicFramePr>
          <p:nvPr/>
        </p:nvGraphicFramePr>
        <p:xfrm>
          <a:off x="6324241" y="2341874"/>
          <a:ext cx="3197566" cy="397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44" name="Группа 5">
            <a:extLst>
              <a:ext uri="{FF2B5EF4-FFF2-40B4-BE49-F238E27FC236}">
                <a16:creationId xmlns="" xmlns:a16="http://schemas.microsoft.com/office/drawing/2014/main" id="{BA40F62A-3E77-465F-A909-7582F4065728}"/>
              </a:ext>
            </a:extLst>
          </p:cNvPr>
          <p:cNvGrpSpPr/>
          <p:nvPr/>
        </p:nvGrpSpPr>
        <p:grpSpPr>
          <a:xfrm>
            <a:off x="6133460" y="1656087"/>
            <a:ext cx="4058544" cy="655313"/>
            <a:chOff x="390417" y="1681102"/>
            <a:chExt cx="3086806" cy="655313"/>
          </a:xfrm>
        </p:grpSpPr>
        <p:sp>
          <p:nvSpPr>
            <p:cNvPr id="45" name="Rectangle 25">
              <a:extLst>
                <a:ext uri="{FF2B5EF4-FFF2-40B4-BE49-F238E27FC236}">
                  <a16:creationId xmlns="" xmlns:a16="http://schemas.microsoft.com/office/drawing/2014/main" id="{3452804F-EE91-46E0-B3E4-479C24DAB267}"/>
                </a:ext>
              </a:extLst>
            </p:cNvPr>
            <p:cNvSpPr/>
            <p:nvPr/>
          </p:nvSpPr>
          <p:spPr>
            <a:xfrm>
              <a:off x="390417" y="1681102"/>
              <a:ext cx="3086806" cy="3657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  <a:sym typeface="+mn-lt"/>
                </a:rPr>
                <a:t>Торговый баланс химической продукции (2/2)</a:t>
              </a:r>
            </a:p>
          </p:txBody>
        </p:sp>
        <p:sp>
          <p:nvSpPr>
            <p:cNvPr id="46" name="Rectangle 25">
              <a:extLst>
                <a:ext uri="{FF2B5EF4-FFF2-40B4-BE49-F238E27FC236}">
                  <a16:creationId xmlns="" xmlns:a16="http://schemas.microsoft.com/office/drawing/2014/main" id="{9A2AB642-D298-4BA5-BE3A-1DD543B6B417}"/>
                </a:ext>
              </a:extLst>
            </p:cNvPr>
            <p:cNvSpPr/>
            <p:nvPr/>
          </p:nvSpPr>
          <p:spPr>
            <a:xfrm>
              <a:off x="390417" y="2050388"/>
              <a:ext cx="2920953" cy="2860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50" i="1" dirty="0">
                  <a:solidFill>
                    <a:prstClr val="black">
                      <a:lumMod val="65000"/>
                      <a:lumOff val="35000"/>
                    </a:prstClr>
                  </a:solidFill>
                  <a:cs typeface="Arial" panose="020B0604020202020204" pitchFamily="34" charset="0"/>
                  <a:sym typeface="+mn-lt"/>
                </a:rPr>
                <a:t>%</a:t>
              </a:r>
              <a:endParaRPr lang="en-US" sz="1050" i="1" dirty="0">
                <a:solidFill>
                  <a:prstClr val="black">
                    <a:lumMod val="65000"/>
                    <a:lumOff val="35000"/>
                  </a:prstClr>
                </a:solidFill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51" name="Прямоугольник 48">
            <a:extLst>
              <a:ext uri="{FF2B5EF4-FFF2-40B4-BE49-F238E27FC236}">
                <a16:creationId xmlns="" xmlns:a16="http://schemas.microsoft.com/office/drawing/2014/main" id="{893292CA-7238-4768-9258-9CF8B2EA3A06}"/>
              </a:ext>
            </a:extLst>
          </p:cNvPr>
          <p:cNvSpPr/>
          <p:nvPr/>
        </p:nvSpPr>
        <p:spPr>
          <a:xfrm>
            <a:off x="9810372" y="2500321"/>
            <a:ext cx="2041079" cy="365760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  <a:buClr>
                <a:srgbClr val="44546A"/>
              </a:buClr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Позитивный чистый экспорт наблюдается только в группе: </a:t>
            </a:r>
            <a:r>
              <a:rPr lang="en-US" sz="1200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“</a:t>
            </a: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неорганическая химия; соединения редкоземельных металлов и радиоактивных элементов</a:t>
            </a:r>
            <a:r>
              <a:rPr lang="en-US" sz="1200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”</a:t>
            </a: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, </a:t>
            </a:r>
            <a:r>
              <a:rPr lang="ru-RU" sz="1200" b="1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где 3/4 всего экспорта группы дают соединения радиоактивных элементов – уран</a:t>
            </a:r>
          </a:p>
          <a:p>
            <a:pPr>
              <a:spcAft>
                <a:spcPts val="2400"/>
              </a:spcAft>
              <a:buClr>
                <a:srgbClr val="44546A"/>
              </a:buClr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По остальным группам товаров химической продукции объем импортируемого товара </a:t>
            </a:r>
            <a:r>
              <a:rPr lang="ru-RU" sz="1200" b="1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/>
              </a:rPr>
              <a:t>превосходит экспорт в 10 раз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3B4DEEF7-22D2-4956-8453-CFEEBBC13320}"/>
              </a:ext>
            </a:extLst>
          </p:cNvPr>
          <p:cNvSpPr txBox="1"/>
          <p:nvPr/>
        </p:nvSpPr>
        <p:spPr>
          <a:xfrm>
            <a:off x="2716296" y="6197675"/>
            <a:ext cx="134910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900" b="1" dirty="0">
                <a:solidFill>
                  <a:srgbClr val="000000"/>
                </a:solidFill>
                <a:cs typeface="Arial" panose="020B0604020202020204" pitchFamily="34" charset="0"/>
              </a:rPr>
              <a:t>- 5,823,470 </a:t>
            </a:r>
            <a:endParaRPr lang="en-US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362F4CDB-B9DA-4CB1-B05B-2042F4CFB599}"/>
              </a:ext>
            </a:extLst>
          </p:cNvPr>
          <p:cNvSpPr txBox="1"/>
          <p:nvPr/>
        </p:nvSpPr>
        <p:spPr>
          <a:xfrm>
            <a:off x="4071847" y="6197898"/>
            <a:ext cx="134910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900" b="1" dirty="0">
                <a:solidFill>
                  <a:srgbClr val="000000"/>
                </a:solidFill>
                <a:cs typeface="Arial" panose="020B0604020202020204" pitchFamily="34" charset="0"/>
              </a:rPr>
              <a:t> 2,874,414 </a:t>
            </a:r>
            <a:endParaRPr lang="en-US" sz="9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5D1D1E6F-38E0-435F-A5C8-8A92C2C49B42}"/>
              </a:ext>
            </a:extLst>
          </p:cNvPr>
          <p:cNvGrpSpPr/>
          <p:nvPr/>
        </p:nvGrpSpPr>
        <p:grpSpPr>
          <a:xfrm>
            <a:off x="3187190" y="6185388"/>
            <a:ext cx="1758165" cy="182880"/>
            <a:chOff x="3187190" y="5741498"/>
            <a:chExt cx="1758165" cy="182880"/>
          </a:xfrm>
        </p:grpSpPr>
        <p:cxnSp>
          <p:nvCxnSpPr>
            <p:cNvPr id="10" name="Straight Connector 9">
              <a:extLst>
                <a:ext uri="{FF2B5EF4-FFF2-40B4-BE49-F238E27FC236}">
                  <a16:creationId xmlns="" xmlns:a16="http://schemas.microsoft.com/office/drawing/2014/main" id="{D8432AD5-1F9F-44B5-A9CC-21DC705DDDAE}"/>
                </a:ext>
              </a:extLst>
            </p:cNvPr>
            <p:cNvCxnSpPr/>
            <p:nvPr/>
          </p:nvCxnSpPr>
          <p:spPr>
            <a:xfrm>
              <a:off x="3187190" y="5741498"/>
              <a:ext cx="1758165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="" xmlns:a16="http://schemas.microsoft.com/office/drawing/2014/main" id="{BD169244-25E7-482C-8DEA-344F4C2C062F}"/>
                </a:ext>
              </a:extLst>
            </p:cNvPr>
            <p:cNvCxnSpPr/>
            <p:nvPr/>
          </p:nvCxnSpPr>
          <p:spPr>
            <a:xfrm>
              <a:off x="4071847" y="5741498"/>
              <a:ext cx="0" cy="18288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Google Shape;318;p14">
            <a:extLst>
              <a:ext uri="{FF2B5EF4-FFF2-40B4-BE49-F238E27FC236}">
                <a16:creationId xmlns="" xmlns:a16="http://schemas.microsoft.com/office/drawing/2014/main" id="{9167AA97-B8A3-4B22-8FFD-0529AB8E2AD4}"/>
              </a:ext>
            </a:extLst>
          </p:cNvPr>
          <p:cNvSpPr/>
          <p:nvPr/>
        </p:nvSpPr>
        <p:spPr>
          <a:xfrm>
            <a:off x="362863" y="6694390"/>
            <a:ext cx="2651760" cy="128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528031" indent="-528031">
              <a:defRPr/>
            </a:pPr>
            <a:r>
              <a:rPr lang="ru-RU" sz="816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Источник: БНС АСПИР, анализ </a:t>
            </a:r>
            <a:r>
              <a:rPr lang="en-US" sz="816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Dasco Consulting Group</a:t>
            </a:r>
            <a:endParaRPr lang="en-US" sz="1837" dirty="0">
              <a:solidFill>
                <a:prstClr val="black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37D3D9E2-7CDF-47AC-B58D-91209B2CE5B1}"/>
              </a:ext>
            </a:extLst>
          </p:cNvPr>
          <p:cNvGrpSpPr/>
          <p:nvPr/>
        </p:nvGrpSpPr>
        <p:grpSpPr>
          <a:xfrm>
            <a:off x="511828" y="1866515"/>
            <a:ext cx="274320" cy="182880"/>
            <a:chOff x="362863" y="2039749"/>
            <a:chExt cx="274320" cy="182880"/>
          </a:xfrm>
        </p:grpSpPr>
        <p:cxnSp>
          <p:nvCxnSpPr>
            <p:cNvPr id="48" name="Straight Connector 47">
              <a:extLst>
                <a:ext uri="{FF2B5EF4-FFF2-40B4-BE49-F238E27FC236}">
                  <a16:creationId xmlns="" xmlns:a16="http://schemas.microsoft.com/office/drawing/2014/main" id="{1AD6CA85-DF44-4D92-9B20-1575C2FEEE0D}"/>
                </a:ext>
              </a:extLst>
            </p:cNvPr>
            <p:cNvCxnSpPr>
              <a:cxnSpLocks/>
            </p:cNvCxnSpPr>
            <p:nvPr/>
          </p:nvCxnSpPr>
          <p:spPr>
            <a:xfrm>
              <a:off x="364768" y="2039749"/>
              <a:ext cx="0" cy="18288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="" xmlns:a16="http://schemas.microsoft.com/office/drawing/2014/main" id="{31470FF0-52ED-41D9-802D-8E3841FB0E80}"/>
                </a:ext>
              </a:extLst>
            </p:cNvPr>
            <p:cNvCxnSpPr>
              <a:cxnSpLocks/>
            </p:cNvCxnSpPr>
            <p:nvPr/>
          </p:nvCxnSpPr>
          <p:spPr>
            <a:xfrm>
              <a:off x="362863" y="2218819"/>
              <a:ext cx="2743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="" xmlns:a16="http://schemas.microsoft.com/office/drawing/2014/main" id="{4CF4AA53-96D9-41BF-84C9-F6A3C8C11470}"/>
              </a:ext>
            </a:extLst>
          </p:cNvPr>
          <p:cNvGrpSpPr/>
          <p:nvPr/>
        </p:nvGrpSpPr>
        <p:grpSpPr>
          <a:xfrm>
            <a:off x="6137719" y="1854204"/>
            <a:ext cx="274320" cy="182880"/>
            <a:chOff x="362863" y="2039749"/>
            <a:chExt cx="274320" cy="182880"/>
          </a:xfrm>
        </p:grpSpPr>
        <p:cxnSp>
          <p:nvCxnSpPr>
            <p:cNvPr id="52" name="Straight Connector 51">
              <a:extLst>
                <a:ext uri="{FF2B5EF4-FFF2-40B4-BE49-F238E27FC236}">
                  <a16:creationId xmlns="" xmlns:a16="http://schemas.microsoft.com/office/drawing/2014/main" id="{C51C7F1C-E644-4EB7-A096-6940C62765D9}"/>
                </a:ext>
              </a:extLst>
            </p:cNvPr>
            <p:cNvCxnSpPr>
              <a:cxnSpLocks/>
            </p:cNvCxnSpPr>
            <p:nvPr/>
          </p:nvCxnSpPr>
          <p:spPr>
            <a:xfrm>
              <a:off x="364768" y="2039749"/>
              <a:ext cx="0" cy="18288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="" xmlns:a16="http://schemas.microsoft.com/office/drawing/2014/main" id="{21E0D950-4140-45ED-AEB3-02720922C720}"/>
                </a:ext>
              </a:extLst>
            </p:cNvPr>
            <p:cNvCxnSpPr>
              <a:cxnSpLocks/>
            </p:cNvCxnSpPr>
            <p:nvPr/>
          </p:nvCxnSpPr>
          <p:spPr>
            <a:xfrm>
              <a:off x="362863" y="2218819"/>
              <a:ext cx="274320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314" name="Picture 2" descr="https://cdn-icons-png.flaticon.com/512/1549/1549454.png">
            <a:extLst>
              <a:ext uri="{FF2B5EF4-FFF2-40B4-BE49-F238E27FC236}">
                <a16:creationId xmlns="" xmlns:a16="http://schemas.microsoft.com/office/drawing/2014/main" id="{20A30C71-65AB-4833-942C-B41AA8E97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rgbClr val="9C9C61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2231" y="4054802"/>
            <a:ext cx="54864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Slide Number Placeholder 5">
            <a:extLst>
              <a:ext uri="{FF2B5EF4-FFF2-40B4-BE49-F238E27FC236}">
                <a16:creationId xmlns="" xmlns:a16="http://schemas.microsoft.com/office/drawing/2014/main" id="{42C963E8-96F2-4FF7-942A-CD40A061BD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0884" y="6492875"/>
            <a:ext cx="3664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z="1800" b="1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US" sz="1800" b="1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4" name="Рисунок 53">
            <a:extLst>
              <a:ext uri="{FF2B5EF4-FFF2-40B4-BE49-F238E27FC236}">
                <a16:creationId xmlns="" xmlns:a16="http://schemas.microsoft.com/office/drawing/2014/main" id="{7BBDA6C1-1309-7B79-5CEB-1CB376D1F01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381323" y="6031548"/>
            <a:ext cx="774615" cy="7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338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4274" name="Rectangle 2"/>
          <p:cNvSpPr>
            <a:spLocks noChangeArrowheads="1"/>
          </p:cNvSpPr>
          <p:nvPr/>
        </p:nvSpPr>
        <p:spPr bwMode="auto">
          <a:xfrm>
            <a:off x="1644762" y="386900"/>
            <a:ext cx="166022" cy="331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82176" tIns="41089" rIns="82176" bIns="41089" numCol="1" anchor="ctr" anchorCtr="0" compatLnSpc="1">
            <a:prstTxWarp prst="textNoShape">
              <a:avLst/>
            </a:prstTxWarp>
            <a:spAutoFit/>
          </a:bodyPr>
          <a:lstStyle/>
          <a:p>
            <a:pPr defTabSz="821800">
              <a:defRPr/>
            </a:pPr>
            <a:endParaRPr lang="ru-RU" sz="1617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14280" name="Rectangle 8"/>
          <p:cNvSpPr>
            <a:spLocks noChangeArrowheads="1"/>
          </p:cNvSpPr>
          <p:nvPr/>
        </p:nvSpPr>
        <p:spPr bwMode="auto">
          <a:xfrm>
            <a:off x="1644762" y="181458"/>
            <a:ext cx="166022" cy="331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82176" tIns="41089" rIns="82176" bIns="41089" numCol="1" anchor="ctr" anchorCtr="0" compatLnSpc="1">
            <a:prstTxWarp prst="textNoShape">
              <a:avLst/>
            </a:prstTxWarp>
            <a:spAutoFit/>
          </a:bodyPr>
          <a:lstStyle/>
          <a:p>
            <a:pPr defTabSz="821800">
              <a:defRPr/>
            </a:pPr>
            <a:endParaRPr lang="ru-RU" sz="1617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14282" name="Rectangle 10"/>
          <p:cNvSpPr>
            <a:spLocks noChangeArrowheads="1"/>
          </p:cNvSpPr>
          <p:nvPr/>
        </p:nvSpPr>
        <p:spPr bwMode="auto">
          <a:xfrm>
            <a:off x="1644762" y="181458"/>
            <a:ext cx="166022" cy="331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82176" tIns="41089" rIns="82176" bIns="41089" numCol="1" anchor="ctr" anchorCtr="0" compatLnSpc="1">
            <a:prstTxWarp prst="textNoShape">
              <a:avLst/>
            </a:prstTxWarp>
            <a:spAutoFit/>
          </a:bodyPr>
          <a:lstStyle/>
          <a:p>
            <a:pPr defTabSz="821800">
              <a:defRPr/>
            </a:pPr>
            <a:endParaRPr lang="ru-RU" sz="1617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614286" name="Rectangle 14"/>
          <p:cNvSpPr>
            <a:spLocks noChangeArrowheads="1"/>
          </p:cNvSpPr>
          <p:nvPr/>
        </p:nvSpPr>
        <p:spPr bwMode="auto">
          <a:xfrm>
            <a:off x="1644762" y="181458"/>
            <a:ext cx="166022" cy="331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82176" tIns="41089" rIns="82176" bIns="41089" numCol="1" anchor="ctr" anchorCtr="0" compatLnSpc="1">
            <a:prstTxWarp prst="textNoShape">
              <a:avLst/>
            </a:prstTxWarp>
            <a:spAutoFit/>
          </a:bodyPr>
          <a:lstStyle/>
          <a:p>
            <a:pPr defTabSz="821800">
              <a:defRPr/>
            </a:pPr>
            <a:endParaRPr lang="ru-RU" sz="1617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3392120" y="2240511"/>
            <a:ext cx="3561995" cy="2189901"/>
            <a:chOff x="690563" y="2167085"/>
            <a:chExt cx="7481887" cy="4430267"/>
          </a:xfrm>
        </p:grpSpPr>
        <p:sp>
          <p:nvSpPr>
            <p:cNvPr id="46" name="Freeform 3"/>
            <p:cNvSpPr>
              <a:spLocks/>
            </p:cNvSpPr>
            <p:nvPr/>
          </p:nvSpPr>
          <p:spPr bwMode="auto">
            <a:xfrm>
              <a:off x="1754188" y="3659336"/>
              <a:ext cx="358776" cy="163513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29" y="11"/>
                </a:cxn>
                <a:cxn ang="0">
                  <a:pos x="24" y="11"/>
                </a:cxn>
                <a:cxn ang="0">
                  <a:pos x="22" y="14"/>
                </a:cxn>
                <a:cxn ang="0">
                  <a:pos x="18" y="12"/>
                </a:cxn>
                <a:cxn ang="0">
                  <a:pos x="18" y="12"/>
                </a:cxn>
                <a:cxn ang="0">
                  <a:pos x="10" y="13"/>
                </a:cxn>
                <a:cxn ang="0">
                  <a:pos x="10" y="13"/>
                </a:cxn>
                <a:cxn ang="0">
                  <a:pos x="0" y="4"/>
                </a:cxn>
                <a:cxn ang="0">
                  <a:pos x="14" y="0"/>
                </a:cxn>
                <a:cxn ang="0">
                  <a:pos x="25" y="7"/>
                </a:cxn>
                <a:cxn ang="0">
                  <a:pos x="31" y="9"/>
                </a:cxn>
                <a:cxn ang="0">
                  <a:pos x="31" y="9"/>
                </a:cxn>
              </a:cxnLst>
              <a:rect l="0" t="0" r="r" b="b"/>
              <a:pathLst>
                <a:path w="31" h="14">
                  <a:moveTo>
                    <a:pt x="31" y="9"/>
                  </a:moveTo>
                  <a:cubicBezTo>
                    <a:pt x="31" y="9"/>
                    <a:pt x="29" y="10"/>
                    <a:pt x="29" y="11"/>
                  </a:cubicBezTo>
                  <a:cubicBezTo>
                    <a:pt x="28" y="12"/>
                    <a:pt x="26" y="13"/>
                    <a:pt x="24" y="11"/>
                  </a:cubicBezTo>
                  <a:cubicBezTo>
                    <a:pt x="22" y="10"/>
                    <a:pt x="22" y="14"/>
                    <a:pt x="22" y="14"/>
                  </a:cubicBezTo>
                  <a:cubicBezTo>
                    <a:pt x="20" y="14"/>
                    <a:pt x="20" y="12"/>
                    <a:pt x="18" y="12"/>
                  </a:cubicBezTo>
                  <a:lnTo>
                    <a:pt x="18" y="12"/>
                  </a:lnTo>
                  <a:lnTo>
                    <a:pt x="10" y="13"/>
                  </a:lnTo>
                  <a:lnTo>
                    <a:pt x="10" y="13"/>
                  </a:lnTo>
                  <a:cubicBezTo>
                    <a:pt x="1" y="9"/>
                    <a:pt x="5" y="7"/>
                    <a:pt x="0" y="4"/>
                  </a:cubicBezTo>
                  <a:cubicBezTo>
                    <a:pt x="8" y="6"/>
                    <a:pt x="8" y="0"/>
                    <a:pt x="14" y="0"/>
                  </a:cubicBezTo>
                  <a:cubicBezTo>
                    <a:pt x="18" y="3"/>
                    <a:pt x="25" y="7"/>
                    <a:pt x="25" y="7"/>
                  </a:cubicBezTo>
                  <a:cubicBezTo>
                    <a:pt x="27" y="7"/>
                    <a:pt x="28" y="8"/>
                    <a:pt x="31" y="9"/>
                  </a:cubicBezTo>
                  <a:lnTo>
                    <a:pt x="31" y="9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Freeform 4"/>
            <p:cNvSpPr>
              <a:spLocks/>
            </p:cNvSpPr>
            <p:nvPr/>
          </p:nvSpPr>
          <p:spPr bwMode="auto">
            <a:xfrm>
              <a:off x="2009776" y="3776811"/>
              <a:ext cx="276225" cy="9366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4" y="0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3" y="5"/>
                </a:cxn>
                <a:cxn ang="0">
                  <a:pos x="23" y="5"/>
                </a:cxn>
                <a:cxn ang="0">
                  <a:pos x="12" y="5"/>
                </a:cxn>
                <a:cxn ang="0">
                  <a:pos x="12" y="5"/>
                </a:cxn>
                <a:cxn ang="0">
                  <a:pos x="5" y="8"/>
                </a:cxn>
                <a:cxn ang="0">
                  <a:pos x="3" y="7"/>
                </a:cxn>
                <a:cxn ang="0">
                  <a:pos x="0" y="4"/>
                </a:cxn>
                <a:cxn ang="0">
                  <a:pos x="2" y="1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9" y="0"/>
                </a:cxn>
              </a:cxnLst>
              <a:rect l="0" t="0" r="r" b="b"/>
              <a:pathLst>
                <a:path w="24" h="8">
                  <a:moveTo>
                    <a:pt x="9" y="0"/>
                  </a:moveTo>
                  <a:cubicBezTo>
                    <a:pt x="11" y="0"/>
                    <a:pt x="11" y="0"/>
                    <a:pt x="14" y="0"/>
                  </a:cubicBezTo>
                  <a:cubicBezTo>
                    <a:pt x="17" y="0"/>
                    <a:pt x="20" y="0"/>
                    <a:pt x="23" y="0"/>
                  </a:cubicBez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cubicBezTo>
                    <a:pt x="24" y="2"/>
                    <a:pt x="23" y="4"/>
                    <a:pt x="23" y="5"/>
                  </a:cubicBezTo>
                  <a:lnTo>
                    <a:pt x="23" y="5"/>
                  </a:lnTo>
                  <a:lnTo>
                    <a:pt x="12" y="5"/>
                  </a:lnTo>
                  <a:lnTo>
                    <a:pt x="12" y="5"/>
                  </a:lnTo>
                  <a:cubicBezTo>
                    <a:pt x="11" y="5"/>
                    <a:pt x="8" y="8"/>
                    <a:pt x="5" y="8"/>
                  </a:cubicBezTo>
                  <a:cubicBezTo>
                    <a:pt x="4" y="8"/>
                    <a:pt x="3" y="8"/>
                    <a:pt x="3" y="7"/>
                  </a:cubicBezTo>
                  <a:cubicBezTo>
                    <a:pt x="2" y="6"/>
                    <a:pt x="0" y="6"/>
                    <a:pt x="0" y="4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4" y="3"/>
                    <a:pt x="6" y="2"/>
                    <a:pt x="7" y="1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3892550" y="5180161"/>
              <a:ext cx="58738" cy="9207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1" y="5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5" h="8">
                  <a:moveTo>
                    <a:pt x="4" y="8"/>
                  </a:moveTo>
                  <a:cubicBezTo>
                    <a:pt x="3" y="8"/>
                    <a:pt x="1" y="8"/>
                    <a:pt x="1" y="5"/>
                  </a:cubicBezTo>
                  <a:cubicBezTo>
                    <a:pt x="1" y="3"/>
                    <a:pt x="0" y="4"/>
                    <a:pt x="1" y="2"/>
                  </a:cubicBezTo>
                  <a:cubicBezTo>
                    <a:pt x="1" y="4"/>
                    <a:pt x="2" y="0"/>
                    <a:pt x="3" y="0"/>
                  </a:cubicBezTo>
                  <a:cubicBezTo>
                    <a:pt x="4" y="3"/>
                    <a:pt x="3" y="1"/>
                    <a:pt x="4" y="4"/>
                  </a:cubicBezTo>
                  <a:cubicBezTo>
                    <a:pt x="3" y="4"/>
                    <a:pt x="5" y="8"/>
                    <a:pt x="4" y="8"/>
                  </a:cubicBezTo>
                  <a:lnTo>
                    <a:pt x="4" y="8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Freeform 6"/>
            <p:cNvSpPr>
              <a:spLocks/>
            </p:cNvSpPr>
            <p:nvPr/>
          </p:nvSpPr>
          <p:spPr bwMode="auto">
            <a:xfrm>
              <a:off x="4160837" y="5191274"/>
              <a:ext cx="46037" cy="55562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4" y="4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5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cubicBezTo>
                    <a:pt x="3" y="3"/>
                    <a:pt x="1" y="3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2"/>
                    <a:pt x="4" y="2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lnTo>
                    <a:pt x="4" y="5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Freeform 7"/>
            <p:cNvSpPr>
              <a:spLocks/>
            </p:cNvSpPr>
            <p:nvPr/>
          </p:nvSpPr>
          <p:spPr bwMode="auto">
            <a:xfrm>
              <a:off x="3673475" y="4957910"/>
              <a:ext cx="69850" cy="825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4" y="0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3" y="1"/>
                    <a:pt x="4" y="0"/>
                    <a:pt x="4" y="0"/>
                  </a:cubicBezTo>
                  <a:cubicBezTo>
                    <a:pt x="4" y="3"/>
                    <a:pt x="5" y="5"/>
                    <a:pt x="6" y="7"/>
                  </a:cubicBezTo>
                  <a:lnTo>
                    <a:pt x="6" y="7"/>
                  </a:lnTo>
                  <a:lnTo>
                    <a:pt x="2" y="7"/>
                  </a:lnTo>
                  <a:lnTo>
                    <a:pt x="2" y="7"/>
                  </a:lnTo>
                  <a:cubicBezTo>
                    <a:pt x="2" y="7"/>
                    <a:pt x="0" y="7"/>
                    <a:pt x="0" y="6"/>
                  </a:cubicBezTo>
                  <a:lnTo>
                    <a:pt x="0" y="6"/>
                  </a:lnTo>
                  <a:lnTo>
                    <a:pt x="1" y="1"/>
                  </a:lnTo>
                  <a:lnTo>
                    <a:pt x="1" y="1"/>
                  </a:lnTo>
                  <a:cubicBezTo>
                    <a:pt x="2" y="1"/>
                    <a:pt x="3" y="0"/>
                    <a:pt x="3" y="0"/>
                  </a:cubicBez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Freeform 9"/>
            <p:cNvSpPr>
              <a:spLocks/>
            </p:cNvSpPr>
            <p:nvPr/>
          </p:nvSpPr>
          <p:spPr bwMode="auto">
            <a:xfrm>
              <a:off x="2447925" y="4343549"/>
              <a:ext cx="11114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Freeform 10"/>
            <p:cNvSpPr>
              <a:spLocks/>
            </p:cNvSpPr>
            <p:nvPr/>
          </p:nvSpPr>
          <p:spPr bwMode="auto">
            <a:xfrm>
              <a:off x="1303338" y="4343549"/>
              <a:ext cx="34925" cy="47624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3" y="4"/>
                </a:cxn>
                <a:cxn ang="0">
                  <a:pos x="3" y="4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2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3"/>
                    <a:pt x="2" y="4"/>
                    <a:pt x="3" y="4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Freeform 12"/>
            <p:cNvSpPr>
              <a:spLocks/>
            </p:cNvSpPr>
            <p:nvPr/>
          </p:nvSpPr>
          <p:spPr bwMode="auto">
            <a:xfrm>
              <a:off x="1684338" y="3381523"/>
              <a:ext cx="57150" cy="714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1" y="6"/>
                </a:cxn>
                <a:cxn ang="0">
                  <a:pos x="5" y="3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1" y="5"/>
                    <a:pt x="1" y="6"/>
                  </a:cubicBezTo>
                  <a:cubicBezTo>
                    <a:pt x="3" y="5"/>
                    <a:pt x="5" y="4"/>
                    <a:pt x="5" y="3"/>
                  </a:cubicBezTo>
                  <a:cubicBezTo>
                    <a:pt x="5" y="1"/>
                    <a:pt x="4" y="1"/>
                    <a:pt x="4" y="0"/>
                  </a:cubicBezTo>
                  <a:cubicBezTo>
                    <a:pt x="2" y="0"/>
                    <a:pt x="1" y="1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Freeform 16"/>
            <p:cNvSpPr>
              <a:spLocks/>
            </p:cNvSpPr>
            <p:nvPr/>
          </p:nvSpPr>
          <p:spPr bwMode="auto">
            <a:xfrm>
              <a:off x="3973513" y="2397273"/>
              <a:ext cx="106362" cy="47624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4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9" h="4">
                  <a:moveTo>
                    <a:pt x="8" y="0"/>
                  </a:moveTo>
                  <a:cubicBezTo>
                    <a:pt x="9" y="0"/>
                    <a:pt x="9" y="2"/>
                    <a:pt x="9" y="3"/>
                  </a:cubicBezTo>
                  <a:cubicBezTo>
                    <a:pt x="7" y="4"/>
                    <a:pt x="6" y="4"/>
                    <a:pt x="4" y="4"/>
                  </a:cubicBezTo>
                  <a:cubicBezTo>
                    <a:pt x="3" y="4"/>
                    <a:pt x="0" y="4"/>
                    <a:pt x="1" y="4"/>
                  </a:cubicBezTo>
                  <a:cubicBezTo>
                    <a:pt x="3" y="4"/>
                    <a:pt x="5" y="0"/>
                    <a:pt x="8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Freeform 20"/>
            <p:cNvSpPr>
              <a:spLocks/>
            </p:cNvSpPr>
            <p:nvPr/>
          </p:nvSpPr>
          <p:spPr bwMode="auto">
            <a:xfrm>
              <a:off x="5732463" y="2375049"/>
              <a:ext cx="265112" cy="698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23" y="6"/>
                </a:cxn>
                <a:cxn ang="0">
                  <a:pos x="23" y="6"/>
                </a:cxn>
                <a:cxn ang="0">
                  <a:pos x="19" y="6"/>
                </a:cxn>
                <a:cxn ang="0">
                  <a:pos x="19" y="6"/>
                </a:cxn>
                <a:cxn ang="0">
                  <a:pos x="11" y="0"/>
                </a:cxn>
                <a:cxn ang="0">
                  <a:pos x="11" y="0"/>
                </a:cxn>
              </a:cxnLst>
              <a:rect l="0" t="0" r="r" b="b"/>
              <a:pathLst>
                <a:path w="23" h="6">
                  <a:moveTo>
                    <a:pt x="11" y="0"/>
                  </a:moveTo>
                  <a:cubicBezTo>
                    <a:pt x="18" y="0"/>
                    <a:pt x="20" y="4"/>
                    <a:pt x="23" y="6"/>
                  </a:cubicBezTo>
                  <a:lnTo>
                    <a:pt x="23" y="6"/>
                  </a:lnTo>
                  <a:lnTo>
                    <a:pt x="19" y="6"/>
                  </a:lnTo>
                  <a:lnTo>
                    <a:pt x="19" y="6"/>
                  </a:lnTo>
                  <a:cubicBezTo>
                    <a:pt x="16" y="6"/>
                    <a:pt x="0" y="0"/>
                    <a:pt x="11" y="0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Freeform 21"/>
            <p:cNvSpPr>
              <a:spLocks/>
            </p:cNvSpPr>
            <p:nvPr/>
          </p:nvSpPr>
          <p:spPr bwMode="auto">
            <a:xfrm>
              <a:off x="5964238" y="2397273"/>
              <a:ext cx="79376" cy="47624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7" y="0"/>
                </a:cxn>
                <a:cxn ang="0">
                  <a:pos x="7" y="2"/>
                </a:cxn>
                <a:cxn ang="0">
                  <a:pos x="4" y="4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7" h="4">
                  <a:moveTo>
                    <a:pt x="0" y="1"/>
                  </a:moveTo>
                  <a:cubicBezTo>
                    <a:pt x="3" y="0"/>
                    <a:pt x="4" y="0"/>
                    <a:pt x="7" y="0"/>
                  </a:cubicBezTo>
                  <a:cubicBezTo>
                    <a:pt x="7" y="1"/>
                    <a:pt x="7" y="1"/>
                    <a:pt x="7" y="2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2" y="4"/>
                    <a:pt x="0" y="2"/>
                    <a:pt x="0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Freeform 22"/>
            <p:cNvSpPr>
              <a:spLocks/>
            </p:cNvSpPr>
            <p:nvPr/>
          </p:nvSpPr>
          <p:spPr bwMode="auto">
            <a:xfrm>
              <a:off x="6032500" y="2386161"/>
              <a:ext cx="104775" cy="104775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4" y="8"/>
                </a:cxn>
                <a:cxn ang="0">
                  <a:pos x="0" y="5"/>
                </a:cxn>
                <a:cxn ang="0">
                  <a:pos x="9" y="7"/>
                </a:cxn>
                <a:cxn ang="0">
                  <a:pos x="9" y="7"/>
                </a:cxn>
              </a:cxnLst>
              <a:rect l="0" t="0" r="r" b="b"/>
              <a:pathLst>
                <a:path w="9" h="9">
                  <a:moveTo>
                    <a:pt x="9" y="7"/>
                  </a:moveTo>
                  <a:cubicBezTo>
                    <a:pt x="8" y="9"/>
                    <a:pt x="5" y="8"/>
                    <a:pt x="4" y="8"/>
                  </a:cubicBezTo>
                  <a:cubicBezTo>
                    <a:pt x="3" y="8"/>
                    <a:pt x="0" y="6"/>
                    <a:pt x="0" y="5"/>
                  </a:cubicBezTo>
                  <a:cubicBezTo>
                    <a:pt x="0" y="0"/>
                    <a:pt x="9" y="7"/>
                    <a:pt x="9" y="7"/>
                  </a:cubicBezTo>
                  <a:lnTo>
                    <a:pt x="9" y="7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Freeform 23"/>
            <p:cNvSpPr>
              <a:spLocks/>
            </p:cNvSpPr>
            <p:nvPr/>
          </p:nvSpPr>
          <p:spPr bwMode="auto">
            <a:xfrm>
              <a:off x="5534025" y="2375049"/>
              <a:ext cx="130174" cy="58737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11" y="4"/>
                </a:cxn>
                <a:cxn ang="0">
                  <a:pos x="11" y="4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11" h="5">
                  <a:moveTo>
                    <a:pt x="0" y="1"/>
                  </a:moveTo>
                  <a:cubicBezTo>
                    <a:pt x="1" y="1"/>
                    <a:pt x="5" y="0"/>
                    <a:pt x="6" y="0"/>
                  </a:cubicBezTo>
                  <a:lnTo>
                    <a:pt x="6" y="0"/>
                  </a:lnTo>
                  <a:lnTo>
                    <a:pt x="11" y="4"/>
                  </a:lnTo>
                  <a:lnTo>
                    <a:pt x="11" y="4"/>
                  </a:lnTo>
                  <a:cubicBezTo>
                    <a:pt x="9" y="5"/>
                    <a:pt x="1" y="0"/>
                    <a:pt x="0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Freeform 26"/>
            <p:cNvSpPr>
              <a:spLocks/>
            </p:cNvSpPr>
            <p:nvPr/>
          </p:nvSpPr>
          <p:spPr bwMode="auto">
            <a:xfrm>
              <a:off x="6450013" y="2352823"/>
              <a:ext cx="138112" cy="55562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9" y="3"/>
                </a:cxn>
                <a:cxn ang="0">
                  <a:pos x="9" y="3"/>
                </a:cxn>
                <a:cxn ang="0">
                  <a:pos x="6" y="3"/>
                </a:cxn>
                <a:cxn ang="0">
                  <a:pos x="6" y="3"/>
                </a:cxn>
                <a:cxn ang="0">
                  <a:pos x="1" y="1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5">
                  <a:moveTo>
                    <a:pt x="12" y="4"/>
                  </a:moveTo>
                  <a:cubicBezTo>
                    <a:pt x="11" y="1"/>
                    <a:pt x="10" y="0"/>
                    <a:pt x="9" y="3"/>
                  </a:cubicBezTo>
                  <a:lnTo>
                    <a:pt x="9" y="3"/>
                  </a:lnTo>
                  <a:lnTo>
                    <a:pt x="6" y="3"/>
                  </a:lnTo>
                  <a:lnTo>
                    <a:pt x="6" y="3"/>
                  </a:lnTo>
                  <a:cubicBezTo>
                    <a:pt x="4" y="3"/>
                    <a:pt x="3" y="2"/>
                    <a:pt x="1" y="1"/>
                  </a:cubicBezTo>
                  <a:cubicBezTo>
                    <a:pt x="1" y="3"/>
                    <a:pt x="0" y="3"/>
                    <a:pt x="0" y="4"/>
                  </a:cubicBezTo>
                  <a:cubicBezTo>
                    <a:pt x="4" y="4"/>
                    <a:pt x="6" y="4"/>
                    <a:pt x="8" y="4"/>
                  </a:cubicBezTo>
                  <a:cubicBezTo>
                    <a:pt x="10" y="4"/>
                    <a:pt x="11" y="5"/>
                    <a:pt x="12" y="4"/>
                  </a:cubicBezTo>
                  <a:lnTo>
                    <a:pt x="12" y="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Freeform 27"/>
            <p:cNvSpPr>
              <a:spLocks/>
            </p:cNvSpPr>
            <p:nvPr/>
          </p:nvSpPr>
          <p:spPr bwMode="auto">
            <a:xfrm>
              <a:off x="4598989" y="2213123"/>
              <a:ext cx="22225" cy="222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cubicBezTo>
                    <a:pt x="2" y="2"/>
                    <a:pt x="1" y="2"/>
                    <a:pt x="1" y="2"/>
                  </a:cubicBezTo>
                  <a:lnTo>
                    <a:pt x="1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Freeform 28"/>
            <p:cNvSpPr>
              <a:spLocks/>
            </p:cNvSpPr>
            <p:nvPr/>
          </p:nvSpPr>
          <p:spPr bwMode="auto">
            <a:xfrm>
              <a:off x="6229350" y="2352823"/>
              <a:ext cx="33338" cy="33337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" y="3"/>
                </a:cxn>
                <a:cxn ang="0">
                  <a:pos x="3" y="3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3" y="2"/>
                    <a:pt x="3" y="1"/>
                    <a:pt x="3" y="0"/>
                  </a:cubicBez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1" y="1"/>
                    <a:pt x="2" y="2"/>
                    <a:pt x="3" y="3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Freeform 29"/>
            <p:cNvSpPr>
              <a:spLocks/>
            </p:cNvSpPr>
            <p:nvPr/>
          </p:nvSpPr>
          <p:spPr bwMode="auto">
            <a:xfrm>
              <a:off x="6124575" y="2282974"/>
              <a:ext cx="23813" cy="222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2" y="2"/>
                  </a:lnTo>
                  <a:cubicBezTo>
                    <a:pt x="2" y="2"/>
                    <a:pt x="2" y="1"/>
                    <a:pt x="2" y="0"/>
                  </a:cubicBez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Freeform 30"/>
            <p:cNvSpPr>
              <a:spLocks/>
            </p:cNvSpPr>
            <p:nvPr/>
          </p:nvSpPr>
          <p:spPr bwMode="auto">
            <a:xfrm>
              <a:off x="7478713" y="3394223"/>
              <a:ext cx="22225" cy="34925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1" y="0"/>
                    <a:pt x="2" y="0"/>
                  </a:cubicBezTo>
                  <a:cubicBezTo>
                    <a:pt x="2" y="2"/>
                    <a:pt x="2" y="3"/>
                    <a:pt x="2" y="3"/>
                  </a:cubicBez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Freeform 31"/>
            <p:cNvSpPr>
              <a:spLocks/>
            </p:cNvSpPr>
            <p:nvPr/>
          </p:nvSpPr>
          <p:spPr bwMode="auto">
            <a:xfrm>
              <a:off x="1614488" y="3394223"/>
              <a:ext cx="69850" cy="58737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4" y="5"/>
                </a:cxn>
                <a:cxn ang="0">
                  <a:pos x="6" y="4"/>
                </a:cxn>
                <a:cxn ang="0">
                  <a:pos x="3" y="0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6" h="5">
                  <a:moveTo>
                    <a:pt x="0" y="1"/>
                  </a:moveTo>
                  <a:lnTo>
                    <a:pt x="0" y="3"/>
                  </a:lnTo>
                  <a:lnTo>
                    <a:pt x="0" y="3"/>
                  </a:lnTo>
                  <a:cubicBezTo>
                    <a:pt x="2" y="4"/>
                    <a:pt x="3" y="5"/>
                    <a:pt x="4" y="5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4" y="3"/>
                    <a:pt x="3" y="2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Freeform 32"/>
            <p:cNvSpPr>
              <a:spLocks/>
            </p:cNvSpPr>
            <p:nvPr/>
          </p:nvSpPr>
          <p:spPr bwMode="auto">
            <a:xfrm>
              <a:off x="1917700" y="3289448"/>
              <a:ext cx="22225" cy="6985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0" y="6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cubicBezTo>
                    <a:pt x="0" y="3"/>
                    <a:pt x="1" y="2"/>
                    <a:pt x="0" y="0"/>
                  </a:cubicBez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ubicBezTo>
                    <a:pt x="2" y="2"/>
                    <a:pt x="1" y="4"/>
                    <a:pt x="1" y="5"/>
                  </a:cubicBezTo>
                  <a:lnTo>
                    <a:pt x="1" y="5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Freeform 33"/>
            <p:cNvSpPr>
              <a:spLocks/>
            </p:cNvSpPr>
            <p:nvPr/>
          </p:nvSpPr>
          <p:spPr bwMode="auto">
            <a:xfrm>
              <a:off x="2540000" y="4554686"/>
              <a:ext cx="36513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1" y="0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Freeform 34"/>
            <p:cNvSpPr>
              <a:spLocks/>
            </p:cNvSpPr>
            <p:nvPr/>
          </p:nvSpPr>
          <p:spPr bwMode="auto">
            <a:xfrm>
              <a:off x="2600325" y="4576911"/>
              <a:ext cx="11114" cy="2222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Freeform 36"/>
            <p:cNvSpPr>
              <a:spLocks/>
            </p:cNvSpPr>
            <p:nvPr/>
          </p:nvSpPr>
          <p:spPr bwMode="auto">
            <a:xfrm>
              <a:off x="3432175" y="5769124"/>
              <a:ext cx="46039" cy="698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3"/>
                </a:cxn>
                <a:cxn ang="0">
                  <a:pos x="4" y="6"/>
                </a:cxn>
                <a:cxn ang="0">
                  <a:pos x="3" y="3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4" h="6">
                  <a:moveTo>
                    <a:pt x="1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0" y="6"/>
                    <a:pt x="2" y="6"/>
                    <a:pt x="4" y="6"/>
                  </a:cubicBezTo>
                  <a:cubicBezTo>
                    <a:pt x="4" y="5"/>
                    <a:pt x="3" y="4"/>
                    <a:pt x="3" y="3"/>
                  </a:cubicBezTo>
                  <a:cubicBezTo>
                    <a:pt x="2" y="3"/>
                    <a:pt x="2" y="0"/>
                    <a:pt x="1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Freeform 37"/>
            <p:cNvSpPr>
              <a:spLocks/>
            </p:cNvSpPr>
            <p:nvPr/>
          </p:nvSpPr>
          <p:spPr bwMode="auto">
            <a:xfrm>
              <a:off x="1535113" y="3289448"/>
              <a:ext cx="125412" cy="150812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2" y="1"/>
                </a:cxn>
                <a:cxn ang="0">
                  <a:pos x="7" y="0"/>
                </a:cxn>
                <a:cxn ang="0">
                  <a:pos x="10" y="1"/>
                </a:cxn>
                <a:cxn ang="0">
                  <a:pos x="9" y="3"/>
                </a:cxn>
                <a:cxn ang="0">
                  <a:pos x="11" y="6"/>
                </a:cxn>
                <a:cxn ang="0">
                  <a:pos x="7" y="13"/>
                </a:cxn>
                <a:cxn ang="0">
                  <a:pos x="7" y="13"/>
                </a:cxn>
                <a:cxn ang="0">
                  <a:pos x="6" y="12"/>
                </a:cxn>
              </a:cxnLst>
              <a:rect l="0" t="0" r="r" b="b"/>
              <a:pathLst>
                <a:path w="11" h="13">
                  <a:moveTo>
                    <a:pt x="6" y="12"/>
                  </a:moveTo>
                  <a:cubicBezTo>
                    <a:pt x="6" y="12"/>
                    <a:pt x="5" y="12"/>
                    <a:pt x="4" y="12"/>
                  </a:cubicBezTo>
                  <a:cubicBezTo>
                    <a:pt x="3" y="12"/>
                    <a:pt x="0" y="9"/>
                    <a:pt x="0" y="8"/>
                  </a:cubicBezTo>
                  <a:cubicBezTo>
                    <a:pt x="0" y="6"/>
                    <a:pt x="1" y="3"/>
                    <a:pt x="2" y="1"/>
                  </a:cubicBezTo>
                  <a:cubicBezTo>
                    <a:pt x="5" y="1"/>
                    <a:pt x="6" y="0"/>
                    <a:pt x="7" y="0"/>
                  </a:cubicBezTo>
                  <a:cubicBezTo>
                    <a:pt x="7" y="0"/>
                    <a:pt x="10" y="1"/>
                    <a:pt x="10" y="1"/>
                  </a:cubicBezTo>
                  <a:cubicBezTo>
                    <a:pt x="10" y="2"/>
                    <a:pt x="9" y="2"/>
                    <a:pt x="9" y="3"/>
                  </a:cubicBezTo>
                  <a:cubicBezTo>
                    <a:pt x="9" y="4"/>
                    <a:pt x="11" y="6"/>
                    <a:pt x="11" y="6"/>
                  </a:cubicBezTo>
                  <a:cubicBezTo>
                    <a:pt x="7" y="7"/>
                    <a:pt x="6" y="11"/>
                    <a:pt x="7" y="13"/>
                  </a:cubicBezTo>
                  <a:lnTo>
                    <a:pt x="7" y="13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Freeform 38"/>
            <p:cNvSpPr>
              <a:spLocks/>
            </p:cNvSpPr>
            <p:nvPr/>
          </p:nvSpPr>
          <p:spPr bwMode="auto">
            <a:xfrm>
              <a:off x="5408613" y="3603773"/>
              <a:ext cx="1606550" cy="636587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23"/>
                </a:cxn>
                <a:cxn ang="0">
                  <a:pos x="21" y="30"/>
                </a:cxn>
                <a:cxn ang="0">
                  <a:pos x="21" y="32"/>
                </a:cxn>
                <a:cxn ang="0">
                  <a:pos x="21" y="35"/>
                </a:cxn>
                <a:cxn ang="0">
                  <a:pos x="25" y="36"/>
                </a:cxn>
                <a:cxn ang="0">
                  <a:pos x="45" y="42"/>
                </a:cxn>
                <a:cxn ang="0">
                  <a:pos x="56" y="49"/>
                </a:cxn>
                <a:cxn ang="0">
                  <a:pos x="56" y="49"/>
                </a:cxn>
                <a:cxn ang="0">
                  <a:pos x="61" y="50"/>
                </a:cxn>
                <a:cxn ang="0">
                  <a:pos x="75" y="50"/>
                </a:cxn>
                <a:cxn ang="0">
                  <a:pos x="75" y="50"/>
                </a:cxn>
                <a:cxn ang="0">
                  <a:pos x="92" y="55"/>
                </a:cxn>
                <a:cxn ang="0">
                  <a:pos x="102" y="50"/>
                </a:cxn>
                <a:cxn ang="0">
                  <a:pos x="102" y="50"/>
                </a:cxn>
                <a:cxn ang="0">
                  <a:pos x="110" y="50"/>
                </a:cxn>
                <a:cxn ang="0">
                  <a:pos x="110" y="50"/>
                </a:cxn>
                <a:cxn ang="0">
                  <a:pos x="116" y="43"/>
                </a:cxn>
                <a:cxn ang="0">
                  <a:pos x="113" y="36"/>
                </a:cxn>
                <a:cxn ang="0">
                  <a:pos x="113" y="36"/>
                </a:cxn>
                <a:cxn ang="0">
                  <a:pos x="122" y="36"/>
                </a:cxn>
                <a:cxn ang="0">
                  <a:pos x="122" y="36"/>
                </a:cxn>
                <a:cxn ang="0">
                  <a:pos x="133" y="29"/>
                </a:cxn>
                <a:cxn ang="0">
                  <a:pos x="139" y="26"/>
                </a:cxn>
                <a:cxn ang="0">
                  <a:pos x="136" y="23"/>
                </a:cxn>
                <a:cxn ang="0">
                  <a:pos x="132" y="21"/>
                </a:cxn>
                <a:cxn ang="0">
                  <a:pos x="127" y="23"/>
                </a:cxn>
                <a:cxn ang="0">
                  <a:pos x="118" y="15"/>
                </a:cxn>
                <a:cxn ang="0">
                  <a:pos x="118" y="15"/>
                </a:cxn>
                <a:cxn ang="0">
                  <a:pos x="118" y="12"/>
                </a:cxn>
                <a:cxn ang="0">
                  <a:pos x="118" y="12"/>
                </a:cxn>
                <a:cxn ang="0">
                  <a:pos x="108" y="10"/>
                </a:cxn>
                <a:cxn ang="0">
                  <a:pos x="101" y="15"/>
                </a:cxn>
                <a:cxn ang="0">
                  <a:pos x="86" y="15"/>
                </a:cxn>
                <a:cxn ang="0">
                  <a:pos x="71" y="8"/>
                </a:cxn>
                <a:cxn ang="0">
                  <a:pos x="64" y="10"/>
                </a:cxn>
                <a:cxn ang="0">
                  <a:pos x="54" y="3"/>
                </a:cxn>
                <a:cxn ang="0">
                  <a:pos x="54" y="3"/>
                </a:cxn>
                <a:cxn ang="0">
                  <a:pos x="38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6" y="2"/>
                </a:cxn>
                <a:cxn ang="0">
                  <a:pos x="40" y="11"/>
                </a:cxn>
                <a:cxn ang="0">
                  <a:pos x="40" y="11"/>
                </a:cxn>
                <a:cxn ang="0">
                  <a:pos x="25" y="11"/>
                </a:cxn>
                <a:cxn ang="0">
                  <a:pos x="25" y="11"/>
                </a:cxn>
                <a:cxn ang="0">
                  <a:pos x="24" y="7"/>
                </a:cxn>
                <a:cxn ang="0">
                  <a:pos x="22" y="7"/>
                </a:cxn>
                <a:cxn ang="0">
                  <a:pos x="22" y="7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15" y="7"/>
                </a:cxn>
                <a:cxn ang="0">
                  <a:pos x="3" y="13"/>
                </a:cxn>
                <a:cxn ang="0">
                  <a:pos x="0" y="16"/>
                </a:cxn>
                <a:cxn ang="0">
                  <a:pos x="0" y="16"/>
                </a:cxn>
              </a:cxnLst>
              <a:rect l="0" t="0" r="r" b="b"/>
              <a:pathLst>
                <a:path w="139" h="55">
                  <a:moveTo>
                    <a:pt x="0" y="16"/>
                  </a:moveTo>
                  <a:cubicBezTo>
                    <a:pt x="3" y="21"/>
                    <a:pt x="8" y="23"/>
                    <a:pt x="16" y="23"/>
                  </a:cubicBezTo>
                  <a:cubicBezTo>
                    <a:pt x="16" y="25"/>
                    <a:pt x="20" y="29"/>
                    <a:pt x="21" y="30"/>
                  </a:cubicBezTo>
                  <a:cubicBezTo>
                    <a:pt x="21" y="31"/>
                    <a:pt x="21" y="32"/>
                    <a:pt x="21" y="32"/>
                  </a:cubicBezTo>
                  <a:cubicBezTo>
                    <a:pt x="21" y="33"/>
                    <a:pt x="21" y="34"/>
                    <a:pt x="21" y="35"/>
                  </a:cubicBezTo>
                  <a:cubicBezTo>
                    <a:pt x="21" y="36"/>
                    <a:pt x="25" y="36"/>
                    <a:pt x="25" y="36"/>
                  </a:cubicBezTo>
                  <a:cubicBezTo>
                    <a:pt x="33" y="36"/>
                    <a:pt x="39" y="42"/>
                    <a:pt x="45" y="42"/>
                  </a:cubicBezTo>
                  <a:cubicBezTo>
                    <a:pt x="46" y="45"/>
                    <a:pt x="52" y="50"/>
                    <a:pt x="56" y="49"/>
                  </a:cubicBezTo>
                  <a:lnTo>
                    <a:pt x="56" y="49"/>
                  </a:lnTo>
                  <a:lnTo>
                    <a:pt x="61" y="50"/>
                  </a:lnTo>
                  <a:lnTo>
                    <a:pt x="75" y="50"/>
                  </a:lnTo>
                  <a:lnTo>
                    <a:pt x="75" y="50"/>
                  </a:lnTo>
                  <a:cubicBezTo>
                    <a:pt x="77" y="52"/>
                    <a:pt x="89" y="55"/>
                    <a:pt x="92" y="55"/>
                  </a:cubicBezTo>
                  <a:cubicBezTo>
                    <a:pt x="94" y="55"/>
                    <a:pt x="100" y="51"/>
                    <a:pt x="102" y="50"/>
                  </a:cubicBezTo>
                  <a:lnTo>
                    <a:pt x="102" y="50"/>
                  </a:lnTo>
                  <a:lnTo>
                    <a:pt x="110" y="50"/>
                  </a:lnTo>
                  <a:lnTo>
                    <a:pt x="110" y="50"/>
                  </a:lnTo>
                  <a:cubicBezTo>
                    <a:pt x="112" y="50"/>
                    <a:pt x="116" y="46"/>
                    <a:pt x="116" y="43"/>
                  </a:cubicBezTo>
                  <a:cubicBezTo>
                    <a:pt x="116" y="40"/>
                    <a:pt x="113" y="39"/>
                    <a:pt x="113" y="36"/>
                  </a:cubicBezTo>
                  <a:lnTo>
                    <a:pt x="113" y="36"/>
                  </a:lnTo>
                  <a:lnTo>
                    <a:pt x="122" y="36"/>
                  </a:lnTo>
                  <a:lnTo>
                    <a:pt x="122" y="36"/>
                  </a:lnTo>
                  <a:cubicBezTo>
                    <a:pt x="123" y="34"/>
                    <a:pt x="133" y="29"/>
                    <a:pt x="133" y="29"/>
                  </a:cubicBezTo>
                  <a:cubicBezTo>
                    <a:pt x="136" y="29"/>
                    <a:pt x="139" y="27"/>
                    <a:pt x="139" y="26"/>
                  </a:cubicBezTo>
                  <a:cubicBezTo>
                    <a:pt x="137" y="25"/>
                    <a:pt x="136" y="24"/>
                    <a:pt x="136" y="23"/>
                  </a:cubicBezTo>
                  <a:cubicBezTo>
                    <a:pt x="134" y="23"/>
                    <a:pt x="133" y="21"/>
                    <a:pt x="132" y="21"/>
                  </a:cubicBezTo>
                  <a:cubicBezTo>
                    <a:pt x="128" y="21"/>
                    <a:pt x="129" y="23"/>
                    <a:pt x="127" y="23"/>
                  </a:cubicBezTo>
                  <a:cubicBezTo>
                    <a:pt x="120" y="23"/>
                    <a:pt x="119" y="20"/>
                    <a:pt x="118" y="15"/>
                  </a:cubicBezTo>
                  <a:lnTo>
                    <a:pt x="118" y="15"/>
                  </a:lnTo>
                  <a:lnTo>
                    <a:pt x="118" y="12"/>
                  </a:lnTo>
                  <a:lnTo>
                    <a:pt x="118" y="12"/>
                  </a:lnTo>
                  <a:cubicBezTo>
                    <a:pt x="118" y="12"/>
                    <a:pt x="113" y="10"/>
                    <a:pt x="108" y="10"/>
                  </a:cubicBezTo>
                  <a:cubicBezTo>
                    <a:pt x="103" y="10"/>
                    <a:pt x="105" y="15"/>
                    <a:pt x="101" y="15"/>
                  </a:cubicBezTo>
                  <a:cubicBezTo>
                    <a:pt x="96" y="15"/>
                    <a:pt x="94" y="15"/>
                    <a:pt x="86" y="15"/>
                  </a:cubicBezTo>
                  <a:cubicBezTo>
                    <a:pt x="82" y="13"/>
                    <a:pt x="79" y="8"/>
                    <a:pt x="71" y="8"/>
                  </a:cubicBezTo>
                  <a:cubicBezTo>
                    <a:pt x="69" y="8"/>
                    <a:pt x="67" y="10"/>
                    <a:pt x="64" y="10"/>
                  </a:cubicBezTo>
                  <a:cubicBezTo>
                    <a:pt x="58" y="10"/>
                    <a:pt x="55" y="8"/>
                    <a:pt x="54" y="3"/>
                  </a:cubicBezTo>
                  <a:lnTo>
                    <a:pt x="54" y="3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cubicBezTo>
                    <a:pt x="36" y="1"/>
                    <a:pt x="36" y="2"/>
                    <a:pt x="36" y="2"/>
                  </a:cubicBezTo>
                  <a:cubicBezTo>
                    <a:pt x="36" y="6"/>
                    <a:pt x="42" y="6"/>
                    <a:pt x="40" y="11"/>
                  </a:cubicBezTo>
                  <a:lnTo>
                    <a:pt x="40" y="11"/>
                  </a:lnTo>
                  <a:lnTo>
                    <a:pt x="25" y="11"/>
                  </a:lnTo>
                  <a:lnTo>
                    <a:pt x="25" y="11"/>
                  </a:lnTo>
                  <a:cubicBezTo>
                    <a:pt x="25" y="10"/>
                    <a:pt x="24" y="9"/>
                    <a:pt x="24" y="7"/>
                  </a:cubicBezTo>
                  <a:cubicBezTo>
                    <a:pt x="24" y="7"/>
                    <a:pt x="23" y="7"/>
                    <a:pt x="22" y="7"/>
                  </a:cubicBezTo>
                  <a:lnTo>
                    <a:pt x="22" y="7"/>
                  </a:lnTo>
                  <a:lnTo>
                    <a:pt x="20" y="8"/>
                  </a:lnTo>
                  <a:lnTo>
                    <a:pt x="20" y="8"/>
                  </a:lnTo>
                  <a:cubicBezTo>
                    <a:pt x="18" y="8"/>
                    <a:pt x="17" y="7"/>
                    <a:pt x="15" y="7"/>
                  </a:cubicBezTo>
                  <a:cubicBezTo>
                    <a:pt x="10" y="7"/>
                    <a:pt x="8" y="13"/>
                    <a:pt x="3" y="13"/>
                  </a:cubicBezTo>
                  <a:cubicBezTo>
                    <a:pt x="3" y="13"/>
                    <a:pt x="0" y="14"/>
                    <a:pt x="0" y="16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Freeform 39"/>
            <p:cNvSpPr>
              <a:spLocks/>
            </p:cNvSpPr>
            <p:nvPr/>
          </p:nvSpPr>
          <p:spPr bwMode="auto">
            <a:xfrm>
              <a:off x="4946651" y="3511698"/>
              <a:ext cx="2797175" cy="2038350"/>
            </a:xfrm>
            <a:custGeom>
              <a:avLst/>
              <a:gdLst/>
              <a:ahLst/>
              <a:cxnLst>
                <a:cxn ang="0">
                  <a:pos x="24" y="95"/>
                </a:cxn>
                <a:cxn ang="0">
                  <a:pos x="34" y="102"/>
                </a:cxn>
                <a:cxn ang="0">
                  <a:pos x="35" y="112"/>
                </a:cxn>
                <a:cxn ang="0">
                  <a:pos x="31" y="114"/>
                </a:cxn>
                <a:cxn ang="0">
                  <a:pos x="51" y="125"/>
                </a:cxn>
                <a:cxn ang="0">
                  <a:pos x="80" y="137"/>
                </a:cxn>
                <a:cxn ang="0">
                  <a:pos x="84" y="135"/>
                </a:cxn>
                <a:cxn ang="0">
                  <a:pos x="90" y="133"/>
                </a:cxn>
                <a:cxn ang="0">
                  <a:pos x="123" y="133"/>
                </a:cxn>
                <a:cxn ang="0">
                  <a:pos x="128" y="155"/>
                </a:cxn>
                <a:cxn ang="0">
                  <a:pos x="143" y="170"/>
                </a:cxn>
                <a:cxn ang="0">
                  <a:pos x="164" y="160"/>
                </a:cxn>
                <a:cxn ang="0">
                  <a:pos x="177" y="170"/>
                </a:cxn>
                <a:cxn ang="0">
                  <a:pos x="184" y="173"/>
                </a:cxn>
                <a:cxn ang="0">
                  <a:pos x="192" y="170"/>
                </a:cxn>
                <a:cxn ang="0">
                  <a:pos x="206" y="165"/>
                </a:cxn>
                <a:cxn ang="0">
                  <a:pos x="226" y="148"/>
                </a:cxn>
                <a:cxn ang="0">
                  <a:pos x="229" y="128"/>
                </a:cxn>
                <a:cxn ang="0">
                  <a:pos x="230" y="126"/>
                </a:cxn>
                <a:cxn ang="0">
                  <a:pos x="231" y="123"/>
                </a:cxn>
                <a:cxn ang="0">
                  <a:pos x="226" y="117"/>
                </a:cxn>
                <a:cxn ang="0">
                  <a:pos x="220" y="109"/>
                </a:cxn>
                <a:cxn ang="0">
                  <a:pos x="209" y="93"/>
                </a:cxn>
                <a:cxn ang="0">
                  <a:pos x="211" y="91"/>
                </a:cxn>
                <a:cxn ang="0">
                  <a:pos x="209" y="81"/>
                </a:cxn>
                <a:cxn ang="0">
                  <a:pos x="206" y="81"/>
                </a:cxn>
                <a:cxn ang="0">
                  <a:pos x="202" y="85"/>
                </a:cxn>
                <a:cxn ang="0">
                  <a:pos x="191" y="76"/>
                </a:cxn>
                <a:cxn ang="0">
                  <a:pos x="200" y="67"/>
                </a:cxn>
                <a:cxn ang="0">
                  <a:pos x="205" y="69"/>
                </a:cxn>
                <a:cxn ang="0">
                  <a:pos x="208" y="74"/>
                </a:cxn>
                <a:cxn ang="0">
                  <a:pos x="220" y="70"/>
                </a:cxn>
                <a:cxn ang="0">
                  <a:pos x="235" y="45"/>
                </a:cxn>
                <a:cxn ang="0">
                  <a:pos x="242" y="43"/>
                </a:cxn>
                <a:cxn ang="0">
                  <a:pos x="240" y="31"/>
                </a:cxn>
                <a:cxn ang="0">
                  <a:pos x="226" y="31"/>
                </a:cxn>
                <a:cxn ang="0">
                  <a:pos x="183" y="2"/>
                </a:cxn>
                <a:cxn ang="0">
                  <a:pos x="162" y="1"/>
                </a:cxn>
                <a:cxn ang="0">
                  <a:pos x="167" y="8"/>
                </a:cxn>
                <a:cxn ang="0">
                  <a:pos x="162" y="20"/>
                </a:cxn>
                <a:cxn ang="0">
                  <a:pos x="158" y="23"/>
                </a:cxn>
                <a:cxn ang="0">
                  <a:pos x="172" y="29"/>
                </a:cxn>
                <a:cxn ang="0">
                  <a:pos x="173" y="37"/>
                </a:cxn>
                <a:cxn ang="0">
                  <a:pos x="153" y="44"/>
                </a:cxn>
                <a:cxn ang="0">
                  <a:pos x="150" y="58"/>
                </a:cxn>
                <a:cxn ang="0">
                  <a:pos x="142" y="58"/>
                </a:cxn>
                <a:cxn ang="0">
                  <a:pos x="115" y="58"/>
                </a:cxn>
                <a:cxn ang="0">
                  <a:pos x="96" y="57"/>
                </a:cxn>
                <a:cxn ang="0">
                  <a:pos x="61" y="43"/>
                </a:cxn>
                <a:cxn ang="0">
                  <a:pos x="56" y="31"/>
                </a:cxn>
                <a:cxn ang="0">
                  <a:pos x="33" y="35"/>
                </a:cxn>
                <a:cxn ang="0">
                  <a:pos x="26" y="44"/>
                </a:cxn>
                <a:cxn ang="0">
                  <a:pos x="22" y="56"/>
                </a:cxn>
                <a:cxn ang="0">
                  <a:pos x="8" y="70"/>
                </a:cxn>
                <a:cxn ang="0">
                  <a:pos x="8" y="84"/>
                </a:cxn>
              </a:cxnLst>
              <a:rect l="0" t="0" r="r" b="b"/>
              <a:pathLst>
                <a:path w="242" h="176">
                  <a:moveTo>
                    <a:pt x="8" y="84"/>
                  </a:moveTo>
                  <a:cubicBezTo>
                    <a:pt x="15" y="93"/>
                    <a:pt x="18" y="96"/>
                    <a:pt x="24" y="95"/>
                  </a:cubicBezTo>
                  <a:lnTo>
                    <a:pt x="24" y="95"/>
                  </a:lnTo>
                  <a:lnTo>
                    <a:pt x="30" y="94"/>
                  </a:lnTo>
                  <a:lnTo>
                    <a:pt x="30" y="94"/>
                  </a:lnTo>
                  <a:cubicBezTo>
                    <a:pt x="32" y="95"/>
                    <a:pt x="34" y="99"/>
                    <a:pt x="34" y="102"/>
                  </a:cubicBezTo>
                  <a:cubicBezTo>
                    <a:pt x="34" y="103"/>
                    <a:pt x="32" y="105"/>
                    <a:pt x="32" y="105"/>
                  </a:cubicBezTo>
                  <a:cubicBezTo>
                    <a:pt x="33" y="106"/>
                    <a:pt x="35" y="109"/>
                    <a:pt x="35" y="112"/>
                  </a:cubicBezTo>
                  <a:lnTo>
                    <a:pt x="35" y="112"/>
                  </a:lnTo>
                  <a:lnTo>
                    <a:pt x="31" y="112"/>
                  </a:lnTo>
                  <a:lnTo>
                    <a:pt x="31" y="114"/>
                  </a:lnTo>
                  <a:lnTo>
                    <a:pt x="31" y="114"/>
                  </a:lnTo>
                  <a:cubicBezTo>
                    <a:pt x="33" y="121"/>
                    <a:pt x="41" y="119"/>
                    <a:pt x="44" y="124"/>
                  </a:cubicBezTo>
                  <a:lnTo>
                    <a:pt x="44" y="124"/>
                  </a:lnTo>
                  <a:lnTo>
                    <a:pt x="51" y="125"/>
                  </a:lnTo>
                  <a:lnTo>
                    <a:pt x="51" y="125"/>
                  </a:lnTo>
                  <a:cubicBezTo>
                    <a:pt x="52" y="126"/>
                    <a:pt x="56" y="127"/>
                    <a:pt x="56" y="128"/>
                  </a:cubicBezTo>
                  <a:cubicBezTo>
                    <a:pt x="64" y="133"/>
                    <a:pt x="68" y="137"/>
                    <a:pt x="80" y="137"/>
                  </a:cubicBezTo>
                  <a:lnTo>
                    <a:pt x="80" y="137"/>
                  </a:lnTo>
                  <a:lnTo>
                    <a:pt x="81" y="135"/>
                  </a:lnTo>
                  <a:lnTo>
                    <a:pt x="84" y="135"/>
                  </a:lnTo>
                  <a:lnTo>
                    <a:pt x="84" y="135"/>
                  </a:lnTo>
                  <a:cubicBezTo>
                    <a:pt x="84" y="136"/>
                    <a:pt x="84" y="137"/>
                    <a:pt x="85" y="138"/>
                  </a:cubicBezTo>
                  <a:cubicBezTo>
                    <a:pt x="88" y="137"/>
                    <a:pt x="87" y="133"/>
                    <a:pt x="90" y="133"/>
                  </a:cubicBezTo>
                  <a:cubicBezTo>
                    <a:pt x="91" y="135"/>
                    <a:pt x="97" y="137"/>
                    <a:pt x="99" y="137"/>
                  </a:cubicBezTo>
                  <a:cubicBezTo>
                    <a:pt x="103" y="132"/>
                    <a:pt x="109" y="130"/>
                    <a:pt x="115" y="128"/>
                  </a:cubicBezTo>
                  <a:cubicBezTo>
                    <a:pt x="116" y="130"/>
                    <a:pt x="121" y="134"/>
                    <a:pt x="123" y="133"/>
                  </a:cubicBezTo>
                  <a:cubicBezTo>
                    <a:pt x="126" y="135"/>
                    <a:pt x="127" y="138"/>
                    <a:pt x="130" y="138"/>
                  </a:cubicBezTo>
                  <a:cubicBezTo>
                    <a:pt x="130" y="141"/>
                    <a:pt x="131" y="143"/>
                    <a:pt x="131" y="147"/>
                  </a:cubicBezTo>
                  <a:cubicBezTo>
                    <a:pt x="131" y="150"/>
                    <a:pt x="128" y="151"/>
                    <a:pt x="128" y="155"/>
                  </a:cubicBezTo>
                  <a:cubicBezTo>
                    <a:pt x="128" y="157"/>
                    <a:pt x="131" y="156"/>
                    <a:pt x="133" y="157"/>
                  </a:cubicBezTo>
                  <a:cubicBezTo>
                    <a:pt x="135" y="159"/>
                    <a:pt x="135" y="161"/>
                    <a:pt x="136" y="163"/>
                  </a:cubicBezTo>
                  <a:cubicBezTo>
                    <a:pt x="137" y="165"/>
                    <a:pt x="140" y="170"/>
                    <a:pt x="143" y="170"/>
                  </a:cubicBezTo>
                  <a:cubicBezTo>
                    <a:pt x="144" y="170"/>
                    <a:pt x="145" y="170"/>
                    <a:pt x="146" y="170"/>
                  </a:cubicBezTo>
                  <a:cubicBezTo>
                    <a:pt x="148" y="169"/>
                    <a:pt x="149" y="167"/>
                    <a:pt x="151" y="165"/>
                  </a:cubicBezTo>
                  <a:cubicBezTo>
                    <a:pt x="155" y="161"/>
                    <a:pt x="162" y="163"/>
                    <a:pt x="164" y="160"/>
                  </a:cubicBezTo>
                  <a:cubicBezTo>
                    <a:pt x="165" y="163"/>
                    <a:pt x="169" y="163"/>
                    <a:pt x="171" y="164"/>
                  </a:cubicBezTo>
                  <a:cubicBezTo>
                    <a:pt x="173" y="166"/>
                    <a:pt x="175" y="169"/>
                    <a:pt x="177" y="170"/>
                  </a:cubicBezTo>
                  <a:lnTo>
                    <a:pt x="177" y="170"/>
                  </a:lnTo>
                  <a:lnTo>
                    <a:pt x="185" y="170"/>
                  </a:lnTo>
                  <a:lnTo>
                    <a:pt x="185" y="170"/>
                  </a:lnTo>
                  <a:cubicBezTo>
                    <a:pt x="185" y="171"/>
                    <a:pt x="184" y="172"/>
                    <a:pt x="184" y="173"/>
                  </a:cubicBezTo>
                  <a:cubicBezTo>
                    <a:pt x="184" y="174"/>
                    <a:pt x="185" y="175"/>
                    <a:pt x="187" y="176"/>
                  </a:cubicBezTo>
                  <a:cubicBezTo>
                    <a:pt x="187" y="176"/>
                    <a:pt x="187" y="174"/>
                    <a:pt x="187" y="174"/>
                  </a:cubicBezTo>
                  <a:cubicBezTo>
                    <a:pt x="187" y="173"/>
                    <a:pt x="190" y="170"/>
                    <a:pt x="192" y="170"/>
                  </a:cubicBezTo>
                  <a:cubicBezTo>
                    <a:pt x="196" y="170"/>
                    <a:pt x="197" y="164"/>
                    <a:pt x="202" y="162"/>
                  </a:cubicBezTo>
                  <a:cubicBezTo>
                    <a:pt x="202" y="163"/>
                    <a:pt x="203" y="164"/>
                    <a:pt x="203" y="165"/>
                  </a:cubicBezTo>
                  <a:cubicBezTo>
                    <a:pt x="203" y="164"/>
                    <a:pt x="205" y="164"/>
                    <a:pt x="206" y="165"/>
                  </a:cubicBezTo>
                  <a:cubicBezTo>
                    <a:pt x="206" y="161"/>
                    <a:pt x="210" y="163"/>
                    <a:pt x="214" y="161"/>
                  </a:cubicBezTo>
                  <a:cubicBezTo>
                    <a:pt x="217" y="161"/>
                    <a:pt x="218" y="154"/>
                    <a:pt x="223" y="153"/>
                  </a:cubicBezTo>
                  <a:cubicBezTo>
                    <a:pt x="223" y="151"/>
                    <a:pt x="224" y="149"/>
                    <a:pt x="226" y="148"/>
                  </a:cubicBezTo>
                  <a:cubicBezTo>
                    <a:pt x="224" y="147"/>
                    <a:pt x="225" y="144"/>
                    <a:pt x="223" y="143"/>
                  </a:cubicBezTo>
                  <a:cubicBezTo>
                    <a:pt x="227" y="140"/>
                    <a:pt x="228" y="136"/>
                    <a:pt x="231" y="131"/>
                  </a:cubicBezTo>
                  <a:cubicBezTo>
                    <a:pt x="230" y="130"/>
                    <a:pt x="229" y="129"/>
                    <a:pt x="229" y="128"/>
                  </a:cubicBezTo>
                  <a:lnTo>
                    <a:pt x="229" y="128"/>
                  </a:lnTo>
                  <a:lnTo>
                    <a:pt x="230" y="126"/>
                  </a:lnTo>
                  <a:lnTo>
                    <a:pt x="230" y="126"/>
                  </a:lnTo>
                  <a:cubicBezTo>
                    <a:pt x="230" y="126"/>
                    <a:pt x="231" y="125"/>
                    <a:pt x="231" y="125"/>
                  </a:cubicBez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cubicBezTo>
                    <a:pt x="228" y="125"/>
                    <a:pt x="225" y="123"/>
                    <a:pt x="222" y="122"/>
                  </a:cubicBezTo>
                  <a:cubicBezTo>
                    <a:pt x="224" y="121"/>
                    <a:pt x="224" y="120"/>
                    <a:pt x="226" y="117"/>
                  </a:cubicBezTo>
                  <a:cubicBezTo>
                    <a:pt x="222" y="115"/>
                    <a:pt x="219" y="116"/>
                    <a:pt x="216" y="112"/>
                  </a:cubicBezTo>
                  <a:cubicBezTo>
                    <a:pt x="217" y="113"/>
                    <a:pt x="223" y="114"/>
                    <a:pt x="226" y="115"/>
                  </a:cubicBezTo>
                  <a:cubicBezTo>
                    <a:pt x="226" y="112"/>
                    <a:pt x="220" y="112"/>
                    <a:pt x="220" y="109"/>
                  </a:cubicBezTo>
                  <a:cubicBezTo>
                    <a:pt x="220" y="108"/>
                    <a:pt x="219" y="107"/>
                    <a:pt x="218" y="106"/>
                  </a:cubicBezTo>
                  <a:cubicBezTo>
                    <a:pt x="218" y="106"/>
                    <a:pt x="207" y="97"/>
                    <a:pt x="207" y="95"/>
                  </a:cubicBezTo>
                  <a:cubicBezTo>
                    <a:pt x="207" y="94"/>
                    <a:pt x="208" y="95"/>
                    <a:pt x="209" y="93"/>
                  </a:cubicBezTo>
                  <a:cubicBezTo>
                    <a:pt x="209" y="93"/>
                    <a:pt x="208" y="92"/>
                    <a:pt x="208" y="91"/>
                  </a:cubicBezTo>
                  <a:lnTo>
                    <a:pt x="208" y="91"/>
                  </a:lnTo>
                  <a:lnTo>
                    <a:pt x="211" y="91"/>
                  </a:lnTo>
                  <a:lnTo>
                    <a:pt x="211" y="91"/>
                  </a:lnTo>
                  <a:cubicBezTo>
                    <a:pt x="211" y="89"/>
                    <a:pt x="215" y="87"/>
                    <a:pt x="216" y="85"/>
                  </a:cubicBezTo>
                  <a:cubicBezTo>
                    <a:pt x="214" y="85"/>
                    <a:pt x="210" y="83"/>
                    <a:pt x="209" y="81"/>
                  </a:cubicBezTo>
                  <a:lnTo>
                    <a:pt x="209" y="81"/>
                  </a:lnTo>
                  <a:lnTo>
                    <a:pt x="206" y="81"/>
                  </a:lnTo>
                  <a:lnTo>
                    <a:pt x="206" y="81"/>
                  </a:lnTo>
                  <a:cubicBezTo>
                    <a:pt x="206" y="82"/>
                    <a:pt x="206" y="83"/>
                    <a:pt x="206" y="85"/>
                  </a:cubicBezTo>
                  <a:lnTo>
                    <a:pt x="206" y="85"/>
                  </a:lnTo>
                  <a:lnTo>
                    <a:pt x="202" y="85"/>
                  </a:lnTo>
                  <a:lnTo>
                    <a:pt x="202" y="85"/>
                  </a:lnTo>
                  <a:cubicBezTo>
                    <a:pt x="201" y="85"/>
                    <a:pt x="201" y="82"/>
                    <a:pt x="200" y="81"/>
                  </a:cubicBezTo>
                  <a:cubicBezTo>
                    <a:pt x="199" y="79"/>
                    <a:pt x="191" y="80"/>
                    <a:pt x="191" y="76"/>
                  </a:cubicBezTo>
                  <a:cubicBezTo>
                    <a:pt x="191" y="75"/>
                    <a:pt x="193" y="74"/>
                    <a:pt x="195" y="74"/>
                  </a:cubicBezTo>
                  <a:cubicBezTo>
                    <a:pt x="195" y="74"/>
                    <a:pt x="198" y="71"/>
                    <a:pt x="198" y="71"/>
                  </a:cubicBezTo>
                  <a:cubicBezTo>
                    <a:pt x="198" y="70"/>
                    <a:pt x="200" y="70"/>
                    <a:pt x="200" y="67"/>
                  </a:cubicBezTo>
                  <a:cubicBezTo>
                    <a:pt x="202" y="67"/>
                    <a:pt x="202" y="64"/>
                    <a:pt x="203" y="64"/>
                  </a:cubicBezTo>
                  <a:cubicBezTo>
                    <a:pt x="205" y="64"/>
                    <a:pt x="206" y="66"/>
                    <a:pt x="207" y="67"/>
                  </a:cubicBezTo>
                  <a:cubicBezTo>
                    <a:pt x="207" y="68"/>
                    <a:pt x="206" y="69"/>
                    <a:pt x="205" y="69"/>
                  </a:cubicBezTo>
                  <a:cubicBezTo>
                    <a:pt x="206" y="71"/>
                    <a:pt x="207" y="72"/>
                    <a:pt x="208" y="72"/>
                  </a:cubicBezTo>
                  <a:lnTo>
                    <a:pt x="208" y="72"/>
                  </a:lnTo>
                  <a:lnTo>
                    <a:pt x="208" y="74"/>
                  </a:lnTo>
                  <a:lnTo>
                    <a:pt x="208" y="74"/>
                  </a:lnTo>
                  <a:cubicBezTo>
                    <a:pt x="207" y="74"/>
                    <a:pt x="208" y="75"/>
                    <a:pt x="208" y="76"/>
                  </a:cubicBezTo>
                  <a:cubicBezTo>
                    <a:pt x="215" y="68"/>
                    <a:pt x="216" y="69"/>
                    <a:pt x="220" y="70"/>
                  </a:cubicBezTo>
                  <a:cubicBezTo>
                    <a:pt x="221" y="66"/>
                    <a:pt x="226" y="66"/>
                    <a:pt x="226" y="62"/>
                  </a:cubicBezTo>
                  <a:cubicBezTo>
                    <a:pt x="234" y="62"/>
                    <a:pt x="233" y="55"/>
                    <a:pt x="240" y="55"/>
                  </a:cubicBezTo>
                  <a:cubicBezTo>
                    <a:pt x="240" y="50"/>
                    <a:pt x="235" y="50"/>
                    <a:pt x="235" y="45"/>
                  </a:cubicBezTo>
                  <a:cubicBezTo>
                    <a:pt x="235" y="44"/>
                    <a:pt x="236" y="43"/>
                    <a:pt x="237" y="43"/>
                  </a:cubicBezTo>
                  <a:cubicBezTo>
                    <a:pt x="238" y="43"/>
                    <a:pt x="240" y="44"/>
                    <a:pt x="242" y="43"/>
                  </a:cubicBezTo>
                  <a:lnTo>
                    <a:pt x="242" y="43"/>
                  </a:lnTo>
                  <a:lnTo>
                    <a:pt x="242" y="36"/>
                  </a:lnTo>
                  <a:lnTo>
                    <a:pt x="242" y="36"/>
                  </a:lnTo>
                  <a:cubicBezTo>
                    <a:pt x="241" y="35"/>
                    <a:pt x="240" y="33"/>
                    <a:pt x="240" y="31"/>
                  </a:cubicBezTo>
                  <a:cubicBezTo>
                    <a:pt x="240" y="31"/>
                    <a:pt x="240" y="29"/>
                    <a:pt x="240" y="28"/>
                  </a:cubicBezTo>
                  <a:cubicBezTo>
                    <a:pt x="239" y="28"/>
                    <a:pt x="239" y="27"/>
                    <a:pt x="237" y="27"/>
                  </a:cubicBezTo>
                  <a:cubicBezTo>
                    <a:pt x="233" y="27"/>
                    <a:pt x="231" y="31"/>
                    <a:pt x="226" y="31"/>
                  </a:cubicBezTo>
                  <a:cubicBezTo>
                    <a:pt x="220" y="31"/>
                    <a:pt x="216" y="23"/>
                    <a:pt x="210" y="20"/>
                  </a:cubicBezTo>
                  <a:cubicBezTo>
                    <a:pt x="204" y="19"/>
                    <a:pt x="198" y="17"/>
                    <a:pt x="196" y="11"/>
                  </a:cubicBezTo>
                  <a:cubicBezTo>
                    <a:pt x="189" y="11"/>
                    <a:pt x="189" y="4"/>
                    <a:pt x="183" y="2"/>
                  </a:cubicBezTo>
                  <a:cubicBezTo>
                    <a:pt x="179" y="1"/>
                    <a:pt x="177" y="1"/>
                    <a:pt x="172" y="0"/>
                  </a:cubicBezTo>
                  <a:lnTo>
                    <a:pt x="172" y="0"/>
                  </a:lnTo>
                  <a:lnTo>
                    <a:pt x="162" y="1"/>
                  </a:lnTo>
                  <a:lnTo>
                    <a:pt x="162" y="1"/>
                  </a:lnTo>
                  <a:cubicBezTo>
                    <a:pt x="162" y="2"/>
                    <a:pt x="162" y="2"/>
                    <a:pt x="162" y="3"/>
                  </a:cubicBezTo>
                  <a:cubicBezTo>
                    <a:pt x="162" y="5"/>
                    <a:pt x="167" y="5"/>
                    <a:pt x="167" y="8"/>
                  </a:cubicBezTo>
                  <a:cubicBezTo>
                    <a:pt x="167" y="9"/>
                    <a:pt x="165" y="10"/>
                    <a:pt x="165" y="13"/>
                  </a:cubicBezTo>
                  <a:cubicBezTo>
                    <a:pt x="165" y="14"/>
                    <a:pt x="167" y="16"/>
                    <a:pt x="168" y="16"/>
                  </a:cubicBezTo>
                  <a:cubicBezTo>
                    <a:pt x="167" y="18"/>
                    <a:pt x="164" y="20"/>
                    <a:pt x="162" y="20"/>
                  </a:cubicBezTo>
                  <a:cubicBezTo>
                    <a:pt x="161" y="20"/>
                    <a:pt x="160" y="20"/>
                    <a:pt x="158" y="20"/>
                  </a:cubicBezTo>
                  <a:lnTo>
                    <a:pt x="158" y="20"/>
                  </a:lnTo>
                  <a:lnTo>
                    <a:pt x="158" y="23"/>
                  </a:lnTo>
                  <a:lnTo>
                    <a:pt x="158" y="23"/>
                  </a:lnTo>
                  <a:cubicBezTo>
                    <a:pt x="159" y="28"/>
                    <a:pt x="160" y="31"/>
                    <a:pt x="167" y="31"/>
                  </a:cubicBezTo>
                  <a:cubicBezTo>
                    <a:pt x="169" y="31"/>
                    <a:pt x="168" y="29"/>
                    <a:pt x="172" y="29"/>
                  </a:cubicBezTo>
                  <a:cubicBezTo>
                    <a:pt x="173" y="29"/>
                    <a:pt x="174" y="31"/>
                    <a:pt x="176" y="31"/>
                  </a:cubicBezTo>
                  <a:cubicBezTo>
                    <a:pt x="176" y="32"/>
                    <a:pt x="177" y="33"/>
                    <a:pt x="179" y="34"/>
                  </a:cubicBezTo>
                  <a:cubicBezTo>
                    <a:pt x="179" y="35"/>
                    <a:pt x="176" y="37"/>
                    <a:pt x="173" y="37"/>
                  </a:cubicBezTo>
                  <a:cubicBezTo>
                    <a:pt x="173" y="37"/>
                    <a:pt x="163" y="42"/>
                    <a:pt x="162" y="44"/>
                  </a:cubicBezTo>
                  <a:lnTo>
                    <a:pt x="162" y="44"/>
                  </a:lnTo>
                  <a:lnTo>
                    <a:pt x="153" y="44"/>
                  </a:lnTo>
                  <a:lnTo>
                    <a:pt x="153" y="44"/>
                  </a:lnTo>
                  <a:cubicBezTo>
                    <a:pt x="153" y="47"/>
                    <a:pt x="156" y="48"/>
                    <a:pt x="156" y="51"/>
                  </a:cubicBezTo>
                  <a:cubicBezTo>
                    <a:pt x="156" y="54"/>
                    <a:pt x="152" y="58"/>
                    <a:pt x="150" y="58"/>
                  </a:cubicBezTo>
                  <a:lnTo>
                    <a:pt x="150" y="58"/>
                  </a:lnTo>
                  <a:lnTo>
                    <a:pt x="142" y="58"/>
                  </a:lnTo>
                  <a:lnTo>
                    <a:pt x="142" y="58"/>
                  </a:lnTo>
                  <a:cubicBezTo>
                    <a:pt x="140" y="59"/>
                    <a:pt x="134" y="63"/>
                    <a:pt x="132" y="63"/>
                  </a:cubicBezTo>
                  <a:cubicBezTo>
                    <a:pt x="129" y="63"/>
                    <a:pt x="117" y="60"/>
                    <a:pt x="115" y="58"/>
                  </a:cubicBezTo>
                  <a:lnTo>
                    <a:pt x="115" y="58"/>
                  </a:lnTo>
                  <a:lnTo>
                    <a:pt x="101" y="58"/>
                  </a:lnTo>
                  <a:lnTo>
                    <a:pt x="96" y="57"/>
                  </a:lnTo>
                  <a:lnTo>
                    <a:pt x="96" y="57"/>
                  </a:lnTo>
                  <a:cubicBezTo>
                    <a:pt x="92" y="58"/>
                    <a:pt x="86" y="53"/>
                    <a:pt x="85" y="50"/>
                  </a:cubicBezTo>
                  <a:cubicBezTo>
                    <a:pt x="79" y="50"/>
                    <a:pt x="73" y="44"/>
                    <a:pt x="65" y="44"/>
                  </a:cubicBezTo>
                  <a:cubicBezTo>
                    <a:pt x="65" y="44"/>
                    <a:pt x="61" y="44"/>
                    <a:pt x="61" y="43"/>
                  </a:cubicBezTo>
                  <a:cubicBezTo>
                    <a:pt x="61" y="42"/>
                    <a:pt x="61" y="41"/>
                    <a:pt x="61" y="40"/>
                  </a:cubicBezTo>
                  <a:cubicBezTo>
                    <a:pt x="61" y="40"/>
                    <a:pt x="61" y="39"/>
                    <a:pt x="61" y="38"/>
                  </a:cubicBezTo>
                  <a:cubicBezTo>
                    <a:pt x="60" y="37"/>
                    <a:pt x="56" y="33"/>
                    <a:pt x="56" y="31"/>
                  </a:cubicBezTo>
                  <a:cubicBezTo>
                    <a:pt x="48" y="31"/>
                    <a:pt x="43" y="29"/>
                    <a:pt x="40" y="24"/>
                  </a:cubicBezTo>
                  <a:cubicBezTo>
                    <a:pt x="33" y="22"/>
                    <a:pt x="39" y="26"/>
                    <a:pt x="33" y="28"/>
                  </a:cubicBezTo>
                  <a:cubicBezTo>
                    <a:pt x="29" y="28"/>
                    <a:pt x="38" y="35"/>
                    <a:pt x="33" y="35"/>
                  </a:cubicBezTo>
                  <a:cubicBezTo>
                    <a:pt x="32" y="35"/>
                    <a:pt x="32" y="35"/>
                    <a:pt x="31" y="35"/>
                  </a:cubicBezTo>
                  <a:cubicBezTo>
                    <a:pt x="29" y="35"/>
                    <a:pt x="26" y="34"/>
                    <a:pt x="25" y="33"/>
                  </a:cubicBezTo>
                  <a:cubicBezTo>
                    <a:pt x="24" y="36"/>
                    <a:pt x="27" y="43"/>
                    <a:pt x="26" y="44"/>
                  </a:cubicBezTo>
                  <a:cubicBezTo>
                    <a:pt x="24" y="44"/>
                    <a:pt x="17" y="43"/>
                    <a:pt x="17" y="47"/>
                  </a:cubicBezTo>
                  <a:cubicBezTo>
                    <a:pt x="22" y="47"/>
                    <a:pt x="20" y="53"/>
                    <a:pt x="22" y="54"/>
                  </a:cubicBezTo>
                  <a:cubicBezTo>
                    <a:pt x="22" y="55"/>
                    <a:pt x="22" y="55"/>
                    <a:pt x="22" y="56"/>
                  </a:cubicBezTo>
                  <a:cubicBezTo>
                    <a:pt x="22" y="61"/>
                    <a:pt x="21" y="63"/>
                    <a:pt x="18" y="65"/>
                  </a:cubicBezTo>
                  <a:cubicBezTo>
                    <a:pt x="17" y="66"/>
                    <a:pt x="13" y="64"/>
                    <a:pt x="11" y="66"/>
                  </a:cubicBezTo>
                  <a:cubicBezTo>
                    <a:pt x="10" y="67"/>
                    <a:pt x="10" y="69"/>
                    <a:pt x="8" y="70"/>
                  </a:cubicBezTo>
                  <a:cubicBezTo>
                    <a:pt x="6" y="70"/>
                    <a:pt x="0" y="71"/>
                    <a:pt x="0" y="72"/>
                  </a:cubicBezTo>
                  <a:cubicBezTo>
                    <a:pt x="0" y="74"/>
                    <a:pt x="1" y="75"/>
                    <a:pt x="2" y="79"/>
                  </a:cubicBezTo>
                  <a:cubicBezTo>
                    <a:pt x="5" y="79"/>
                    <a:pt x="7" y="80"/>
                    <a:pt x="8" y="84"/>
                  </a:cubicBezTo>
                  <a:lnTo>
                    <a:pt x="8" y="84"/>
                  </a:lnTo>
                  <a:close/>
                </a:path>
              </a:pathLst>
            </a:custGeom>
            <a:solidFill>
              <a:srgbClr val="BFBF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Freeform 40"/>
            <p:cNvSpPr>
              <a:spLocks/>
            </p:cNvSpPr>
            <p:nvPr/>
          </p:nvSpPr>
          <p:spPr bwMode="auto">
            <a:xfrm>
              <a:off x="4838753" y="4565498"/>
              <a:ext cx="1525587" cy="1727200"/>
            </a:xfrm>
            <a:custGeom>
              <a:avLst/>
              <a:gdLst/>
              <a:ahLst/>
              <a:cxnLst>
                <a:cxn ang="0">
                  <a:pos x="40" y="10"/>
                </a:cxn>
                <a:cxn ang="0">
                  <a:pos x="44" y="17"/>
                </a:cxn>
                <a:cxn ang="0">
                  <a:pos x="40" y="19"/>
                </a:cxn>
                <a:cxn ang="0">
                  <a:pos x="53" y="29"/>
                </a:cxn>
                <a:cxn ang="0">
                  <a:pos x="53" y="37"/>
                </a:cxn>
                <a:cxn ang="0">
                  <a:pos x="65" y="42"/>
                </a:cxn>
                <a:cxn ang="0">
                  <a:pos x="77" y="48"/>
                </a:cxn>
                <a:cxn ang="0">
                  <a:pos x="89" y="45"/>
                </a:cxn>
                <a:cxn ang="0">
                  <a:pos x="89" y="42"/>
                </a:cxn>
                <a:cxn ang="0">
                  <a:pos x="93" y="40"/>
                </a:cxn>
                <a:cxn ang="0">
                  <a:pos x="94" y="43"/>
                </a:cxn>
                <a:cxn ang="0">
                  <a:pos x="100" y="48"/>
                </a:cxn>
                <a:cxn ang="0">
                  <a:pos x="108" y="43"/>
                </a:cxn>
                <a:cxn ang="0">
                  <a:pos x="131" y="39"/>
                </a:cxn>
                <a:cxn ang="0">
                  <a:pos x="132" y="38"/>
                </a:cxn>
                <a:cxn ang="0">
                  <a:pos x="130" y="45"/>
                </a:cxn>
                <a:cxn ang="0">
                  <a:pos x="122" y="61"/>
                </a:cxn>
                <a:cxn ang="0">
                  <a:pos x="116" y="72"/>
                </a:cxn>
                <a:cxn ang="0">
                  <a:pos x="112" y="65"/>
                </a:cxn>
                <a:cxn ang="0">
                  <a:pos x="110" y="67"/>
                </a:cxn>
                <a:cxn ang="0">
                  <a:pos x="112" y="57"/>
                </a:cxn>
                <a:cxn ang="0">
                  <a:pos x="103" y="57"/>
                </a:cxn>
                <a:cxn ang="0">
                  <a:pos x="100" y="53"/>
                </a:cxn>
                <a:cxn ang="0">
                  <a:pos x="95" y="51"/>
                </a:cxn>
                <a:cxn ang="0">
                  <a:pos x="96" y="57"/>
                </a:cxn>
                <a:cxn ang="0">
                  <a:pos x="98" y="65"/>
                </a:cxn>
                <a:cxn ang="0">
                  <a:pos x="100" y="75"/>
                </a:cxn>
                <a:cxn ang="0">
                  <a:pos x="96" y="75"/>
                </a:cxn>
                <a:cxn ang="0">
                  <a:pos x="87" y="78"/>
                </a:cxn>
                <a:cxn ang="0">
                  <a:pos x="89" y="80"/>
                </a:cxn>
                <a:cxn ang="0">
                  <a:pos x="78" y="92"/>
                </a:cxn>
                <a:cxn ang="0">
                  <a:pos x="60" y="110"/>
                </a:cxn>
                <a:cxn ang="0">
                  <a:pos x="59" y="130"/>
                </a:cxn>
                <a:cxn ang="0">
                  <a:pos x="61" y="131"/>
                </a:cxn>
                <a:cxn ang="0">
                  <a:pos x="61" y="134"/>
                </a:cxn>
                <a:cxn ang="0">
                  <a:pos x="58" y="141"/>
                </a:cxn>
                <a:cxn ang="0">
                  <a:pos x="46" y="142"/>
                </a:cxn>
                <a:cxn ang="0">
                  <a:pos x="33" y="114"/>
                </a:cxn>
                <a:cxn ang="0">
                  <a:pos x="23" y="76"/>
                </a:cxn>
                <a:cxn ang="0">
                  <a:pos x="12" y="81"/>
                </a:cxn>
                <a:cxn ang="0">
                  <a:pos x="7" y="69"/>
                </a:cxn>
                <a:cxn ang="0">
                  <a:pos x="14" y="57"/>
                </a:cxn>
                <a:cxn ang="0">
                  <a:pos x="5" y="46"/>
                </a:cxn>
                <a:cxn ang="0">
                  <a:pos x="5" y="44"/>
                </a:cxn>
                <a:cxn ang="0">
                  <a:pos x="24" y="25"/>
                </a:cxn>
                <a:cxn ang="0">
                  <a:pos x="17" y="10"/>
                </a:cxn>
                <a:cxn ang="0">
                  <a:pos x="17" y="6"/>
                </a:cxn>
                <a:cxn ang="0">
                  <a:pos x="32" y="0"/>
                </a:cxn>
              </a:cxnLst>
              <a:rect l="0" t="0" r="r" b="b"/>
              <a:pathLst>
                <a:path w="132" h="149">
                  <a:moveTo>
                    <a:pt x="32" y="0"/>
                  </a:moveTo>
                  <a:cubicBezTo>
                    <a:pt x="36" y="3"/>
                    <a:pt x="37" y="7"/>
                    <a:pt x="40" y="10"/>
                  </a:cubicBezTo>
                  <a:cubicBezTo>
                    <a:pt x="42" y="11"/>
                    <a:pt x="44" y="14"/>
                    <a:pt x="44" y="17"/>
                  </a:cubicBezTo>
                  <a:lnTo>
                    <a:pt x="44" y="17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0" y="19"/>
                  </a:lnTo>
                  <a:cubicBezTo>
                    <a:pt x="42" y="26"/>
                    <a:pt x="50" y="24"/>
                    <a:pt x="53" y="29"/>
                  </a:cubicBezTo>
                  <a:lnTo>
                    <a:pt x="53" y="29"/>
                  </a:lnTo>
                  <a:lnTo>
                    <a:pt x="53" y="37"/>
                  </a:lnTo>
                  <a:lnTo>
                    <a:pt x="53" y="37"/>
                  </a:lnTo>
                  <a:cubicBezTo>
                    <a:pt x="55" y="39"/>
                    <a:pt x="62" y="42"/>
                    <a:pt x="65" y="42"/>
                  </a:cubicBezTo>
                  <a:cubicBezTo>
                    <a:pt x="65" y="46"/>
                    <a:pt x="70" y="42"/>
                    <a:pt x="73" y="44"/>
                  </a:cubicBezTo>
                  <a:cubicBezTo>
                    <a:pt x="75" y="45"/>
                    <a:pt x="75" y="47"/>
                    <a:pt x="77" y="48"/>
                  </a:cubicBezTo>
                  <a:cubicBezTo>
                    <a:pt x="80" y="48"/>
                    <a:pt x="89" y="51"/>
                    <a:pt x="92" y="50"/>
                  </a:cubicBezTo>
                  <a:cubicBezTo>
                    <a:pt x="91" y="49"/>
                    <a:pt x="90" y="46"/>
                    <a:pt x="89" y="45"/>
                  </a:cubicBezTo>
                  <a:lnTo>
                    <a:pt x="89" y="45"/>
                  </a:lnTo>
                  <a:lnTo>
                    <a:pt x="89" y="42"/>
                  </a:lnTo>
                  <a:lnTo>
                    <a:pt x="90" y="40"/>
                  </a:lnTo>
                  <a:lnTo>
                    <a:pt x="93" y="40"/>
                  </a:lnTo>
                  <a:lnTo>
                    <a:pt x="93" y="40"/>
                  </a:lnTo>
                  <a:cubicBezTo>
                    <a:pt x="93" y="41"/>
                    <a:pt x="93" y="42"/>
                    <a:pt x="94" y="43"/>
                  </a:cubicBezTo>
                  <a:cubicBezTo>
                    <a:pt x="94" y="45"/>
                    <a:pt x="93" y="45"/>
                    <a:pt x="93" y="46"/>
                  </a:cubicBezTo>
                  <a:cubicBezTo>
                    <a:pt x="96" y="47"/>
                    <a:pt x="98" y="48"/>
                    <a:pt x="100" y="48"/>
                  </a:cubicBezTo>
                  <a:cubicBezTo>
                    <a:pt x="100" y="49"/>
                    <a:pt x="101" y="50"/>
                    <a:pt x="103" y="50"/>
                  </a:cubicBezTo>
                  <a:cubicBezTo>
                    <a:pt x="105" y="50"/>
                    <a:pt x="107" y="45"/>
                    <a:pt x="108" y="43"/>
                  </a:cubicBezTo>
                  <a:cubicBezTo>
                    <a:pt x="112" y="38"/>
                    <a:pt x="118" y="35"/>
                    <a:pt x="124" y="33"/>
                  </a:cubicBezTo>
                  <a:cubicBezTo>
                    <a:pt x="125" y="35"/>
                    <a:pt x="128" y="39"/>
                    <a:pt x="131" y="39"/>
                  </a:cubicBezTo>
                  <a:lnTo>
                    <a:pt x="131" y="39"/>
                  </a:lnTo>
                  <a:lnTo>
                    <a:pt x="132" y="38"/>
                  </a:lnTo>
                  <a:lnTo>
                    <a:pt x="132" y="38"/>
                  </a:lnTo>
                  <a:cubicBezTo>
                    <a:pt x="131" y="41"/>
                    <a:pt x="131" y="44"/>
                    <a:pt x="130" y="45"/>
                  </a:cubicBezTo>
                  <a:cubicBezTo>
                    <a:pt x="129" y="45"/>
                    <a:pt x="124" y="47"/>
                    <a:pt x="124" y="49"/>
                  </a:cubicBezTo>
                  <a:cubicBezTo>
                    <a:pt x="124" y="52"/>
                    <a:pt x="124" y="59"/>
                    <a:pt x="122" y="61"/>
                  </a:cubicBezTo>
                  <a:cubicBezTo>
                    <a:pt x="122" y="62"/>
                    <a:pt x="118" y="61"/>
                    <a:pt x="118" y="62"/>
                  </a:cubicBezTo>
                  <a:cubicBezTo>
                    <a:pt x="118" y="65"/>
                    <a:pt x="118" y="70"/>
                    <a:pt x="116" y="72"/>
                  </a:cubicBezTo>
                  <a:lnTo>
                    <a:pt x="116" y="72"/>
                  </a:lnTo>
                  <a:lnTo>
                    <a:pt x="112" y="65"/>
                  </a:lnTo>
                  <a:lnTo>
                    <a:pt x="112" y="65"/>
                  </a:lnTo>
                  <a:cubicBezTo>
                    <a:pt x="112" y="65"/>
                    <a:pt x="111" y="67"/>
                    <a:pt x="110" y="67"/>
                  </a:cubicBezTo>
                  <a:cubicBezTo>
                    <a:pt x="109" y="67"/>
                    <a:pt x="108" y="66"/>
                    <a:pt x="108" y="65"/>
                  </a:cubicBezTo>
                  <a:cubicBezTo>
                    <a:pt x="108" y="61"/>
                    <a:pt x="112" y="60"/>
                    <a:pt x="112" y="57"/>
                  </a:cubicBezTo>
                  <a:lnTo>
                    <a:pt x="112" y="57"/>
                  </a:lnTo>
                  <a:lnTo>
                    <a:pt x="103" y="57"/>
                  </a:lnTo>
                  <a:lnTo>
                    <a:pt x="103" y="57"/>
                  </a:lnTo>
                  <a:cubicBezTo>
                    <a:pt x="101" y="57"/>
                    <a:pt x="100" y="55"/>
                    <a:pt x="100" y="53"/>
                  </a:cubicBezTo>
                  <a:cubicBezTo>
                    <a:pt x="99" y="53"/>
                    <a:pt x="97" y="52"/>
                    <a:pt x="97" y="51"/>
                  </a:cubicBezTo>
                  <a:cubicBezTo>
                    <a:pt x="96" y="51"/>
                    <a:pt x="96" y="51"/>
                    <a:pt x="95" y="51"/>
                  </a:cubicBezTo>
                  <a:cubicBezTo>
                    <a:pt x="93" y="51"/>
                    <a:pt x="92" y="52"/>
                    <a:pt x="92" y="53"/>
                  </a:cubicBezTo>
                  <a:cubicBezTo>
                    <a:pt x="92" y="54"/>
                    <a:pt x="95" y="57"/>
                    <a:pt x="96" y="57"/>
                  </a:cubicBezTo>
                  <a:cubicBezTo>
                    <a:pt x="95" y="58"/>
                    <a:pt x="92" y="60"/>
                    <a:pt x="92" y="61"/>
                  </a:cubicBezTo>
                  <a:cubicBezTo>
                    <a:pt x="92" y="62"/>
                    <a:pt x="96" y="65"/>
                    <a:pt x="98" y="65"/>
                  </a:cubicBezTo>
                  <a:lnTo>
                    <a:pt x="98" y="65"/>
                  </a:lnTo>
                  <a:lnTo>
                    <a:pt x="100" y="75"/>
                  </a:lnTo>
                  <a:lnTo>
                    <a:pt x="100" y="75"/>
                  </a:lnTo>
                  <a:cubicBezTo>
                    <a:pt x="99" y="75"/>
                    <a:pt x="97" y="75"/>
                    <a:pt x="96" y="75"/>
                  </a:cubicBezTo>
                  <a:cubicBezTo>
                    <a:pt x="95" y="75"/>
                    <a:pt x="94" y="73"/>
                    <a:pt x="93" y="73"/>
                  </a:cubicBezTo>
                  <a:cubicBezTo>
                    <a:pt x="92" y="73"/>
                    <a:pt x="87" y="78"/>
                    <a:pt x="87" y="78"/>
                  </a:cubicBezTo>
                  <a:lnTo>
                    <a:pt x="87" y="78"/>
                  </a:lnTo>
                  <a:lnTo>
                    <a:pt x="89" y="80"/>
                  </a:lnTo>
                  <a:lnTo>
                    <a:pt x="89" y="80"/>
                  </a:lnTo>
                  <a:cubicBezTo>
                    <a:pt x="88" y="86"/>
                    <a:pt x="78" y="85"/>
                    <a:pt x="78" y="92"/>
                  </a:cubicBezTo>
                  <a:cubicBezTo>
                    <a:pt x="70" y="94"/>
                    <a:pt x="70" y="107"/>
                    <a:pt x="60" y="107"/>
                  </a:cubicBezTo>
                  <a:cubicBezTo>
                    <a:pt x="60" y="108"/>
                    <a:pt x="60" y="108"/>
                    <a:pt x="60" y="110"/>
                  </a:cubicBezTo>
                  <a:cubicBezTo>
                    <a:pt x="60" y="112"/>
                    <a:pt x="60" y="119"/>
                    <a:pt x="63" y="120"/>
                  </a:cubicBezTo>
                  <a:cubicBezTo>
                    <a:pt x="62" y="123"/>
                    <a:pt x="59" y="126"/>
                    <a:pt x="59" y="130"/>
                  </a:cubicBezTo>
                  <a:cubicBezTo>
                    <a:pt x="59" y="130"/>
                    <a:pt x="60" y="131"/>
                    <a:pt x="61" y="131"/>
                  </a:cubicBezTo>
                  <a:lnTo>
                    <a:pt x="61" y="131"/>
                  </a:lnTo>
                  <a:lnTo>
                    <a:pt x="61" y="134"/>
                  </a:lnTo>
                  <a:lnTo>
                    <a:pt x="61" y="134"/>
                  </a:lnTo>
                  <a:cubicBezTo>
                    <a:pt x="60" y="135"/>
                    <a:pt x="60" y="138"/>
                    <a:pt x="57" y="138"/>
                  </a:cubicBezTo>
                  <a:cubicBezTo>
                    <a:pt x="57" y="138"/>
                    <a:pt x="57" y="141"/>
                    <a:pt x="58" y="141"/>
                  </a:cubicBezTo>
                  <a:cubicBezTo>
                    <a:pt x="55" y="144"/>
                    <a:pt x="53" y="145"/>
                    <a:pt x="50" y="149"/>
                  </a:cubicBezTo>
                  <a:cubicBezTo>
                    <a:pt x="47" y="147"/>
                    <a:pt x="46" y="145"/>
                    <a:pt x="46" y="142"/>
                  </a:cubicBezTo>
                  <a:cubicBezTo>
                    <a:pt x="44" y="137"/>
                    <a:pt x="39" y="130"/>
                    <a:pt x="38" y="126"/>
                  </a:cubicBezTo>
                  <a:cubicBezTo>
                    <a:pt x="35" y="122"/>
                    <a:pt x="35" y="118"/>
                    <a:pt x="33" y="114"/>
                  </a:cubicBezTo>
                  <a:cubicBezTo>
                    <a:pt x="31" y="110"/>
                    <a:pt x="27" y="106"/>
                    <a:pt x="26" y="102"/>
                  </a:cubicBezTo>
                  <a:cubicBezTo>
                    <a:pt x="23" y="93"/>
                    <a:pt x="23" y="86"/>
                    <a:pt x="23" y="76"/>
                  </a:cubicBezTo>
                  <a:cubicBezTo>
                    <a:pt x="21" y="76"/>
                    <a:pt x="20" y="73"/>
                    <a:pt x="20" y="72"/>
                  </a:cubicBezTo>
                  <a:cubicBezTo>
                    <a:pt x="16" y="75"/>
                    <a:pt x="16" y="81"/>
                    <a:pt x="12" y="81"/>
                  </a:cubicBezTo>
                  <a:cubicBezTo>
                    <a:pt x="10" y="81"/>
                    <a:pt x="4" y="74"/>
                    <a:pt x="4" y="71"/>
                  </a:cubicBezTo>
                  <a:cubicBezTo>
                    <a:pt x="4" y="71"/>
                    <a:pt x="7" y="69"/>
                    <a:pt x="7" y="69"/>
                  </a:cubicBezTo>
                  <a:cubicBezTo>
                    <a:pt x="3" y="69"/>
                    <a:pt x="1" y="67"/>
                    <a:pt x="0" y="64"/>
                  </a:cubicBezTo>
                  <a:cubicBezTo>
                    <a:pt x="4" y="60"/>
                    <a:pt x="11" y="63"/>
                    <a:pt x="14" y="57"/>
                  </a:cubicBezTo>
                  <a:cubicBezTo>
                    <a:pt x="12" y="57"/>
                    <a:pt x="7" y="51"/>
                    <a:pt x="7" y="49"/>
                  </a:cubicBezTo>
                  <a:cubicBezTo>
                    <a:pt x="7" y="49"/>
                    <a:pt x="6" y="48"/>
                    <a:pt x="5" y="46"/>
                  </a:cubicBezTo>
                  <a:lnTo>
                    <a:pt x="5" y="46"/>
                  </a:lnTo>
                  <a:lnTo>
                    <a:pt x="5" y="44"/>
                  </a:lnTo>
                  <a:lnTo>
                    <a:pt x="5" y="44"/>
                  </a:lnTo>
                  <a:cubicBezTo>
                    <a:pt x="18" y="44"/>
                    <a:pt x="17" y="30"/>
                    <a:pt x="24" y="25"/>
                  </a:cubicBezTo>
                  <a:cubicBezTo>
                    <a:pt x="22" y="22"/>
                    <a:pt x="22" y="19"/>
                    <a:pt x="25" y="18"/>
                  </a:cubicBezTo>
                  <a:cubicBezTo>
                    <a:pt x="21" y="15"/>
                    <a:pt x="20" y="14"/>
                    <a:pt x="17" y="10"/>
                  </a:cubicBezTo>
                  <a:lnTo>
                    <a:pt x="17" y="10"/>
                  </a:lnTo>
                  <a:lnTo>
                    <a:pt x="17" y="6"/>
                  </a:lnTo>
                  <a:lnTo>
                    <a:pt x="17" y="6"/>
                  </a:lnTo>
                  <a:cubicBezTo>
                    <a:pt x="22" y="6"/>
                    <a:pt x="30" y="5"/>
                    <a:pt x="32" y="0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Freeform 41"/>
            <p:cNvSpPr>
              <a:spLocks/>
            </p:cNvSpPr>
            <p:nvPr/>
          </p:nvSpPr>
          <p:spPr bwMode="auto">
            <a:xfrm>
              <a:off x="6484938" y="5716290"/>
              <a:ext cx="460375" cy="881062"/>
            </a:xfrm>
            <a:custGeom>
              <a:avLst/>
              <a:gdLst/>
              <a:ahLst/>
              <a:cxnLst>
                <a:cxn ang="0">
                  <a:pos x="37" y="32"/>
                </a:cxn>
                <a:cxn ang="0">
                  <a:pos x="32" y="32"/>
                </a:cxn>
                <a:cxn ang="0">
                  <a:pos x="26" y="35"/>
                </a:cxn>
                <a:cxn ang="0">
                  <a:pos x="30" y="46"/>
                </a:cxn>
                <a:cxn ang="0">
                  <a:pos x="30" y="49"/>
                </a:cxn>
                <a:cxn ang="0">
                  <a:pos x="26" y="44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1" y="36"/>
                </a:cxn>
                <a:cxn ang="0">
                  <a:pos x="13" y="39"/>
                </a:cxn>
                <a:cxn ang="0">
                  <a:pos x="13" y="39"/>
                </a:cxn>
                <a:cxn ang="0">
                  <a:pos x="13" y="44"/>
                </a:cxn>
                <a:cxn ang="0">
                  <a:pos x="11" y="54"/>
                </a:cxn>
                <a:cxn ang="0">
                  <a:pos x="15" y="58"/>
                </a:cxn>
                <a:cxn ang="0">
                  <a:pos x="15" y="62"/>
                </a:cxn>
                <a:cxn ang="0">
                  <a:pos x="15" y="62"/>
                </a:cxn>
                <a:cxn ang="0">
                  <a:pos x="15" y="64"/>
                </a:cxn>
                <a:cxn ang="0">
                  <a:pos x="15" y="64"/>
                </a:cxn>
                <a:cxn ang="0">
                  <a:pos x="28" y="76"/>
                </a:cxn>
                <a:cxn ang="0">
                  <a:pos x="21" y="76"/>
                </a:cxn>
                <a:cxn ang="0">
                  <a:pos x="17" y="75"/>
                </a:cxn>
                <a:cxn ang="0">
                  <a:pos x="9" y="64"/>
                </a:cxn>
                <a:cxn ang="0">
                  <a:pos x="7" y="64"/>
                </a:cxn>
                <a:cxn ang="0">
                  <a:pos x="7" y="60"/>
                </a:cxn>
                <a:cxn ang="0">
                  <a:pos x="8" y="55"/>
                </a:cxn>
                <a:cxn ang="0">
                  <a:pos x="11" y="39"/>
                </a:cxn>
                <a:cxn ang="0">
                  <a:pos x="5" y="27"/>
                </a:cxn>
                <a:cxn ang="0">
                  <a:pos x="7" y="23"/>
                </a:cxn>
                <a:cxn ang="0">
                  <a:pos x="0" y="8"/>
                </a:cxn>
                <a:cxn ang="0">
                  <a:pos x="10" y="0"/>
                </a:cxn>
                <a:cxn ang="0">
                  <a:pos x="15" y="3"/>
                </a:cxn>
                <a:cxn ang="0">
                  <a:pos x="18" y="14"/>
                </a:cxn>
                <a:cxn ang="0">
                  <a:pos x="20" y="10"/>
                </a:cxn>
                <a:cxn ang="0">
                  <a:pos x="24" y="12"/>
                </a:cxn>
                <a:cxn ang="0">
                  <a:pos x="27" y="9"/>
                </a:cxn>
                <a:cxn ang="0">
                  <a:pos x="31" y="12"/>
                </a:cxn>
                <a:cxn ang="0">
                  <a:pos x="40" y="28"/>
                </a:cxn>
                <a:cxn ang="0">
                  <a:pos x="38" y="31"/>
                </a:cxn>
                <a:cxn ang="0">
                  <a:pos x="38" y="31"/>
                </a:cxn>
                <a:cxn ang="0">
                  <a:pos x="37" y="32"/>
                </a:cxn>
              </a:cxnLst>
              <a:rect l="0" t="0" r="r" b="b"/>
              <a:pathLst>
                <a:path w="40" h="76">
                  <a:moveTo>
                    <a:pt x="37" y="32"/>
                  </a:moveTo>
                  <a:cubicBezTo>
                    <a:pt x="35" y="32"/>
                    <a:pt x="33" y="32"/>
                    <a:pt x="32" y="32"/>
                  </a:cubicBezTo>
                  <a:cubicBezTo>
                    <a:pt x="30" y="32"/>
                    <a:pt x="26" y="32"/>
                    <a:pt x="26" y="35"/>
                  </a:cubicBezTo>
                  <a:cubicBezTo>
                    <a:pt x="26" y="40"/>
                    <a:pt x="30" y="41"/>
                    <a:pt x="30" y="46"/>
                  </a:cubicBezTo>
                  <a:cubicBezTo>
                    <a:pt x="30" y="47"/>
                    <a:pt x="30" y="48"/>
                    <a:pt x="30" y="49"/>
                  </a:cubicBezTo>
                  <a:cubicBezTo>
                    <a:pt x="28" y="48"/>
                    <a:pt x="27" y="46"/>
                    <a:pt x="26" y="44"/>
                  </a:cubicBezTo>
                  <a:cubicBezTo>
                    <a:pt x="25" y="40"/>
                    <a:pt x="16" y="41"/>
                    <a:pt x="16" y="35"/>
                  </a:cubicBezTo>
                  <a:lnTo>
                    <a:pt x="16" y="35"/>
                  </a:lnTo>
                  <a:lnTo>
                    <a:pt x="11" y="36"/>
                  </a:lnTo>
                  <a:lnTo>
                    <a:pt x="13" y="39"/>
                  </a:lnTo>
                  <a:lnTo>
                    <a:pt x="13" y="39"/>
                  </a:lnTo>
                  <a:cubicBezTo>
                    <a:pt x="13" y="41"/>
                    <a:pt x="13" y="43"/>
                    <a:pt x="13" y="44"/>
                  </a:cubicBezTo>
                  <a:cubicBezTo>
                    <a:pt x="13" y="48"/>
                    <a:pt x="11" y="49"/>
                    <a:pt x="11" y="54"/>
                  </a:cubicBezTo>
                  <a:cubicBezTo>
                    <a:pt x="11" y="56"/>
                    <a:pt x="12" y="58"/>
                    <a:pt x="15" y="58"/>
                  </a:cubicBezTo>
                  <a:cubicBezTo>
                    <a:pt x="15" y="60"/>
                    <a:pt x="15" y="61"/>
                    <a:pt x="15" y="62"/>
                  </a:cubicBezTo>
                  <a:lnTo>
                    <a:pt x="15" y="62"/>
                  </a:lnTo>
                  <a:lnTo>
                    <a:pt x="15" y="64"/>
                  </a:lnTo>
                  <a:lnTo>
                    <a:pt x="15" y="64"/>
                  </a:lnTo>
                  <a:cubicBezTo>
                    <a:pt x="17" y="68"/>
                    <a:pt x="24" y="74"/>
                    <a:pt x="28" y="76"/>
                  </a:cubicBezTo>
                  <a:lnTo>
                    <a:pt x="21" y="76"/>
                  </a:lnTo>
                  <a:cubicBezTo>
                    <a:pt x="20" y="75"/>
                    <a:pt x="19" y="75"/>
                    <a:pt x="17" y="75"/>
                  </a:cubicBezTo>
                  <a:cubicBezTo>
                    <a:pt x="16" y="70"/>
                    <a:pt x="13" y="69"/>
                    <a:pt x="9" y="64"/>
                  </a:cubicBezTo>
                  <a:cubicBezTo>
                    <a:pt x="8" y="64"/>
                    <a:pt x="7" y="65"/>
                    <a:pt x="7" y="64"/>
                  </a:cubicBezTo>
                  <a:cubicBezTo>
                    <a:pt x="7" y="63"/>
                    <a:pt x="7" y="61"/>
                    <a:pt x="7" y="60"/>
                  </a:cubicBezTo>
                  <a:cubicBezTo>
                    <a:pt x="7" y="58"/>
                    <a:pt x="8" y="57"/>
                    <a:pt x="8" y="55"/>
                  </a:cubicBezTo>
                  <a:cubicBezTo>
                    <a:pt x="8" y="55"/>
                    <a:pt x="11" y="45"/>
                    <a:pt x="11" y="39"/>
                  </a:cubicBezTo>
                  <a:cubicBezTo>
                    <a:pt x="9" y="35"/>
                    <a:pt x="5" y="31"/>
                    <a:pt x="5" y="27"/>
                  </a:cubicBezTo>
                  <a:cubicBezTo>
                    <a:pt x="5" y="25"/>
                    <a:pt x="7" y="24"/>
                    <a:pt x="7" y="23"/>
                  </a:cubicBezTo>
                  <a:cubicBezTo>
                    <a:pt x="7" y="15"/>
                    <a:pt x="0" y="14"/>
                    <a:pt x="0" y="8"/>
                  </a:cubicBezTo>
                  <a:cubicBezTo>
                    <a:pt x="0" y="1"/>
                    <a:pt x="5" y="1"/>
                    <a:pt x="10" y="0"/>
                  </a:cubicBezTo>
                  <a:cubicBezTo>
                    <a:pt x="12" y="1"/>
                    <a:pt x="13" y="3"/>
                    <a:pt x="15" y="3"/>
                  </a:cubicBezTo>
                  <a:cubicBezTo>
                    <a:pt x="16" y="6"/>
                    <a:pt x="16" y="14"/>
                    <a:pt x="18" y="14"/>
                  </a:cubicBezTo>
                  <a:cubicBezTo>
                    <a:pt x="20" y="14"/>
                    <a:pt x="20" y="11"/>
                    <a:pt x="20" y="10"/>
                  </a:cubicBezTo>
                  <a:cubicBezTo>
                    <a:pt x="22" y="10"/>
                    <a:pt x="23" y="12"/>
                    <a:pt x="24" y="12"/>
                  </a:cubicBezTo>
                  <a:cubicBezTo>
                    <a:pt x="25" y="12"/>
                    <a:pt x="25" y="9"/>
                    <a:pt x="27" y="9"/>
                  </a:cubicBezTo>
                  <a:cubicBezTo>
                    <a:pt x="29" y="9"/>
                    <a:pt x="30" y="10"/>
                    <a:pt x="31" y="12"/>
                  </a:cubicBezTo>
                  <a:cubicBezTo>
                    <a:pt x="34" y="17"/>
                    <a:pt x="40" y="22"/>
                    <a:pt x="40" y="28"/>
                  </a:cubicBezTo>
                  <a:cubicBezTo>
                    <a:pt x="40" y="29"/>
                    <a:pt x="38" y="31"/>
                    <a:pt x="38" y="31"/>
                  </a:cubicBezTo>
                  <a:lnTo>
                    <a:pt x="38" y="31"/>
                  </a:lnTo>
                  <a:lnTo>
                    <a:pt x="37" y="3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Freeform 42"/>
            <p:cNvSpPr>
              <a:spLocks/>
            </p:cNvSpPr>
            <p:nvPr/>
          </p:nvSpPr>
          <p:spPr bwMode="auto">
            <a:xfrm>
              <a:off x="2090738" y="3418036"/>
              <a:ext cx="103187" cy="5715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9" y="1"/>
                </a:cxn>
                <a:cxn ang="0">
                  <a:pos x="8" y="5"/>
                </a:cxn>
                <a:cxn ang="0">
                  <a:pos x="1" y="5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9" h="5">
                  <a:moveTo>
                    <a:pt x="3" y="0"/>
                  </a:moveTo>
                  <a:lnTo>
                    <a:pt x="9" y="1"/>
                  </a:lnTo>
                  <a:lnTo>
                    <a:pt x="8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cubicBezTo>
                    <a:pt x="0" y="2"/>
                    <a:pt x="3" y="0"/>
                    <a:pt x="3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Freeform 43"/>
            <p:cNvSpPr>
              <a:spLocks/>
            </p:cNvSpPr>
            <p:nvPr/>
          </p:nvSpPr>
          <p:spPr bwMode="auto">
            <a:xfrm>
              <a:off x="2066925" y="2594123"/>
              <a:ext cx="473075" cy="557212"/>
            </a:xfrm>
            <a:custGeom>
              <a:avLst/>
              <a:gdLst/>
              <a:ahLst/>
              <a:cxnLst>
                <a:cxn ang="0">
                  <a:pos x="30" y="45"/>
                </a:cxn>
                <a:cxn ang="0">
                  <a:pos x="29" y="45"/>
                </a:cxn>
                <a:cxn ang="0">
                  <a:pos x="29" y="45"/>
                </a:cxn>
                <a:cxn ang="0">
                  <a:pos x="22" y="45"/>
                </a:cxn>
                <a:cxn ang="0">
                  <a:pos x="22" y="45"/>
                </a:cxn>
                <a:cxn ang="0">
                  <a:pos x="11" y="47"/>
                </a:cxn>
                <a:cxn ang="0">
                  <a:pos x="7" y="46"/>
                </a:cxn>
                <a:cxn ang="0">
                  <a:pos x="2" y="44"/>
                </a:cxn>
                <a:cxn ang="0">
                  <a:pos x="3" y="41"/>
                </a:cxn>
                <a:cxn ang="0">
                  <a:pos x="0" y="36"/>
                </a:cxn>
                <a:cxn ang="0">
                  <a:pos x="13" y="25"/>
                </a:cxn>
                <a:cxn ang="0">
                  <a:pos x="13" y="25"/>
                </a:cxn>
                <a:cxn ang="0">
                  <a:pos x="13" y="23"/>
                </a:cxn>
                <a:cxn ang="0">
                  <a:pos x="13" y="23"/>
                </a:cxn>
                <a:cxn ang="0">
                  <a:pos x="10" y="21"/>
                </a:cxn>
                <a:cxn ang="0">
                  <a:pos x="4" y="7"/>
                </a:cxn>
                <a:cxn ang="0">
                  <a:pos x="9" y="6"/>
                </a:cxn>
                <a:cxn ang="0">
                  <a:pos x="13" y="6"/>
                </a:cxn>
                <a:cxn ang="0">
                  <a:pos x="14" y="0"/>
                </a:cxn>
                <a:cxn ang="0">
                  <a:pos x="18" y="0"/>
                </a:cxn>
                <a:cxn ang="0">
                  <a:pos x="25" y="3"/>
                </a:cxn>
                <a:cxn ang="0">
                  <a:pos x="25" y="3"/>
                </a:cxn>
                <a:cxn ang="0">
                  <a:pos x="23" y="6"/>
                </a:cxn>
                <a:cxn ang="0">
                  <a:pos x="23" y="6"/>
                </a:cxn>
                <a:cxn ang="0">
                  <a:pos x="30" y="10"/>
                </a:cxn>
                <a:cxn ang="0">
                  <a:pos x="27" y="15"/>
                </a:cxn>
                <a:cxn ang="0">
                  <a:pos x="31" y="19"/>
                </a:cxn>
                <a:cxn ang="0">
                  <a:pos x="41" y="32"/>
                </a:cxn>
                <a:cxn ang="0">
                  <a:pos x="30" y="45"/>
                </a:cxn>
                <a:cxn ang="0">
                  <a:pos x="30" y="45"/>
                </a:cxn>
              </a:cxnLst>
              <a:rect l="0" t="0" r="r" b="b"/>
              <a:pathLst>
                <a:path w="41" h="48">
                  <a:moveTo>
                    <a:pt x="30" y="45"/>
                  </a:moveTo>
                  <a:cubicBezTo>
                    <a:pt x="30" y="44"/>
                    <a:pt x="28" y="45"/>
                    <a:pt x="29" y="45"/>
                  </a:cubicBezTo>
                  <a:lnTo>
                    <a:pt x="29" y="45"/>
                  </a:lnTo>
                  <a:lnTo>
                    <a:pt x="22" y="45"/>
                  </a:lnTo>
                  <a:lnTo>
                    <a:pt x="22" y="45"/>
                  </a:lnTo>
                  <a:cubicBezTo>
                    <a:pt x="20" y="48"/>
                    <a:pt x="14" y="47"/>
                    <a:pt x="11" y="47"/>
                  </a:cubicBezTo>
                  <a:cubicBezTo>
                    <a:pt x="10" y="47"/>
                    <a:pt x="8" y="47"/>
                    <a:pt x="7" y="46"/>
                  </a:cubicBezTo>
                  <a:cubicBezTo>
                    <a:pt x="5" y="46"/>
                    <a:pt x="2" y="45"/>
                    <a:pt x="2" y="44"/>
                  </a:cubicBezTo>
                  <a:cubicBezTo>
                    <a:pt x="2" y="42"/>
                    <a:pt x="3" y="41"/>
                    <a:pt x="3" y="41"/>
                  </a:cubicBezTo>
                  <a:cubicBezTo>
                    <a:pt x="3" y="38"/>
                    <a:pt x="0" y="38"/>
                    <a:pt x="0" y="36"/>
                  </a:cubicBezTo>
                  <a:cubicBezTo>
                    <a:pt x="0" y="31"/>
                    <a:pt x="9" y="25"/>
                    <a:pt x="13" y="25"/>
                  </a:cubicBezTo>
                  <a:lnTo>
                    <a:pt x="13" y="25"/>
                  </a:lnTo>
                  <a:lnTo>
                    <a:pt x="13" y="23"/>
                  </a:lnTo>
                  <a:lnTo>
                    <a:pt x="13" y="23"/>
                  </a:lnTo>
                  <a:cubicBezTo>
                    <a:pt x="10" y="23"/>
                    <a:pt x="10" y="22"/>
                    <a:pt x="10" y="21"/>
                  </a:cubicBezTo>
                  <a:cubicBezTo>
                    <a:pt x="10" y="13"/>
                    <a:pt x="7" y="11"/>
                    <a:pt x="4" y="7"/>
                  </a:cubicBezTo>
                  <a:cubicBezTo>
                    <a:pt x="7" y="6"/>
                    <a:pt x="7" y="6"/>
                    <a:pt x="9" y="6"/>
                  </a:cubicBezTo>
                  <a:cubicBezTo>
                    <a:pt x="11" y="6"/>
                    <a:pt x="11" y="7"/>
                    <a:pt x="13" y="6"/>
                  </a:cubicBezTo>
                  <a:cubicBezTo>
                    <a:pt x="13" y="3"/>
                    <a:pt x="14" y="2"/>
                    <a:pt x="14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21" y="0"/>
                    <a:pt x="22" y="3"/>
                    <a:pt x="25" y="3"/>
                  </a:cubicBezTo>
                  <a:lnTo>
                    <a:pt x="25" y="3"/>
                  </a:lnTo>
                  <a:lnTo>
                    <a:pt x="23" y="6"/>
                  </a:lnTo>
                  <a:lnTo>
                    <a:pt x="23" y="6"/>
                  </a:lnTo>
                  <a:cubicBezTo>
                    <a:pt x="25" y="9"/>
                    <a:pt x="28" y="10"/>
                    <a:pt x="30" y="10"/>
                  </a:cubicBezTo>
                  <a:cubicBezTo>
                    <a:pt x="29" y="13"/>
                    <a:pt x="27" y="13"/>
                    <a:pt x="27" y="15"/>
                  </a:cubicBezTo>
                  <a:cubicBezTo>
                    <a:pt x="27" y="17"/>
                    <a:pt x="30" y="19"/>
                    <a:pt x="31" y="19"/>
                  </a:cubicBezTo>
                  <a:cubicBezTo>
                    <a:pt x="31" y="27"/>
                    <a:pt x="37" y="29"/>
                    <a:pt x="41" y="32"/>
                  </a:cubicBezTo>
                  <a:cubicBezTo>
                    <a:pt x="37" y="36"/>
                    <a:pt x="33" y="40"/>
                    <a:pt x="30" y="45"/>
                  </a:cubicBezTo>
                  <a:lnTo>
                    <a:pt x="30" y="45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Freeform 44"/>
            <p:cNvSpPr>
              <a:spLocks/>
            </p:cNvSpPr>
            <p:nvPr/>
          </p:nvSpPr>
          <p:spPr bwMode="auto">
            <a:xfrm>
              <a:off x="1684338" y="2630635"/>
              <a:ext cx="498476" cy="787400"/>
            </a:xfrm>
            <a:custGeom>
              <a:avLst/>
              <a:gdLst/>
              <a:ahLst/>
              <a:cxnLst>
                <a:cxn ang="0">
                  <a:pos x="43" y="18"/>
                </a:cxn>
                <a:cxn ang="0">
                  <a:pos x="35" y="18"/>
                </a:cxn>
                <a:cxn ang="0">
                  <a:pos x="35" y="18"/>
                </a:cxn>
                <a:cxn ang="0">
                  <a:pos x="33" y="20"/>
                </a:cxn>
                <a:cxn ang="0">
                  <a:pos x="33" y="23"/>
                </a:cxn>
                <a:cxn ang="0">
                  <a:pos x="24" y="30"/>
                </a:cxn>
                <a:cxn ang="0">
                  <a:pos x="20" y="34"/>
                </a:cxn>
                <a:cxn ang="0">
                  <a:pos x="20" y="36"/>
                </a:cxn>
                <a:cxn ang="0">
                  <a:pos x="19" y="40"/>
                </a:cxn>
                <a:cxn ang="0">
                  <a:pos x="27" y="46"/>
                </a:cxn>
                <a:cxn ang="0">
                  <a:pos x="27" y="47"/>
                </a:cxn>
                <a:cxn ang="0">
                  <a:pos x="21" y="50"/>
                </a:cxn>
                <a:cxn ang="0">
                  <a:pos x="19" y="64"/>
                </a:cxn>
                <a:cxn ang="0">
                  <a:pos x="12" y="68"/>
                </a:cxn>
                <a:cxn ang="0">
                  <a:pos x="8" y="68"/>
                </a:cxn>
                <a:cxn ang="0">
                  <a:pos x="2" y="54"/>
                </a:cxn>
                <a:cxn ang="0">
                  <a:pos x="0" y="51"/>
                </a:cxn>
                <a:cxn ang="0">
                  <a:pos x="2" y="50"/>
                </a:cxn>
                <a:cxn ang="0">
                  <a:pos x="5" y="45"/>
                </a:cxn>
                <a:cxn ang="0">
                  <a:pos x="5" y="37"/>
                </a:cxn>
                <a:cxn ang="0">
                  <a:pos x="2" y="30"/>
                </a:cxn>
                <a:cxn ang="0">
                  <a:pos x="2" y="3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5" y="11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37" y="4"/>
                </a:cxn>
                <a:cxn ang="0">
                  <a:pos x="43" y="18"/>
                </a:cxn>
                <a:cxn ang="0">
                  <a:pos x="43" y="18"/>
                </a:cxn>
              </a:cxnLst>
              <a:rect l="0" t="0" r="r" b="b"/>
              <a:pathLst>
                <a:path w="43" h="68">
                  <a:moveTo>
                    <a:pt x="43" y="18"/>
                  </a:moveTo>
                  <a:lnTo>
                    <a:pt x="35" y="18"/>
                  </a:lnTo>
                  <a:lnTo>
                    <a:pt x="35" y="18"/>
                  </a:lnTo>
                  <a:cubicBezTo>
                    <a:pt x="35" y="18"/>
                    <a:pt x="33" y="19"/>
                    <a:pt x="33" y="20"/>
                  </a:cubicBezTo>
                  <a:cubicBezTo>
                    <a:pt x="32" y="21"/>
                    <a:pt x="33" y="22"/>
                    <a:pt x="33" y="23"/>
                  </a:cubicBezTo>
                  <a:cubicBezTo>
                    <a:pt x="30" y="26"/>
                    <a:pt x="27" y="27"/>
                    <a:pt x="24" y="30"/>
                  </a:cubicBezTo>
                  <a:cubicBezTo>
                    <a:pt x="22" y="30"/>
                    <a:pt x="17" y="33"/>
                    <a:pt x="20" y="34"/>
                  </a:cubicBezTo>
                  <a:cubicBezTo>
                    <a:pt x="20" y="35"/>
                    <a:pt x="20" y="35"/>
                    <a:pt x="20" y="36"/>
                  </a:cubicBezTo>
                  <a:cubicBezTo>
                    <a:pt x="20" y="38"/>
                    <a:pt x="19" y="39"/>
                    <a:pt x="19" y="40"/>
                  </a:cubicBezTo>
                  <a:cubicBezTo>
                    <a:pt x="21" y="43"/>
                    <a:pt x="27" y="42"/>
                    <a:pt x="27" y="46"/>
                  </a:cubicBezTo>
                  <a:cubicBezTo>
                    <a:pt x="27" y="46"/>
                    <a:pt x="27" y="47"/>
                    <a:pt x="27" y="47"/>
                  </a:cubicBezTo>
                  <a:cubicBezTo>
                    <a:pt x="25" y="47"/>
                    <a:pt x="21" y="49"/>
                    <a:pt x="21" y="50"/>
                  </a:cubicBezTo>
                  <a:cubicBezTo>
                    <a:pt x="21" y="54"/>
                    <a:pt x="19" y="58"/>
                    <a:pt x="19" y="64"/>
                  </a:cubicBezTo>
                  <a:cubicBezTo>
                    <a:pt x="16" y="64"/>
                    <a:pt x="11" y="65"/>
                    <a:pt x="12" y="68"/>
                  </a:cubicBezTo>
                  <a:cubicBezTo>
                    <a:pt x="12" y="68"/>
                    <a:pt x="8" y="68"/>
                    <a:pt x="8" y="68"/>
                  </a:cubicBezTo>
                  <a:cubicBezTo>
                    <a:pt x="6" y="68"/>
                    <a:pt x="2" y="57"/>
                    <a:pt x="2" y="54"/>
                  </a:cubicBezTo>
                  <a:cubicBezTo>
                    <a:pt x="1" y="53"/>
                    <a:pt x="0" y="52"/>
                    <a:pt x="0" y="51"/>
                  </a:cubicBezTo>
                  <a:cubicBezTo>
                    <a:pt x="0" y="50"/>
                    <a:pt x="1" y="50"/>
                    <a:pt x="2" y="50"/>
                  </a:cubicBezTo>
                  <a:cubicBezTo>
                    <a:pt x="2" y="47"/>
                    <a:pt x="4" y="46"/>
                    <a:pt x="5" y="45"/>
                  </a:cubicBezTo>
                  <a:cubicBezTo>
                    <a:pt x="4" y="41"/>
                    <a:pt x="5" y="42"/>
                    <a:pt x="5" y="37"/>
                  </a:cubicBezTo>
                  <a:cubicBezTo>
                    <a:pt x="2" y="37"/>
                    <a:pt x="2" y="32"/>
                    <a:pt x="2" y="30"/>
                  </a:cubicBezTo>
                  <a:lnTo>
                    <a:pt x="2" y="30"/>
                  </a:lnTo>
                  <a:lnTo>
                    <a:pt x="4" y="24"/>
                  </a:lnTo>
                  <a:lnTo>
                    <a:pt x="4" y="24"/>
                  </a:lnTo>
                  <a:cubicBezTo>
                    <a:pt x="6" y="24"/>
                    <a:pt x="8" y="24"/>
                    <a:pt x="8" y="24"/>
                  </a:cubicBezTo>
                  <a:cubicBezTo>
                    <a:pt x="8" y="18"/>
                    <a:pt x="14" y="15"/>
                    <a:pt x="15" y="11"/>
                  </a:cubicBezTo>
                  <a:cubicBezTo>
                    <a:pt x="16" y="8"/>
                    <a:pt x="19" y="4"/>
                    <a:pt x="20" y="4"/>
                  </a:cubicBezTo>
                  <a:cubicBezTo>
                    <a:pt x="24" y="3"/>
                    <a:pt x="28" y="3"/>
                    <a:pt x="32" y="0"/>
                  </a:cubicBezTo>
                  <a:cubicBezTo>
                    <a:pt x="33" y="1"/>
                    <a:pt x="34" y="4"/>
                    <a:pt x="37" y="4"/>
                  </a:cubicBezTo>
                  <a:cubicBezTo>
                    <a:pt x="39" y="8"/>
                    <a:pt x="43" y="10"/>
                    <a:pt x="43" y="18"/>
                  </a:cubicBezTo>
                  <a:lnTo>
                    <a:pt x="43" y="18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Freeform 45"/>
            <p:cNvSpPr>
              <a:spLocks/>
            </p:cNvSpPr>
            <p:nvPr/>
          </p:nvSpPr>
          <p:spPr bwMode="auto">
            <a:xfrm>
              <a:off x="1384300" y="2536974"/>
              <a:ext cx="993775" cy="719138"/>
            </a:xfrm>
            <a:custGeom>
              <a:avLst/>
              <a:gdLst/>
              <a:ahLst/>
              <a:cxnLst>
                <a:cxn ang="0">
                  <a:pos x="22" y="55"/>
                </a:cxn>
                <a:cxn ang="0">
                  <a:pos x="12" y="62"/>
                </a:cxn>
                <a:cxn ang="0">
                  <a:pos x="10" y="62"/>
                </a:cxn>
                <a:cxn ang="0">
                  <a:pos x="3" y="58"/>
                </a:cxn>
                <a:cxn ang="0">
                  <a:pos x="0" y="54"/>
                </a:cxn>
                <a:cxn ang="0">
                  <a:pos x="3" y="51"/>
                </a:cxn>
                <a:cxn ang="0">
                  <a:pos x="6" y="51"/>
                </a:cxn>
                <a:cxn ang="0">
                  <a:pos x="2" y="48"/>
                </a:cxn>
                <a:cxn ang="0">
                  <a:pos x="0" y="47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3" y="41"/>
                </a:cxn>
                <a:cxn ang="0">
                  <a:pos x="3" y="42"/>
                </a:cxn>
                <a:cxn ang="0">
                  <a:pos x="7" y="40"/>
                </a:cxn>
                <a:cxn ang="0">
                  <a:pos x="8" y="38"/>
                </a:cxn>
                <a:cxn ang="0">
                  <a:pos x="11" y="35"/>
                </a:cxn>
                <a:cxn ang="0">
                  <a:pos x="12" y="35"/>
                </a:cxn>
                <a:cxn ang="0">
                  <a:pos x="19" y="35"/>
                </a:cxn>
                <a:cxn ang="0">
                  <a:pos x="18" y="34"/>
                </a:cxn>
                <a:cxn ang="0">
                  <a:pos x="24" y="31"/>
                </a:cxn>
                <a:cxn ang="0">
                  <a:pos x="24" y="28"/>
                </a:cxn>
                <a:cxn ang="0">
                  <a:pos x="28" y="23"/>
                </a:cxn>
                <a:cxn ang="0">
                  <a:pos x="30" y="19"/>
                </a:cxn>
                <a:cxn ang="0">
                  <a:pos x="33" y="14"/>
                </a:cxn>
                <a:cxn ang="0">
                  <a:pos x="28" y="15"/>
                </a:cxn>
                <a:cxn ang="0">
                  <a:pos x="35" y="9"/>
                </a:cxn>
                <a:cxn ang="0">
                  <a:pos x="41" y="11"/>
                </a:cxn>
                <a:cxn ang="0">
                  <a:pos x="47" y="6"/>
                </a:cxn>
                <a:cxn ang="0">
                  <a:pos x="51" y="7"/>
                </a:cxn>
                <a:cxn ang="0">
                  <a:pos x="61" y="2"/>
                </a:cxn>
                <a:cxn ang="0">
                  <a:pos x="63" y="3"/>
                </a:cxn>
                <a:cxn ang="0">
                  <a:pos x="68" y="1"/>
                </a:cxn>
                <a:cxn ang="0">
                  <a:pos x="72" y="0"/>
                </a:cxn>
                <a:cxn ang="0">
                  <a:pos x="73" y="1"/>
                </a:cxn>
                <a:cxn ang="0">
                  <a:pos x="86" y="4"/>
                </a:cxn>
                <a:cxn ang="0">
                  <a:pos x="77" y="5"/>
                </a:cxn>
                <a:cxn ang="0">
                  <a:pos x="72" y="11"/>
                </a:cxn>
                <a:cxn ang="0">
                  <a:pos x="63" y="12"/>
                </a:cxn>
                <a:cxn ang="0">
                  <a:pos x="46" y="12"/>
                </a:cxn>
                <a:cxn ang="0">
                  <a:pos x="34" y="32"/>
                </a:cxn>
                <a:cxn ang="0">
                  <a:pos x="30" y="32"/>
                </a:cxn>
                <a:cxn ang="0">
                  <a:pos x="28" y="38"/>
                </a:cxn>
                <a:cxn ang="0">
                  <a:pos x="31" y="53"/>
                </a:cxn>
                <a:cxn ang="0">
                  <a:pos x="25" y="58"/>
                </a:cxn>
              </a:cxnLst>
              <a:rect l="0" t="0" r="r" b="b"/>
              <a:pathLst>
                <a:path w="86" h="62">
                  <a:moveTo>
                    <a:pt x="25" y="58"/>
                  </a:moveTo>
                  <a:cubicBezTo>
                    <a:pt x="23" y="56"/>
                    <a:pt x="22" y="55"/>
                    <a:pt x="22" y="55"/>
                  </a:cubicBezTo>
                  <a:cubicBezTo>
                    <a:pt x="22" y="55"/>
                    <a:pt x="21" y="56"/>
                    <a:pt x="21" y="56"/>
                  </a:cubicBezTo>
                  <a:cubicBezTo>
                    <a:pt x="21" y="58"/>
                    <a:pt x="12" y="62"/>
                    <a:pt x="12" y="62"/>
                  </a:cubicBezTo>
                  <a:lnTo>
                    <a:pt x="12" y="62"/>
                  </a:lnTo>
                  <a:lnTo>
                    <a:pt x="10" y="62"/>
                  </a:lnTo>
                  <a:lnTo>
                    <a:pt x="10" y="62"/>
                  </a:lnTo>
                  <a:cubicBezTo>
                    <a:pt x="8" y="62"/>
                    <a:pt x="3" y="60"/>
                    <a:pt x="3" y="58"/>
                  </a:cubicBezTo>
                  <a:cubicBezTo>
                    <a:pt x="4" y="58"/>
                    <a:pt x="5" y="58"/>
                    <a:pt x="6" y="57"/>
                  </a:cubicBezTo>
                  <a:cubicBezTo>
                    <a:pt x="4" y="56"/>
                    <a:pt x="0" y="54"/>
                    <a:pt x="0" y="54"/>
                  </a:cubicBezTo>
                  <a:cubicBezTo>
                    <a:pt x="3" y="54"/>
                    <a:pt x="4" y="54"/>
                    <a:pt x="5" y="54"/>
                  </a:cubicBezTo>
                  <a:cubicBezTo>
                    <a:pt x="4" y="54"/>
                    <a:pt x="3" y="53"/>
                    <a:pt x="3" y="51"/>
                  </a:cubicBezTo>
                  <a:lnTo>
                    <a:pt x="3" y="51"/>
                  </a:lnTo>
                  <a:lnTo>
                    <a:pt x="6" y="51"/>
                  </a:lnTo>
                  <a:lnTo>
                    <a:pt x="6" y="51"/>
                  </a:lnTo>
                  <a:cubicBezTo>
                    <a:pt x="4" y="51"/>
                    <a:pt x="1" y="50"/>
                    <a:pt x="2" y="48"/>
                  </a:cubicBezTo>
                  <a:lnTo>
                    <a:pt x="2" y="48"/>
                  </a:lnTo>
                  <a:lnTo>
                    <a:pt x="0" y="47"/>
                  </a:lnTo>
                  <a:lnTo>
                    <a:pt x="0" y="47"/>
                  </a:lnTo>
                  <a:cubicBezTo>
                    <a:pt x="4" y="47"/>
                    <a:pt x="7" y="47"/>
                    <a:pt x="8" y="47"/>
                  </a:cubicBezTo>
                  <a:cubicBezTo>
                    <a:pt x="8" y="47"/>
                    <a:pt x="0" y="45"/>
                    <a:pt x="0" y="45"/>
                  </a:cubicBezTo>
                  <a:cubicBezTo>
                    <a:pt x="0" y="43"/>
                    <a:pt x="2" y="43"/>
                    <a:pt x="0" y="41"/>
                  </a:cubicBezTo>
                  <a:lnTo>
                    <a:pt x="0" y="41"/>
                  </a:lnTo>
                  <a:lnTo>
                    <a:pt x="3" y="41"/>
                  </a:lnTo>
                  <a:lnTo>
                    <a:pt x="3" y="41"/>
                  </a:ln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6" y="41"/>
                    <a:pt x="7" y="41"/>
                  </a:cubicBezTo>
                  <a:cubicBezTo>
                    <a:pt x="7" y="41"/>
                    <a:pt x="7" y="40"/>
                    <a:pt x="7" y="40"/>
                  </a:cubicBezTo>
                  <a:cubicBezTo>
                    <a:pt x="8" y="40"/>
                    <a:pt x="8" y="40"/>
                    <a:pt x="9" y="40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9" y="38"/>
                    <a:pt x="10" y="38"/>
                    <a:pt x="11" y="38"/>
                  </a:cubicBezTo>
                  <a:cubicBezTo>
                    <a:pt x="12" y="38"/>
                    <a:pt x="11" y="36"/>
                    <a:pt x="11" y="35"/>
                  </a:cubicBez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9" y="35"/>
                  </a:lnTo>
                  <a:lnTo>
                    <a:pt x="18" y="34"/>
                  </a:lnTo>
                  <a:lnTo>
                    <a:pt x="18" y="34"/>
                  </a:lnTo>
                  <a:cubicBezTo>
                    <a:pt x="19" y="34"/>
                    <a:pt x="20" y="32"/>
                    <a:pt x="20" y="31"/>
                  </a:cubicBezTo>
                  <a:cubicBezTo>
                    <a:pt x="22" y="31"/>
                    <a:pt x="23" y="31"/>
                    <a:pt x="24" y="31"/>
                  </a:cubicBezTo>
                  <a:cubicBezTo>
                    <a:pt x="24" y="30"/>
                    <a:pt x="24" y="29"/>
                    <a:pt x="25" y="29"/>
                  </a:cubicBezTo>
                  <a:cubicBezTo>
                    <a:pt x="25" y="29"/>
                    <a:pt x="24" y="28"/>
                    <a:pt x="24" y="28"/>
                  </a:cubicBezTo>
                  <a:cubicBezTo>
                    <a:pt x="24" y="28"/>
                    <a:pt x="25" y="27"/>
                    <a:pt x="26" y="27"/>
                  </a:cubicBezTo>
                  <a:cubicBezTo>
                    <a:pt x="25" y="25"/>
                    <a:pt x="28" y="23"/>
                    <a:pt x="28" y="23"/>
                  </a:cubicBezTo>
                  <a:cubicBezTo>
                    <a:pt x="28" y="22"/>
                    <a:pt x="30" y="23"/>
                    <a:pt x="30" y="23"/>
                  </a:cubicBezTo>
                  <a:cubicBezTo>
                    <a:pt x="30" y="21"/>
                    <a:pt x="30" y="19"/>
                    <a:pt x="30" y="19"/>
                  </a:cubicBezTo>
                  <a:cubicBezTo>
                    <a:pt x="33" y="19"/>
                    <a:pt x="34" y="19"/>
                    <a:pt x="34" y="16"/>
                  </a:cubicBezTo>
                  <a:cubicBezTo>
                    <a:pt x="34" y="16"/>
                    <a:pt x="33" y="15"/>
                    <a:pt x="33" y="14"/>
                  </a:cubicBezTo>
                  <a:cubicBezTo>
                    <a:pt x="33" y="14"/>
                    <a:pt x="32" y="13"/>
                    <a:pt x="32" y="13"/>
                  </a:cubicBezTo>
                  <a:cubicBezTo>
                    <a:pt x="31" y="14"/>
                    <a:pt x="30" y="15"/>
                    <a:pt x="28" y="15"/>
                  </a:cubicBezTo>
                  <a:cubicBezTo>
                    <a:pt x="30" y="12"/>
                    <a:pt x="34" y="11"/>
                    <a:pt x="35" y="8"/>
                  </a:cubicBezTo>
                  <a:cubicBezTo>
                    <a:pt x="35" y="8"/>
                    <a:pt x="35" y="9"/>
                    <a:pt x="35" y="9"/>
                  </a:cubicBezTo>
                  <a:cubicBezTo>
                    <a:pt x="35" y="10"/>
                    <a:pt x="37" y="11"/>
                    <a:pt x="37" y="11"/>
                  </a:cubicBezTo>
                  <a:cubicBezTo>
                    <a:pt x="39" y="11"/>
                    <a:pt x="41" y="11"/>
                    <a:pt x="41" y="11"/>
                  </a:cubicBezTo>
                  <a:cubicBezTo>
                    <a:pt x="41" y="10"/>
                    <a:pt x="40" y="9"/>
                    <a:pt x="40" y="8"/>
                  </a:cubicBezTo>
                  <a:cubicBezTo>
                    <a:pt x="41" y="8"/>
                    <a:pt x="45" y="8"/>
                    <a:pt x="47" y="6"/>
                  </a:cubicBezTo>
                  <a:cubicBezTo>
                    <a:pt x="47" y="5"/>
                    <a:pt x="49" y="5"/>
                    <a:pt x="50" y="5"/>
                  </a:cubicBezTo>
                  <a:cubicBezTo>
                    <a:pt x="50" y="5"/>
                    <a:pt x="50" y="7"/>
                    <a:pt x="51" y="7"/>
                  </a:cubicBezTo>
                  <a:cubicBezTo>
                    <a:pt x="51" y="7"/>
                    <a:pt x="54" y="5"/>
                    <a:pt x="54" y="5"/>
                  </a:cubicBezTo>
                  <a:cubicBezTo>
                    <a:pt x="52" y="3"/>
                    <a:pt x="59" y="0"/>
                    <a:pt x="61" y="2"/>
                  </a:cubicBezTo>
                  <a:cubicBezTo>
                    <a:pt x="60" y="3"/>
                    <a:pt x="59" y="3"/>
                    <a:pt x="59" y="4"/>
                  </a:cubicBezTo>
                  <a:cubicBezTo>
                    <a:pt x="60" y="5"/>
                    <a:pt x="61" y="3"/>
                    <a:pt x="63" y="3"/>
                  </a:cubicBezTo>
                  <a:cubicBezTo>
                    <a:pt x="63" y="2"/>
                    <a:pt x="63" y="1"/>
                    <a:pt x="63" y="1"/>
                  </a:cubicBezTo>
                  <a:cubicBezTo>
                    <a:pt x="66" y="1"/>
                    <a:pt x="68" y="1"/>
                    <a:pt x="68" y="1"/>
                  </a:cubicBezTo>
                  <a:cubicBezTo>
                    <a:pt x="68" y="2"/>
                    <a:pt x="67" y="3"/>
                    <a:pt x="66" y="4"/>
                  </a:cubicBezTo>
                  <a:cubicBezTo>
                    <a:pt x="69" y="2"/>
                    <a:pt x="70" y="2"/>
                    <a:pt x="72" y="0"/>
                  </a:cubicBezTo>
                  <a:cubicBezTo>
                    <a:pt x="72" y="1"/>
                    <a:pt x="72" y="1"/>
                    <a:pt x="72" y="2"/>
                  </a:cubicBezTo>
                  <a:cubicBezTo>
                    <a:pt x="72" y="1"/>
                    <a:pt x="73" y="1"/>
                    <a:pt x="73" y="1"/>
                  </a:cubicBezTo>
                  <a:cubicBezTo>
                    <a:pt x="74" y="1"/>
                    <a:pt x="77" y="1"/>
                    <a:pt x="77" y="1"/>
                  </a:cubicBezTo>
                  <a:cubicBezTo>
                    <a:pt x="78" y="2"/>
                    <a:pt x="84" y="4"/>
                    <a:pt x="86" y="4"/>
                  </a:cubicBezTo>
                  <a:cubicBezTo>
                    <a:pt x="85" y="5"/>
                    <a:pt x="84" y="7"/>
                    <a:pt x="84" y="8"/>
                  </a:cubicBezTo>
                  <a:cubicBezTo>
                    <a:pt x="82" y="8"/>
                    <a:pt x="80" y="5"/>
                    <a:pt x="77" y="5"/>
                  </a:cubicBezTo>
                  <a:cubicBezTo>
                    <a:pt x="76" y="5"/>
                    <a:pt x="75" y="5"/>
                    <a:pt x="73" y="5"/>
                  </a:cubicBezTo>
                  <a:cubicBezTo>
                    <a:pt x="73" y="7"/>
                    <a:pt x="72" y="8"/>
                    <a:pt x="72" y="11"/>
                  </a:cubicBezTo>
                  <a:cubicBezTo>
                    <a:pt x="70" y="12"/>
                    <a:pt x="70" y="11"/>
                    <a:pt x="68" y="11"/>
                  </a:cubicBezTo>
                  <a:cubicBezTo>
                    <a:pt x="66" y="11"/>
                    <a:pt x="65" y="11"/>
                    <a:pt x="63" y="12"/>
                  </a:cubicBezTo>
                  <a:cubicBezTo>
                    <a:pt x="60" y="12"/>
                    <a:pt x="59" y="9"/>
                    <a:pt x="58" y="8"/>
                  </a:cubicBezTo>
                  <a:cubicBezTo>
                    <a:pt x="54" y="11"/>
                    <a:pt x="50" y="11"/>
                    <a:pt x="46" y="12"/>
                  </a:cubicBezTo>
                  <a:cubicBezTo>
                    <a:pt x="45" y="12"/>
                    <a:pt x="42" y="16"/>
                    <a:pt x="41" y="19"/>
                  </a:cubicBezTo>
                  <a:cubicBezTo>
                    <a:pt x="40" y="23"/>
                    <a:pt x="34" y="26"/>
                    <a:pt x="34" y="32"/>
                  </a:cubicBezTo>
                  <a:cubicBezTo>
                    <a:pt x="34" y="32"/>
                    <a:pt x="32" y="32"/>
                    <a:pt x="30" y="32"/>
                  </a:cubicBezTo>
                  <a:lnTo>
                    <a:pt x="30" y="32"/>
                  </a:lnTo>
                  <a:lnTo>
                    <a:pt x="28" y="38"/>
                  </a:lnTo>
                  <a:lnTo>
                    <a:pt x="28" y="38"/>
                  </a:lnTo>
                  <a:cubicBezTo>
                    <a:pt x="28" y="40"/>
                    <a:pt x="28" y="45"/>
                    <a:pt x="31" y="45"/>
                  </a:cubicBezTo>
                  <a:cubicBezTo>
                    <a:pt x="31" y="50"/>
                    <a:pt x="30" y="49"/>
                    <a:pt x="31" y="53"/>
                  </a:cubicBezTo>
                  <a:cubicBezTo>
                    <a:pt x="30" y="54"/>
                    <a:pt x="28" y="55"/>
                    <a:pt x="28" y="58"/>
                  </a:cubicBezTo>
                  <a:cubicBezTo>
                    <a:pt x="27" y="58"/>
                    <a:pt x="26" y="58"/>
                    <a:pt x="25" y="58"/>
                  </a:cubicBezTo>
                  <a:lnTo>
                    <a:pt x="25" y="58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Freeform 46"/>
            <p:cNvSpPr>
              <a:spLocks/>
            </p:cNvSpPr>
            <p:nvPr/>
          </p:nvSpPr>
          <p:spPr bwMode="auto">
            <a:xfrm>
              <a:off x="2297113" y="4089549"/>
              <a:ext cx="314325" cy="184150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19" y="0"/>
                </a:cxn>
                <a:cxn ang="0">
                  <a:pos x="25" y="1"/>
                </a:cxn>
                <a:cxn ang="0">
                  <a:pos x="23" y="5"/>
                </a:cxn>
                <a:cxn ang="0">
                  <a:pos x="27" y="8"/>
                </a:cxn>
                <a:cxn ang="0">
                  <a:pos x="24" y="11"/>
                </a:cxn>
                <a:cxn ang="0">
                  <a:pos x="18" y="13"/>
                </a:cxn>
                <a:cxn ang="0">
                  <a:pos x="15" y="16"/>
                </a:cxn>
                <a:cxn ang="0">
                  <a:pos x="10" y="14"/>
                </a:cxn>
                <a:cxn ang="0">
                  <a:pos x="5" y="14"/>
                </a:cxn>
                <a:cxn ang="0">
                  <a:pos x="4" y="11"/>
                </a:cxn>
                <a:cxn ang="0">
                  <a:pos x="1" y="8"/>
                </a:cxn>
                <a:cxn ang="0">
                  <a:pos x="3" y="5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</a:cxnLst>
              <a:rect l="0" t="0" r="r" b="b"/>
              <a:pathLst>
                <a:path w="27" h="16">
                  <a:moveTo>
                    <a:pt x="1" y="1"/>
                  </a:moveTo>
                  <a:lnTo>
                    <a:pt x="7" y="3"/>
                  </a:lnTo>
                  <a:lnTo>
                    <a:pt x="7" y="3"/>
                  </a:lnTo>
                  <a:cubicBezTo>
                    <a:pt x="12" y="2"/>
                    <a:pt x="15" y="0"/>
                    <a:pt x="19" y="0"/>
                  </a:cubicBezTo>
                  <a:cubicBezTo>
                    <a:pt x="21" y="0"/>
                    <a:pt x="24" y="1"/>
                    <a:pt x="25" y="1"/>
                  </a:cubicBezTo>
                  <a:cubicBezTo>
                    <a:pt x="25" y="4"/>
                    <a:pt x="23" y="4"/>
                    <a:pt x="23" y="5"/>
                  </a:cubicBezTo>
                  <a:cubicBezTo>
                    <a:pt x="23" y="6"/>
                    <a:pt x="26" y="8"/>
                    <a:pt x="27" y="8"/>
                  </a:cubicBezTo>
                  <a:cubicBezTo>
                    <a:pt x="25" y="9"/>
                    <a:pt x="24" y="9"/>
                    <a:pt x="24" y="11"/>
                  </a:cubicBezTo>
                  <a:cubicBezTo>
                    <a:pt x="24" y="11"/>
                    <a:pt x="20" y="13"/>
                    <a:pt x="18" y="13"/>
                  </a:cubicBezTo>
                  <a:cubicBezTo>
                    <a:pt x="18" y="14"/>
                    <a:pt x="17" y="16"/>
                    <a:pt x="15" y="16"/>
                  </a:cubicBezTo>
                  <a:cubicBezTo>
                    <a:pt x="13" y="16"/>
                    <a:pt x="12" y="14"/>
                    <a:pt x="10" y="14"/>
                  </a:cubicBezTo>
                  <a:cubicBezTo>
                    <a:pt x="8" y="14"/>
                    <a:pt x="6" y="13"/>
                    <a:pt x="5" y="14"/>
                  </a:cubicBezTo>
                  <a:cubicBezTo>
                    <a:pt x="5" y="13"/>
                    <a:pt x="4" y="12"/>
                    <a:pt x="4" y="11"/>
                  </a:cubicBezTo>
                  <a:cubicBezTo>
                    <a:pt x="1" y="12"/>
                    <a:pt x="1" y="10"/>
                    <a:pt x="1" y="8"/>
                  </a:cubicBezTo>
                  <a:cubicBezTo>
                    <a:pt x="1" y="7"/>
                    <a:pt x="3" y="7"/>
                    <a:pt x="3" y="5"/>
                  </a:cubicBezTo>
                  <a:cubicBezTo>
                    <a:pt x="3" y="2"/>
                    <a:pt x="0" y="2"/>
                    <a:pt x="2" y="1"/>
                  </a:cubicBezTo>
                  <a:cubicBezTo>
                    <a:pt x="1" y="1"/>
                    <a:pt x="2" y="1"/>
                    <a:pt x="1" y="1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Freeform 47"/>
            <p:cNvSpPr>
              <a:spLocks/>
            </p:cNvSpPr>
            <p:nvPr/>
          </p:nvSpPr>
          <p:spPr bwMode="auto">
            <a:xfrm>
              <a:off x="2505075" y="4229248"/>
              <a:ext cx="106363" cy="6985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6"/>
                </a:cxn>
                <a:cxn ang="0">
                  <a:pos x="9" y="4"/>
                </a:cxn>
                <a:cxn ang="0">
                  <a:pos x="6" y="0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w="9" h="6">
                  <a:moveTo>
                    <a:pt x="0" y="1"/>
                  </a:moveTo>
                  <a:cubicBezTo>
                    <a:pt x="1" y="2"/>
                    <a:pt x="1" y="6"/>
                    <a:pt x="1" y="6"/>
                  </a:cubicBezTo>
                  <a:cubicBezTo>
                    <a:pt x="1" y="6"/>
                    <a:pt x="8" y="4"/>
                    <a:pt x="9" y="4"/>
                  </a:cubicBezTo>
                  <a:cubicBezTo>
                    <a:pt x="8" y="2"/>
                    <a:pt x="6" y="2"/>
                    <a:pt x="6" y="0"/>
                  </a:cubicBezTo>
                  <a:cubicBezTo>
                    <a:pt x="6" y="0"/>
                    <a:pt x="2" y="0"/>
                    <a:pt x="0" y="1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Freeform 48"/>
            <p:cNvSpPr>
              <a:spLocks/>
            </p:cNvSpPr>
            <p:nvPr/>
          </p:nvSpPr>
          <p:spPr bwMode="auto">
            <a:xfrm>
              <a:off x="2193925" y="4240360"/>
              <a:ext cx="311150" cy="336550"/>
            </a:xfrm>
            <a:custGeom>
              <a:avLst/>
              <a:gdLst/>
              <a:ahLst/>
              <a:cxnLst>
                <a:cxn ang="0">
                  <a:pos x="27" y="5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16" y="8"/>
                </a:cxn>
                <a:cxn ang="0">
                  <a:pos x="14" y="9"/>
                </a:cxn>
                <a:cxn ang="0">
                  <a:pos x="13" y="8"/>
                </a:cxn>
                <a:cxn ang="0">
                  <a:pos x="11" y="7"/>
                </a:cxn>
                <a:cxn ang="0">
                  <a:pos x="11" y="8"/>
                </a:cxn>
                <a:cxn ang="0">
                  <a:pos x="14" y="12"/>
                </a:cxn>
                <a:cxn ang="0">
                  <a:pos x="14" y="17"/>
                </a:cxn>
                <a:cxn ang="0">
                  <a:pos x="12" y="23"/>
                </a:cxn>
                <a:cxn ang="0">
                  <a:pos x="14" y="25"/>
                </a:cxn>
                <a:cxn ang="0">
                  <a:pos x="12" y="26"/>
                </a:cxn>
                <a:cxn ang="0">
                  <a:pos x="11" y="29"/>
                </a:cxn>
                <a:cxn ang="0">
                  <a:pos x="11" y="25"/>
                </a:cxn>
                <a:cxn ang="0">
                  <a:pos x="7" y="26"/>
                </a:cxn>
                <a:cxn ang="0">
                  <a:pos x="7" y="19"/>
                </a:cxn>
                <a:cxn ang="0">
                  <a:pos x="0" y="12"/>
                </a:cxn>
                <a:cxn ang="0">
                  <a:pos x="5" y="5"/>
                </a:cxn>
                <a:cxn ang="0">
                  <a:pos x="14" y="1"/>
                </a:cxn>
                <a:cxn ang="0">
                  <a:pos x="19" y="1"/>
                </a:cxn>
                <a:cxn ang="0">
                  <a:pos x="24" y="3"/>
                </a:cxn>
                <a:cxn ang="0">
                  <a:pos x="27" y="0"/>
                </a:cxn>
                <a:cxn ang="0">
                  <a:pos x="27" y="5"/>
                </a:cxn>
                <a:cxn ang="0">
                  <a:pos x="27" y="5"/>
                </a:cxn>
              </a:cxnLst>
              <a:rect l="0" t="0" r="r" b="b"/>
              <a:pathLst>
                <a:path w="27" h="29">
                  <a:moveTo>
                    <a:pt x="27" y="5"/>
                  </a:moveTo>
                  <a:lnTo>
                    <a:pt x="20" y="3"/>
                  </a:lnTo>
                  <a:lnTo>
                    <a:pt x="20" y="3"/>
                  </a:lnTo>
                  <a:cubicBezTo>
                    <a:pt x="18" y="4"/>
                    <a:pt x="14" y="5"/>
                    <a:pt x="16" y="8"/>
                  </a:cubicBezTo>
                  <a:cubicBezTo>
                    <a:pt x="15" y="8"/>
                    <a:pt x="15" y="9"/>
                    <a:pt x="14" y="9"/>
                  </a:cubicBezTo>
                  <a:cubicBezTo>
                    <a:pt x="14" y="9"/>
                    <a:pt x="13" y="8"/>
                    <a:pt x="13" y="8"/>
                  </a:cubicBezTo>
                  <a:cubicBezTo>
                    <a:pt x="12" y="8"/>
                    <a:pt x="11" y="7"/>
                    <a:pt x="11" y="7"/>
                  </a:cubicBezTo>
                  <a:cubicBezTo>
                    <a:pt x="11" y="7"/>
                    <a:pt x="11" y="8"/>
                    <a:pt x="11" y="8"/>
                  </a:cubicBezTo>
                  <a:cubicBezTo>
                    <a:pt x="11" y="9"/>
                    <a:pt x="13" y="12"/>
                    <a:pt x="14" y="12"/>
                  </a:cubicBezTo>
                  <a:cubicBezTo>
                    <a:pt x="14" y="14"/>
                    <a:pt x="14" y="15"/>
                    <a:pt x="14" y="17"/>
                  </a:cubicBezTo>
                  <a:cubicBezTo>
                    <a:pt x="14" y="19"/>
                    <a:pt x="14" y="24"/>
                    <a:pt x="12" y="23"/>
                  </a:cubicBezTo>
                  <a:cubicBezTo>
                    <a:pt x="12" y="24"/>
                    <a:pt x="14" y="24"/>
                    <a:pt x="14" y="25"/>
                  </a:cubicBezTo>
                  <a:cubicBezTo>
                    <a:pt x="14" y="26"/>
                    <a:pt x="13" y="27"/>
                    <a:pt x="12" y="26"/>
                  </a:cubicBezTo>
                  <a:cubicBezTo>
                    <a:pt x="11" y="27"/>
                    <a:pt x="11" y="28"/>
                    <a:pt x="11" y="29"/>
                  </a:cubicBezTo>
                  <a:cubicBezTo>
                    <a:pt x="10" y="27"/>
                    <a:pt x="10" y="26"/>
                    <a:pt x="11" y="25"/>
                  </a:cubicBezTo>
                  <a:cubicBezTo>
                    <a:pt x="8" y="26"/>
                    <a:pt x="8" y="26"/>
                    <a:pt x="7" y="26"/>
                  </a:cubicBezTo>
                  <a:cubicBezTo>
                    <a:pt x="7" y="23"/>
                    <a:pt x="6" y="22"/>
                    <a:pt x="7" y="19"/>
                  </a:cubicBezTo>
                  <a:cubicBezTo>
                    <a:pt x="1" y="19"/>
                    <a:pt x="1" y="15"/>
                    <a:pt x="0" y="12"/>
                  </a:cubicBezTo>
                  <a:cubicBezTo>
                    <a:pt x="3" y="10"/>
                    <a:pt x="4" y="8"/>
                    <a:pt x="5" y="5"/>
                  </a:cubicBezTo>
                  <a:cubicBezTo>
                    <a:pt x="9" y="5"/>
                    <a:pt x="11" y="3"/>
                    <a:pt x="14" y="1"/>
                  </a:cubicBezTo>
                  <a:cubicBezTo>
                    <a:pt x="15" y="1"/>
                    <a:pt x="17" y="1"/>
                    <a:pt x="19" y="1"/>
                  </a:cubicBezTo>
                  <a:cubicBezTo>
                    <a:pt x="21" y="1"/>
                    <a:pt x="22" y="3"/>
                    <a:pt x="24" y="3"/>
                  </a:cubicBezTo>
                  <a:cubicBezTo>
                    <a:pt x="26" y="3"/>
                    <a:pt x="26" y="1"/>
                    <a:pt x="27" y="0"/>
                  </a:cubicBezTo>
                  <a:cubicBezTo>
                    <a:pt x="27" y="1"/>
                    <a:pt x="27" y="5"/>
                    <a:pt x="27" y="5"/>
                  </a:cubicBezTo>
                  <a:lnTo>
                    <a:pt x="27" y="5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Freeform 49"/>
            <p:cNvSpPr>
              <a:spLocks/>
            </p:cNvSpPr>
            <p:nvPr/>
          </p:nvSpPr>
          <p:spPr bwMode="auto">
            <a:xfrm>
              <a:off x="2136775" y="4192736"/>
              <a:ext cx="103188" cy="187325"/>
            </a:xfrm>
            <a:custGeom>
              <a:avLst/>
              <a:gdLst/>
              <a:ahLst/>
              <a:cxnLst>
                <a:cxn ang="0">
                  <a:pos x="9" y="9"/>
                </a:cxn>
                <a:cxn ang="0">
                  <a:pos x="3" y="0"/>
                </a:cxn>
                <a:cxn ang="0">
                  <a:pos x="0" y="7"/>
                </a:cxn>
                <a:cxn ang="0">
                  <a:pos x="2" y="12"/>
                </a:cxn>
                <a:cxn ang="0">
                  <a:pos x="5" y="16"/>
                </a:cxn>
                <a:cxn ang="0">
                  <a:pos x="9" y="9"/>
                </a:cxn>
                <a:cxn ang="0">
                  <a:pos x="9" y="9"/>
                </a:cxn>
              </a:cxnLst>
              <a:rect l="0" t="0" r="r" b="b"/>
              <a:pathLst>
                <a:path w="9" h="16">
                  <a:moveTo>
                    <a:pt x="9" y="9"/>
                  </a:moveTo>
                  <a:cubicBezTo>
                    <a:pt x="6" y="4"/>
                    <a:pt x="4" y="0"/>
                    <a:pt x="3" y="0"/>
                  </a:cubicBezTo>
                  <a:cubicBezTo>
                    <a:pt x="0" y="0"/>
                    <a:pt x="2" y="3"/>
                    <a:pt x="0" y="7"/>
                  </a:cubicBezTo>
                  <a:cubicBezTo>
                    <a:pt x="0" y="8"/>
                    <a:pt x="1" y="10"/>
                    <a:pt x="2" y="12"/>
                  </a:cubicBezTo>
                  <a:cubicBezTo>
                    <a:pt x="2" y="12"/>
                    <a:pt x="5" y="14"/>
                    <a:pt x="5" y="16"/>
                  </a:cubicBezTo>
                  <a:cubicBezTo>
                    <a:pt x="8" y="14"/>
                    <a:pt x="9" y="12"/>
                    <a:pt x="9" y="9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Freeform 50"/>
            <p:cNvSpPr>
              <a:spLocks/>
            </p:cNvSpPr>
            <p:nvPr/>
          </p:nvSpPr>
          <p:spPr bwMode="auto">
            <a:xfrm>
              <a:off x="1476375" y="3429149"/>
              <a:ext cx="428626" cy="463550"/>
            </a:xfrm>
            <a:custGeom>
              <a:avLst/>
              <a:gdLst/>
              <a:ahLst/>
              <a:cxnLst>
                <a:cxn ang="0">
                  <a:pos x="37" y="20"/>
                </a:cxn>
                <a:cxn ang="0">
                  <a:pos x="32" y="5"/>
                </a:cxn>
                <a:cxn ang="0">
                  <a:pos x="26" y="3"/>
                </a:cxn>
                <a:cxn ang="0">
                  <a:pos x="19" y="6"/>
                </a:cxn>
                <a:cxn ang="0">
                  <a:pos x="11" y="0"/>
                </a:cxn>
                <a:cxn ang="0">
                  <a:pos x="11" y="0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8" y="4"/>
                </a:cxn>
                <a:cxn ang="0">
                  <a:pos x="10" y="6"/>
                </a:cxn>
                <a:cxn ang="0">
                  <a:pos x="6" y="8"/>
                </a:cxn>
                <a:cxn ang="0">
                  <a:pos x="3" y="16"/>
                </a:cxn>
                <a:cxn ang="0">
                  <a:pos x="3" y="16"/>
                </a:cxn>
                <a:cxn ang="0">
                  <a:pos x="0" y="21"/>
                </a:cxn>
                <a:cxn ang="0">
                  <a:pos x="0" y="21"/>
                </a:cxn>
                <a:cxn ang="0">
                  <a:pos x="2" y="21"/>
                </a:cxn>
                <a:cxn ang="0">
                  <a:pos x="2" y="21"/>
                </a:cxn>
                <a:cxn ang="0">
                  <a:pos x="4" y="24"/>
                </a:cxn>
                <a:cxn ang="0">
                  <a:pos x="3" y="27"/>
                </a:cxn>
                <a:cxn ang="0">
                  <a:pos x="3" y="31"/>
                </a:cxn>
                <a:cxn ang="0">
                  <a:pos x="3" y="31"/>
                </a:cxn>
                <a:cxn ang="0">
                  <a:pos x="3" y="31"/>
                </a:cxn>
                <a:cxn ang="0">
                  <a:pos x="10" y="32"/>
                </a:cxn>
                <a:cxn ang="0">
                  <a:pos x="7" y="40"/>
                </a:cxn>
                <a:cxn ang="0">
                  <a:pos x="18" y="39"/>
                </a:cxn>
                <a:cxn ang="0">
                  <a:pos x="33" y="39"/>
                </a:cxn>
                <a:cxn ang="0">
                  <a:pos x="31" y="36"/>
                </a:cxn>
                <a:cxn ang="0">
                  <a:pos x="32" y="34"/>
                </a:cxn>
                <a:cxn ang="0">
                  <a:pos x="32" y="34"/>
                </a:cxn>
                <a:cxn ang="0">
                  <a:pos x="32" y="34"/>
                </a:cxn>
                <a:cxn ang="0">
                  <a:pos x="32" y="34"/>
                </a:cxn>
                <a:cxn ang="0">
                  <a:pos x="34" y="34"/>
                </a:cxn>
                <a:cxn ang="0">
                  <a:pos x="24" y="24"/>
                </a:cxn>
                <a:cxn ang="0">
                  <a:pos x="37" y="20"/>
                </a:cxn>
                <a:cxn ang="0">
                  <a:pos x="37" y="20"/>
                </a:cxn>
              </a:cxnLst>
              <a:rect l="0" t="0" r="r" b="b"/>
              <a:pathLst>
                <a:path w="37" h="40">
                  <a:moveTo>
                    <a:pt x="37" y="20"/>
                  </a:moveTo>
                  <a:cubicBezTo>
                    <a:pt x="35" y="15"/>
                    <a:pt x="35" y="11"/>
                    <a:pt x="32" y="5"/>
                  </a:cubicBezTo>
                  <a:cubicBezTo>
                    <a:pt x="30" y="5"/>
                    <a:pt x="30" y="3"/>
                    <a:pt x="26" y="3"/>
                  </a:cubicBezTo>
                  <a:cubicBezTo>
                    <a:pt x="23" y="3"/>
                    <a:pt x="22" y="6"/>
                    <a:pt x="19" y="6"/>
                  </a:cubicBezTo>
                  <a:cubicBezTo>
                    <a:pt x="18" y="6"/>
                    <a:pt x="11" y="0"/>
                    <a:pt x="11" y="0"/>
                  </a:cubicBezTo>
                  <a:lnTo>
                    <a:pt x="11" y="0"/>
                  </a:lnTo>
                  <a:lnTo>
                    <a:pt x="10" y="0"/>
                  </a:lnTo>
                  <a:lnTo>
                    <a:pt x="10" y="0"/>
                  </a:lnTo>
                  <a:cubicBezTo>
                    <a:pt x="8" y="1"/>
                    <a:pt x="8" y="1"/>
                    <a:pt x="8" y="4"/>
                  </a:cubicBezTo>
                  <a:cubicBezTo>
                    <a:pt x="8" y="4"/>
                    <a:pt x="9" y="5"/>
                    <a:pt x="10" y="6"/>
                  </a:cubicBezTo>
                  <a:cubicBezTo>
                    <a:pt x="8" y="6"/>
                    <a:pt x="7" y="7"/>
                    <a:pt x="6" y="8"/>
                  </a:cubicBezTo>
                  <a:cubicBezTo>
                    <a:pt x="5" y="13"/>
                    <a:pt x="3" y="11"/>
                    <a:pt x="3" y="16"/>
                  </a:cubicBezTo>
                  <a:lnTo>
                    <a:pt x="3" y="16"/>
                  </a:lnTo>
                  <a:lnTo>
                    <a:pt x="0" y="21"/>
                  </a:lnTo>
                  <a:lnTo>
                    <a:pt x="0" y="21"/>
                  </a:lnTo>
                  <a:cubicBezTo>
                    <a:pt x="2" y="21"/>
                    <a:pt x="2" y="22"/>
                    <a:pt x="2" y="21"/>
                  </a:cubicBezTo>
                  <a:lnTo>
                    <a:pt x="2" y="21"/>
                  </a:lnTo>
                  <a:lnTo>
                    <a:pt x="4" y="24"/>
                  </a:lnTo>
                  <a:lnTo>
                    <a:pt x="3" y="27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cubicBezTo>
                    <a:pt x="5" y="31"/>
                    <a:pt x="7" y="31"/>
                    <a:pt x="10" y="32"/>
                  </a:cubicBezTo>
                  <a:cubicBezTo>
                    <a:pt x="8" y="34"/>
                    <a:pt x="8" y="37"/>
                    <a:pt x="7" y="40"/>
                  </a:cubicBezTo>
                  <a:cubicBezTo>
                    <a:pt x="10" y="39"/>
                    <a:pt x="14" y="40"/>
                    <a:pt x="18" y="39"/>
                  </a:cubicBezTo>
                  <a:cubicBezTo>
                    <a:pt x="23" y="40"/>
                    <a:pt x="29" y="40"/>
                    <a:pt x="33" y="39"/>
                  </a:cubicBezTo>
                  <a:cubicBezTo>
                    <a:pt x="32" y="38"/>
                    <a:pt x="31" y="38"/>
                    <a:pt x="31" y="36"/>
                  </a:cubicBezTo>
                  <a:cubicBezTo>
                    <a:pt x="31" y="36"/>
                    <a:pt x="32" y="35"/>
                    <a:pt x="32" y="34"/>
                  </a:cubicBezTo>
                  <a:lnTo>
                    <a:pt x="32" y="34"/>
                  </a:lnTo>
                  <a:lnTo>
                    <a:pt x="32" y="34"/>
                  </a:lnTo>
                  <a:lnTo>
                    <a:pt x="32" y="34"/>
                  </a:lnTo>
                  <a:cubicBezTo>
                    <a:pt x="33" y="34"/>
                    <a:pt x="33" y="34"/>
                    <a:pt x="34" y="34"/>
                  </a:cubicBezTo>
                  <a:cubicBezTo>
                    <a:pt x="25" y="29"/>
                    <a:pt x="29" y="27"/>
                    <a:pt x="24" y="24"/>
                  </a:cubicBezTo>
                  <a:cubicBezTo>
                    <a:pt x="32" y="26"/>
                    <a:pt x="32" y="20"/>
                    <a:pt x="37" y="20"/>
                  </a:cubicBezTo>
                  <a:lnTo>
                    <a:pt x="37" y="2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Freeform 51"/>
            <p:cNvSpPr>
              <a:spLocks/>
            </p:cNvSpPr>
            <p:nvPr/>
          </p:nvSpPr>
          <p:spPr bwMode="auto">
            <a:xfrm>
              <a:off x="1511300" y="3881585"/>
              <a:ext cx="196850" cy="92075"/>
            </a:xfrm>
            <a:custGeom>
              <a:avLst/>
              <a:gdLst/>
              <a:ahLst/>
              <a:cxnLst>
                <a:cxn ang="0">
                  <a:pos x="17" y="4"/>
                </a:cxn>
                <a:cxn ang="0">
                  <a:pos x="12" y="8"/>
                </a:cxn>
                <a:cxn ang="0">
                  <a:pos x="8" y="6"/>
                </a:cxn>
                <a:cxn ang="0">
                  <a:pos x="5" y="8"/>
                </a:cxn>
                <a:cxn ang="0">
                  <a:pos x="5" y="8"/>
                </a:cxn>
                <a:cxn ang="0">
                  <a:pos x="3" y="8"/>
                </a:cxn>
                <a:cxn ang="0">
                  <a:pos x="3" y="8"/>
                </a:cxn>
                <a:cxn ang="0">
                  <a:pos x="0" y="6"/>
                </a:cxn>
                <a:cxn ang="0">
                  <a:pos x="3" y="1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4" y="3"/>
                </a:cxn>
                <a:cxn ang="0">
                  <a:pos x="14" y="3"/>
                </a:cxn>
                <a:cxn ang="0">
                  <a:pos x="17" y="4"/>
                </a:cxn>
                <a:cxn ang="0">
                  <a:pos x="17" y="4"/>
                </a:cxn>
              </a:cxnLst>
              <a:rect l="0" t="0" r="r" b="b"/>
              <a:pathLst>
                <a:path w="17" h="8">
                  <a:moveTo>
                    <a:pt x="17" y="4"/>
                  </a:moveTo>
                  <a:cubicBezTo>
                    <a:pt x="16" y="4"/>
                    <a:pt x="12" y="7"/>
                    <a:pt x="12" y="8"/>
                  </a:cubicBezTo>
                  <a:cubicBezTo>
                    <a:pt x="11" y="8"/>
                    <a:pt x="8" y="8"/>
                    <a:pt x="8" y="6"/>
                  </a:cubicBezTo>
                  <a:cubicBezTo>
                    <a:pt x="7" y="7"/>
                    <a:pt x="7" y="8"/>
                    <a:pt x="5" y="8"/>
                  </a:cubicBez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cubicBezTo>
                    <a:pt x="3" y="8"/>
                    <a:pt x="0" y="7"/>
                    <a:pt x="0" y="6"/>
                  </a:cubicBezTo>
                  <a:cubicBezTo>
                    <a:pt x="1" y="5"/>
                    <a:pt x="2" y="4"/>
                    <a:pt x="3" y="1"/>
                  </a:cubicBezTo>
                  <a:cubicBezTo>
                    <a:pt x="6" y="1"/>
                    <a:pt x="11" y="0"/>
                    <a:pt x="16" y="0"/>
                  </a:cubicBezTo>
                  <a:lnTo>
                    <a:pt x="16" y="0"/>
                  </a:lnTo>
                  <a:lnTo>
                    <a:pt x="14" y="3"/>
                  </a:lnTo>
                  <a:lnTo>
                    <a:pt x="14" y="3"/>
                  </a:lnTo>
                  <a:cubicBezTo>
                    <a:pt x="15" y="4"/>
                    <a:pt x="11" y="4"/>
                    <a:pt x="17" y="4"/>
                  </a:cubicBezTo>
                  <a:lnTo>
                    <a:pt x="17" y="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Freeform 52"/>
            <p:cNvSpPr>
              <a:spLocks/>
            </p:cNvSpPr>
            <p:nvPr/>
          </p:nvSpPr>
          <p:spPr bwMode="auto">
            <a:xfrm>
              <a:off x="1546225" y="3926036"/>
              <a:ext cx="555625" cy="547688"/>
            </a:xfrm>
            <a:custGeom>
              <a:avLst/>
              <a:gdLst/>
              <a:ahLst/>
              <a:cxnLst>
                <a:cxn ang="0">
                  <a:pos x="28" y="9"/>
                </a:cxn>
                <a:cxn ang="0">
                  <a:pos x="24" y="5"/>
                </a:cxn>
                <a:cxn ang="0">
                  <a:pos x="21" y="11"/>
                </a:cxn>
                <a:cxn ang="0">
                  <a:pos x="25" y="16"/>
                </a:cxn>
                <a:cxn ang="0">
                  <a:pos x="31" y="21"/>
                </a:cxn>
                <a:cxn ang="0">
                  <a:pos x="31" y="21"/>
                </a:cxn>
                <a:cxn ang="0">
                  <a:pos x="36" y="26"/>
                </a:cxn>
                <a:cxn ang="0">
                  <a:pos x="36" y="26"/>
                </a:cxn>
                <a:cxn ang="0">
                  <a:pos x="41" y="29"/>
                </a:cxn>
                <a:cxn ang="0">
                  <a:pos x="48" y="34"/>
                </a:cxn>
                <a:cxn ang="0">
                  <a:pos x="47" y="36"/>
                </a:cxn>
                <a:cxn ang="0">
                  <a:pos x="47" y="36"/>
                </a:cxn>
                <a:cxn ang="0">
                  <a:pos x="45" y="35"/>
                </a:cxn>
                <a:cxn ang="0">
                  <a:pos x="45" y="35"/>
                </a:cxn>
                <a:cxn ang="0">
                  <a:pos x="43" y="34"/>
                </a:cxn>
                <a:cxn ang="0">
                  <a:pos x="41" y="34"/>
                </a:cxn>
                <a:cxn ang="0">
                  <a:pos x="41" y="36"/>
                </a:cxn>
                <a:cxn ang="0">
                  <a:pos x="43" y="39"/>
                </a:cxn>
                <a:cxn ang="0">
                  <a:pos x="41" y="42"/>
                </a:cxn>
                <a:cxn ang="0">
                  <a:pos x="40" y="47"/>
                </a:cxn>
                <a:cxn ang="0">
                  <a:pos x="36" y="46"/>
                </a:cxn>
                <a:cxn ang="0">
                  <a:pos x="39" y="41"/>
                </a:cxn>
                <a:cxn ang="0">
                  <a:pos x="33" y="33"/>
                </a:cxn>
                <a:cxn ang="0">
                  <a:pos x="28" y="30"/>
                </a:cxn>
                <a:cxn ang="0">
                  <a:pos x="10" y="14"/>
                </a:cxn>
                <a:cxn ang="0">
                  <a:pos x="6" y="14"/>
                </a:cxn>
                <a:cxn ang="0">
                  <a:pos x="2" y="15"/>
                </a:cxn>
                <a:cxn ang="0">
                  <a:pos x="0" y="9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5" y="2"/>
                </a:cxn>
                <a:cxn ang="0">
                  <a:pos x="9" y="4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2"/>
                </a:cxn>
                <a:cxn ang="0">
                  <a:pos x="28" y="9"/>
                </a:cxn>
                <a:cxn ang="0">
                  <a:pos x="28" y="9"/>
                </a:cxn>
              </a:cxnLst>
              <a:rect l="0" t="0" r="r" b="b"/>
              <a:pathLst>
                <a:path w="48" h="47">
                  <a:moveTo>
                    <a:pt x="28" y="9"/>
                  </a:moveTo>
                  <a:cubicBezTo>
                    <a:pt x="27" y="9"/>
                    <a:pt x="25" y="9"/>
                    <a:pt x="24" y="5"/>
                  </a:cubicBezTo>
                  <a:cubicBezTo>
                    <a:pt x="20" y="7"/>
                    <a:pt x="21" y="7"/>
                    <a:pt x="21" y="11"/>
                  </a:cubicBezTo>
                  <a:cubicBezTo>
                    <a:pt x="21" y="14"/>
                    <a:pt x="23" y="16"/>
                    <a:pt x="25" y="16"/>
                  </a:cubicBezTo>
                  <a:cubicBezTo>
                    <a:pt x="25" y="18"/>
                    <a:pt x="30" y="20"/>
                    <a:pt x="31" y="21"/>
                  </a:cubicBezTo>
                  <a:lnTo>
                    <a:pt x="31" y="21"/>
                  </a:lnTo>
                  <a:lnTo>
                    <a:pt x="36" y="26"/>
                  </a:lnTo>
                  <a:lnTo>
                    <a:pt x="36" y="26"/>
                  </a:lnTo>
                  <a:cubicBezTo>
                    <a:pt x="38" y="28"/>
                    <a:pt x="39" y="30"/>
                    <a:pt x="41" y="29"/>
                  </a:cubicBezTo>
                  <a:cubicBezTo>
                    <a:pt x="42" y="30"/>
                    <a:pt x="47" y="34"/>
                    <a:pt x="48" y="34"/>
                  </a:cubicBezTo>
                  <a:cubicBezTo>
                    <a:pt x="48" y="34"/>
                    <a:pt x="47" y="36"/>
                    <a:pt x="47" y="36"/>
                  </a:cubicBezTo>
                  <a:lnTo>
                    <a:pt x="47" y="36"/>
                  </a:lnTo>
                  <a:lnTo>
                    <a:pt x="45" y="35"/>
                  </a:lnTo>
                  <a:lnTo>
                    <a:pt x="45" y="35"/>
                  </a:lnTo>
                  <a:cubicBezTo>
                    <a:pt x="45" y="35"/>
                    <a:pt x="43" y="34"/>
                    <a:pt x="43" y="34"/>
                  </a:cubicBezTo>
                  <a:cubicBezTo>
                    <a:pt x="43" y="34"/>
                    <a:pt x="42" y="34"/>
                    <a:pt x="41" y="34"/>
                  </a:cubicBezTo>
                  <a:cubicBezTo>
                    <a:pt x="41" y="34"/>
                    <a:pt x="41" y="35"/>
                    <a:pt x="41" y="36"/>
                  </a:cubicBezTo>
                  <a:cubicBezTo>
                    <a:pt x="41" y="37"/>
                    <a:pt x="42" y="39"/>
                    <a:pt x="43" y="39"/>
                  </a:cubicBezTo>
                  <a:cubicBezTo>
                    <a:pt x="43" y="40"/>
                    <a:pt x="42" y="42"/>
                    <a:pt x="41" y="42"/>
                  </a:cubicBezTo>
                  <a:cubicBezTo>
                    <a:pt x="41" y="44"/>
                    <a:pt x="40" y="45"/>
                    <a:pt x="40" y="47"/>
                  </a:cubicBezTo>
                  <a:cubicBezTo>
                    <a:pt x="39" y="47"/>
                    <a:pt x="36" y="46"/>
                    <a:pt x="36" y="46"/>
                  </a:cubicBezTo>
                  <a:cubicBezTo>
                    <a:pt x="37" y="44"/>
                    <a:pt x="39" y="43"/>
                    <a:pt x="39" y="41"/>
                  </a:cubicBezTo>
                  <a:cubicBezTo>
                    <a:pt x="39" y="38"/>
                    <a:pt x="35" y="34"/>
                    <a:pt x="33" y="33"/>
                  </a:cubicBezTo>
                  <a:cubicBezTo>
                    <a:pt x="29" y="32"/>
                    <a:pt x="28" y="30"/>
                    <a:pt x="28" y="30"/>
                  </a:cubicBezTo>
                  <a:cubicBezTo>
                    <a:pt x="16" y="28"/>
                    <a:pt x="12" y="16"/>
                    <a:pt x="10" y="14"/>
                  </a:cubicBezTo>
                  <a:cubicBezTo>
                    <a:pt x="8" y="14"/>
                    <a:pt x="7" y="14"/>
                    <a:pt x="6" y="14"/>
                  </a:cubicBezTo>
                  <a:cubicBezTo>
                    <a:pt x="4" y="14"/>
                    <a:pt x="3" y="14"/>
                    <a:pt x="2" y="15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8"/>
                    <a:pt x="0" y="7"/>
                    <a:pt x="0" y="5"/>
                  </a:cubicBezTo>
                  <a:lnTo>
                    <a:pt x="0" y="5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cubicBezTo>
                    <a:pt x="4" y="4"/>
                    <a:pt x="4" y="3"/>
                    <a:pt x="5" y="2"/>
                  </a:cubicBezTo>
                  <a:cubicBezTo>
                    <a:pt x="5" y="4"/>
                    <a:pt x="8" y="4"/>
                    <a:pt x="9" y="4"/>
                  </a:cubicBezTo>
                  <a:cubicBezTo>
                    <a:pt x="9" y="3"/>
                    <a:pt x="14" y="0"/>
                    <a:pt x="14" y="0"/>
                  </a:cubicBezTo>
                  <a:lnTo>
                    <a:pt x="14" y="0"/>
                  </a:lnTo>
                  <a:lnTo>
                    <a:pt x="20" y="0"/>
                  </a:lnTo>
                  <a:lnTo>
                    <a:pt x="20" y="0"/>
                  </a:lnTo>
                  <a:cubicBezTo>
                    <a:pt x="22" y="2"/>
                    <a:pt x="25" y="2"/>
                    <a:pt x="28" y="2"/>
                  </a:cubicBezTo>
                  <a:cubicBezTo>
                    <a:pt x="28" y="5"/>
                    <a:pt x="26" y="7"/>
                    <a:pt x="28" y="9"/>
                  </a:cubicBezTo>
                  <a:lnTo>
                    <a:pt x="28" y="9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Freeform 53"/>
            <p:cNvSpPr>
              <a:spLocks/>
            </p:cNvSpPr>
            <p:nvPr/>
          </p:nvSpPr>
          <p:spPr bwMode="auto">
            <a:xfrm>
              <a:off x="955675" y="3659336"/>
              <a:ext cx="636588" cy="547688"/>
            </a:xfrm>
            <a:custGeom>
              <a:avLst/>
              <a:gdLst/>
              <a:ahLst/>
              <a:cxnLst>
                <a:cxn ang="0">
                  <a:pos x="12" y="40"/>
                </a:cxn>
                <a:cxn ang="0">
                  <a:pos x="12" y="36"/>
                </a:cxn>
                <a:cxn ang="0">
                  <a:pos x="13" y="30"/>
                </a:cxn>
                <a:cxn ang="0">
                  <a:pos x="11" y="22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4" y="13"/>
                </a:cxn>
                <a:cxn ang="0">
                  <a:pos x="4" y="13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3" y="15"/>
                </a:cxn>
                <a:cxn ang="0">
                  <a:pos x="13" y="15"/>
                </a:cxn>
                <a:cxn ang="0">
                  <a:pos x="13" y="8"/>
                </a:cxn>
                <a:cxn ang="0">
                  <a:pos x="13" y="8"/>
                </a:cxn>
                <a:cxn ang="0">
                  <a:pos x="16" y="10"/>
                </a:cxn>
                <a:cxn ang="0">
                  <a:pos x="26" y="1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3"/>
                </a:cxn>
                <a:cxn ang="0">
                  <a:pos x="32" y="3"/>
                </a:cxn>
                <a:cxn ang="0">
                  <a:pos x="44" y="9"/>
                </a:cxn>
                <a:cxn ang="0">
                  <a:pos x="48" y="11"/>
                </a:cxn>
                <a:cxn ang="0">
                  <a:pos x="48" y="11"/>
                </a:cxn>
                <a:cxn ang="0">
                  <a:pos x="48" y="11"/>
                </a:cxn>
                <a:cxn ang="0">
                  <a:pos x="48" y="11"/>
                </a:cxn>
                <a:cxn ang="0">
                  <a:pos x="55" y="12"/>
                </a:cxn>
                <a:cxn ang="0">
                  <a:pos x="48" y="25"/>
                </a:cxn>
                <a:cxn ang="0">
                  <a:pos x="51" y="27"/>
                </a:cxn>
                <a:cxn ang="0">
                  <a:pos x="51" y="27"/>
                </a:cxn>
                <a:cxn ang="0">
                  <a:pos x="51" y="29"/>
                </a:cxn>
                <a:cxn ang="0">
                  <a:pos x="51" y="29"/>
                </a:cxn>
                <a:cxn ang="0">
                  <a:pos x="51" y="32"/>
                </a:cxn>
                <a:cxn ang="0">
                  <a:pos x="53" y="38"/>
                </a:cxn>
                <a:cxn ang="0">
                  <a:pos x="41" y="42"/>
                </a:cxn>
                <a:cxn ang="0">
                  <a:pos x="37" y="41"/>
                </a:cxn>
                <a:cxn ang="0">
                  <a:pos x="32" y="46"/>
                </a:cxn>
                <a:cxn ang="0">
                  <a:pos x="25" y="45"/>
                </a:cxn>
                <a:cxn ang="0">
                  <a:pos x="23" y="46"/>
                </a:cxn>
                <a:cxn ang="0">
                  <a:pos x="12" y="40"/>
                </a:cxn>
                <a:cxn ang="0">
                  <a:pos x="12" y="40"/>
                </a:cxn>
              </a:cxnLst>
              <a:rect l="0" t="0" r="r" b="b"/>
              <a:pathLst>
                <a:path w="55" h="47">
                  <a:moveTo>
                    <a:pt x="12" y="40"/>
                  </a:moveTo>
                  <a:cubicBezTo>
                    <a:pt x="13" y="39"/>
                    <a:pt x="12" y="37"/>
                    <a:pt x="12" y="36"/>
                  </a:cubicBezTo>
                  <a:cubicBezTo>
                    <a:pt x="12" y="32"/>
                    <a:pt x="13" y="32"/>
                    <a:pt x="13" y="30"/>
                  </a:cubicBezTo>
                  <a:cubicBezTo>
                    <a:pt x="13" y="28"/>
                    <a:pt x="12" y="24"/>
                    <a:pt x="11" y="22"/>
                  </a:cubicBezTo>
                  <a:cubicBezTo>
                    <a:pt x="10" y="22"/>
                    <a:pt x="0" y="17"/>
                    <a:pt x="0" y="16"/>
                  </a:cubicBez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cubicBezTo>
                    <a:pt x="1" y="15"/>
                    <a:pt x="3" y="13"/>
                    <a:pt x="4" y="13"/>
                  </a:cubicBezTo>
                  <a:lnTo>
                    <a:pt x="4" y="13"/>
                  </a:lnTo>
                  <a:lnTo>
                    <a:pt x="8" y="15"/>
                  </a:lnTo>
                  <a:lnTo>
                    <a:pt x="8" y="15"/>
                  </a:lnTo>
                  <a:cubicBezTo>
                    <a:pt x="9" y="14"/>
                    <a:pt x="12" y="14"/>
                    <a:pt x="13" y="15"/>
                  </a:cubicBezTo>
                  <a:lnTo>
                    <a:pt x="13" y="15"/>
                  </a:lnTo>
                  <a:lnTo>
                    <a:pt x="13" y="8"/>
                  </a:lnTo>
                  <a:lnTo>
                    <a:pt x="13" y="8"/>
                  </a:lnTo>
                  <a:cubicBezTo>
                    <a:pt x="14" y="9"/>
                    <a:pt x="14" y="10"/>
                    <a:pt x="16" y="10"/>
                  </a:cubicBezTo>
                  <a:cubicBezTo>
                    <a:pt x="20" y="10"/>
                    <a:pt x="25" y="4"/>
                    <a:pt x="26" y="1"/>
                  </a:cubicBezTo>
                  <a:cubicBezTo>
                    <a:pt x="28" y="1"/>
                    <a:pt x="30" y="0"/>
                    <a:pt x="32" y="0"/>
                  </a:cubicBez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cubicBezTo>
                    <a:pt x="36" y="4"/>
                    <a:pt x="40" y="7"/>
                    <a:pt x="44" y="9"/>
                  </a:cubicBezTo>
                  <a:cubicBezTo>
                    <a:pt x="44" y="9"/>
                    <a:pt x="47" y="11"/>
                    <a:pt x="48" y="11"/>
                  </a:cubicBez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cubicBezTo>
                    <a:pt x="50" y="11"/>
                    <a:pt x="52" y="11"/>
                    <a:pt x="55" y="12"/>
                  </a:cubicBezTo>
                  <a:cubicBezTo>
                    <a:pt x="52" y="15"/>
                    <a:pt x="51" y="23"/>
                    <a:pt x="48" y="25"/>
                  </a:cubicBezTo>
                  <a:cubicBezTo>
                    <a:pt x="48" y="26"/>
                    <a:pt x="51" y="27"/>
                    <a:pt x="51" y="27"/>
                  </a:cubicBezTo>
                  <a:lnTo>
                    <a:pt x="51" y="27"/>
                  </a:lnTo>
                  <a:lnTo>
                    <a:pt x="51" y="29"/>
                  </a:lnTo>
                  <a:lnTo>
                    <a:pt x="51" y="29"/>
                  </a:lnTo>
                  <a:cubicBezTo>
                    <a:pt x="51" y="31"/>
                    <a:pt x="51" y="31"/>
                    <a:pt x="51" y="32"/>
                  </a:cubicBezTo>
                  <a:cubicBezTo>
                    <a:pt x="51" y="34"/>
                    <a:pt x="52" y="37"/>
                    <a:pt x="53" y="38"/>
                  </a:cubicBezTo>
                  <a:cubicBezTo>
                    <a:pt x="49" y="41"/>
                    <a:pt x="47" y="46"/>
                    <a:pt x="41" y="42"/>
                  </a:cubicBezTo>
                  <a:cubicBezTo>
                    <a:pt x="40" y="41"/>
                    <a:pt x="39" y="41"/>
                    <a:pt x="37" y="41"/>
                  </a:cubicBezTo>
                  <a:cubicBezTo>
                    <a:pt x="34" y="41"/>
                    <a:pt x="32" y="44"/>
                    <a:pt x="32" y="46"/>
                  </a:cubicBezTo>
                  <a:cubicBezTo>
                    <a:pt x="29" y="46"/>
                    <a:pt x="26" y="47"/>
                    <a:pt x="25" y="45"/>
                  </a:cubicBezTo>
                  <a:cubicBezTo>
                    <a:pt x="25" y="45"/>
                    <a:pt x="24" y="46"/>
                    <a:pt x="23" y="46"/>
                  </a:cubicBezTo>
                  <a:cubicBezTo>
                    <a:pt x="20" y="46"/>
                    <a:pt x="13" y="43"/>
                    <a:pt x="12" y="40"/>
                  </a:cubicBezTo>
                  <a:lnTo>
                    <a:pt x="12" y="4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Freeform 54"/>
            <p:cNvSpPr>
              <a:spLocks/>
            </p:cNvSpPr>
            <p:nvPr/>
          </p:nvSpPr>
          <p:spPr bwMode="auto">
            <a:xfrm>
              <a:off x="1362074" y="3522810"/>
              <a:ext cx="184151" cy="150813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" y="10"/>
                </a:cxn>
                <a:cxn ang="0">
                  <a:pos x="2" y="5"/>
                </a:cxn>
                <a:cxn ang="0">
                  <a:pos x="4" y="3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8" y="6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5" y="1"/>
                </a:cxn>
                <a:cxn ang="0">
                  <a:pos x="10" y="1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3" y="8"/>
                </a:cxn>
                <a:cxn ang="0">
                  <a:pos x="13" y="8"/>
                </a:cxn>
                <a:cxn ang="0">
                  <a:pos x="10" y="13"/>
                </a:cxn>
                <a:cxn ang="0">
                  <a:pos x="10" y="13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0" y="10"/>
                </a:cxn>
                <a:cxn ang="0">
                  <a:pos x="0" y="10"/>
                </a:cxn>
              </a:cxnLst>
              <a:rect l="0" t="0" r="r" b="b"/>
              <a:pathLst>
                <a:path w="16" h="13">
                  <a:moveTo>
                    <a:pt x="0" y="10"/>
                  </a:moveTo>
                  <a:cubicBezTo>
                    <a:pt x="1" y="10"/>
                    <a:pt x="0" y="11"/>
                    <a:pt x="1" y="10"/>
                  </a:cubicBezTo>
                  <a:cubicBezTo>
                    <a:pt x="0" y="7"/>
                    <a:pt x="1" y="7"/>
                    <a:pt x="2" y="5"/>
                  </a:cubicBezTo>
                  <a:cubicBezTo>
                    <a:pt x="2" y="4"/>
                    <a:pt x="3" y="3"/>
                    <a:pt x="4" y="3"/>
                  </a:cubicBezTo>
                  <a:cubicBezTo>
                    <a:pt x="4" y="4"/>
                    <a:pt x="4" y="5"/>
                    <a:pt x="5" y="6"/>
                  </a:cubicBezTo>
                  <a:lnTo>
                    <a:pt x="5" y="6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4"/>
                  </a:lnTo>
                  <a:cubicBezTo>
                    <a:pt x="6" y="4"/>
                    <a:pt x="5" y="3"/>
                    <a:pt x="5" y="1"/>
                  </a:cubicBezTo>
                  <a:cubicBezTo>
                    <a:pt x="8" y="1"/>
                    <a:pt x="8" y="1"/>
                    <a:pt x="10" y="1"/>
                  </a:cubicBezTo>
                  <a:cubicBezTo>
                    <a:pt x="11" y="1"/>
                    <a:pt x="12" y="0"/>
                    <a:pt x="12" y="0"/>
                  </a:cubicBezTo>
                  <a:cubicBezTo>
                    <a:pt x="13" y="0"/>
                    <a:pt x="14" y="0"/>
                    <a:pt x="16" y="0"/>
                  </a:cubicBezTo>
                  <a:cubicBezTo>
                    <a:pt x="15" y="5"/>
                    <a:pt x="13" y="3"/>
                    <a:pt x="13" y="8"/>
                  </a:cubicBezTo>
                  <a:lnTo>
                    <a:pt x="13" y="8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8" y="11"/>
                  </a:lnTo>
                  <a:cubicBezTo>
                    <a:pt x="8" y="11"/>
                    <a:pt x="1" y="10"/>
                    <a:pt x="0" y="1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Freeform 55"/>
            <p:cNvSpPr>
              <a:spLocks/>
            </p:cNvSpPr>
            <p:nvPr/>
          </p:nvSpPr>
          <p:spPr bwMode="auto">
            <a:xfrm>
              <a:off x="1327149" y="3648223"/>
              <a:ext cx="184151" cy="106363"/>
            </a:xfrm>
            <a:custGeom>
              <a:avLst/>
              <a:gdLst/>
              <a:ahLst/>
              <a:cxnLst>
                <a:cxn ang="0">
                  <a:pos x="16" y="6"/>
                </a:cxn>
                <a:cxn ang="0">
                  <a:pos x="11" y="9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12" y="0"/>
                </a:cxn>
                <a:cxn ang="0">
                  <a:pos x="13" y="2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6" y="6"/>
                </a:cxn>
              </a:cxnLst>
              <a:rect l="0" t="0" r="r" b="b"/>
              <a:pathLst>
                <a:path w="16" h="9">
                  <a:moveTo>
                    <a:pt x="16" y="6"/>
                  </a:moveTo>
                  <a:cubicBezTo>
                    <a:pt x="14" y="6"/>
                    <a:pt x="12" y="8"/>
                    <a:pt x="11" y="9"/>
                  </a:cubicBezTo>
                  <a:cubicBezTo>
                    <a:pt x="7" y="8"/>
                    <a:pt x="4" y="5"/>
                    <a:pt x="0" y="4"/>
                  </a:cubicBezTo>
                  <a:lnTo>
                    <a:pt x="0" y="4"/>
                  </a:lnTo>
                  <a:lnTo>
                    <a:pt x="0" y="1"/>
                  </a:lnTo>
                  <a:lnTo>
                    <a:pt x="0" y="1"/>
                  </a:lnTo>
                  <a:cubicBezTo>
                    <a:pt x="0" y="0"/>
                    <a:pt x="1" y="0"/>
                    <a:pt x="2" y="0"/>
                  </a:cubicBezTo>
                  <a:cubicBezTo>
                    <a:pt x="4" y="0"/>
                    <a:pt x="11" y="1"/>
                    <a:pt x="12" y="0"/>
                  </a:cubicBezTo>
                  <a:cubicBezTo>
                    <a:pt x="12" y="1"/>
                    <a:pt x="13" y="2"/>
                    <a:pt x="13" y="2"/>
                  </a:cubicBezTo>
                  <a:cubicBezTo>
                    <a:pt x="14" y="2"/>
                    <a:pt x="15" y="3"/>
                    <a:pt x="15" y="2"/>
                  </a:cubicBezTo>
                  <a:lnTo>
                    <a:pt x="15" y="2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Freeform 56"/>
            <p:cNvSpPr>
              <a:spLocks/>
            </p:cNvSpPr>
            <p:nvPr/>
          </p:nvSpPr>
          <p:spPr bwMode="auto">
            <a:xfrm>
              <a:off x="1465263" y="3730774"/>
              <a:ext cx="46037" cy="4603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4" h="4">
                  <a:moveTo>
                    <a:pt x="0" y="2"/>
                  </a:moveTo>
                  <a:cubicBezTo>
                    <a:pt x="1" y="1"/>
                    <a:pt x="0" y="1"/>
                    <a:pt x="1" y="1"/>
                  </a:cubicBezTo>
                  <a:lnTo>
                    <a:pt x="1" y="1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cubicBezTo>
                    <a:pt x="3" y="4"/>
                    <a:pt x="0" y="2"/>
                    <a:pt x="0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Freeform 57"/>
            <p:cNvSpPr>
              <a:spLocks/>
            </p:cNvSpPr>
            <p:nvPr/>
          </p:nvSpPr>
          <p:spPr bwMode="auto">
            <a:xfrm>
              <a:off x="2482850" y="4218136"/>
              <a:ext cx="1017588" cy="392113"/>
            </a:xfrm>
            <a:custGeom>
              <a:avLst/>
              <a:gdLst/>
              <a:ahLst/>
              <a:cxnLst>
                <a:cxn ang="0">
                  <a:pos x="83" y="13"/>
                </a:cxn>
                <a:cxn ang="0">
                  <a:pos x="83" y="10"/>
                </a:cxn>
                <a:cxn ang="0">
                  <a:pos x="79" y="4"/>
                </a:cxn>
                <a:cxn ang="0">
                  <a:pos x="67" y="2"/>
                </a:cxn>
                <a:cxn ang="0">
                  <a:pos x="58" y="5"/>
                </a:cxn>
                <a:cxn ang="0">
                  <a:pos x="53" y="6"/>
                </a:cxn>
                <a:cxn ang="0">
                  <a:pos x="51" y="4"/>
                </a:cxn>
                <a:cxn ang="0">
                  <a:pos x="43" y="3"/>
                </a:cxn>
                <a:cxn ang="0">
                  <a:pos x="43" y="1"/>
                </a:cxn>
                <a:cxn ang="0">
                  <a:pos x="41" y="2"/>
                </a:cxn>
                <a:cxn ang="0">
                  <a:pos x="38" y="0"/>
                </a:cxn>
                <a:cxn ang="0">
                  <a:pos x="21" y="4"/>
                </a:cxn>
                <a:cxn ang="0">
                  <a:pos x="21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1" y="5"/>
                </a:cxn>
                <a:cxn ang="0">
                  <a:pos x="14" y="6"/>
                </a:cxn>
                <a:cxn ang="0">
                  <a:pos x="9" y="8"/>
                </a:cxn>
                <a:cxn ang="0">
                  <a:pos x="5" y="8"/>
                </a:cxn>
                <a:cxn ang="0">
                  <a:pos x="0" y="12"/>
                </a:cxn>
                <a:cxn ang="0">
                  <a:pos x="2" y="17"/>
                </a:cxn>
                <a:cxn ang="0">
                  <a:pos x="5" y="21"/>
                </a:cxn>
                <a:cxn ang="0">
                  <a:pos x="4" y="24"/>
                </a:cxn>
                <a:cxn ang="0">
                  <a:pos x="6" y="24"/>
                </a:cxn>
                <a:cxn ang="0">
                  <a:pos x="16" y="30"/>
                </a:cxn>
                <a:cxn ang="0">
                  <a:pos x="21" y="33"/>
                </a:cxn>
                <a:cxn ang="0">
                  <a:pos x="23" y="31"/>
                </a:cxn>
                <a:cxn ang="0">
                  <a:pos x="25" y="28"/>
                </a:cxn>
                <a:cxn ang="0">
                  <a:pos x="33" y="33"/>
                </a:cxn>
                <a:cxn ang="0">
                  <a:pos x="41" y="29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7" y="28"/>
                </a:cxn>
                <a:cxn ang="0">
                  <a:pos x="47" y="28"/>
                </a:cxn>
                <a:cxn ang="0">
                  <a:pos x="47" y="34"/>
                </a:cxn>
                <a:cxn ang="0">
                  <a:pos x="52" y="29"/>
                </a:cxn>
                <a:cxn ang="0">
                  <a:pos x="62" y="29"/>
                </a:cxn>
                <a:cxn ang="0">
                  <a:pos x="78" y="24"/>
                </a:cxn>
                <a:cxn ang="0">
                  <a:pos x="81" y="25"/>
                </a:cxn>
                <a:cxn ang="0">
                  <a:pos x="88" y="27"/>
                </a:cxn>
                <a:cxn ang="0">
                  <a:pos x="84" y="15"/>
                </a:cxn>
                <a:cxn ang="0">
                  <a:pos x="83" y="13"/>
                </a:cxn>
                <a:cxn ang="0">
                  <a:pos x="83" y="13"/>
                </a:cxn>
              </a:cxnLst>
              <a:rect l="0" t="0" r="r" b="b"/>
              <a:pathLst>
                <a:path w="88" h="34">
                  <a:moveTo>
                    <a:pt x="83" y="13"/>
                  </a:moveTo>
                  <a:cubicBezTo>
                    <a:pt x="83" y="12"/>
                    <a:pt x="83" y="11"/>
                    <a:pt x="83" y="10"/>
                  </a:cubicBezTo>
                  <a:cubicBezTo>
                    <a:pt x="79" y="11"/>
                    <a:pt x="80" y="5"/>
                    <a:pt x="79" y="4"/>
                  </a:cubicBezTo>
                  <a:cubicBezTo>
                    <a:pt x="76" y="2"/>
                    <a:pt x="72" y="2"/>
                    <a:pt x="67" y="2"/>
                  </a:cubicBezTo>
                  <a:cubicBezTo>
                    <a:pt x="66" y="2"/>
                    <a:pt x="61" y="5"/>
                    <a:pt x="58" y="5"/>
                  </a:cubicBezTo>
                  <a:cubicBezTo>
                    <a:pt x="57" y="5"/>
                    <a:pt x="55" y="6"/>
                    <a:pt x="53" y="6"/>
                  </a:cubicBezTo>
                  <a:cubicBezTo>
                    <a:pt x="52" y="6"/>
                    <a:pt x="51" y="5"/>
                    <a:pt x="51" y="4"/>
                  </a:cubicBezTo>
                  <a:cubicBezTo>
                    <a:pt x="48" y="5"/>
                    <a:pt x="46" y="3"/>
                    <a:pt x="43" y="3"/>
                  </a:cubicBezTo>
                  <a:cubicBezTo>
                    <a:pt x="43" y="3"/>
                    <a:pt x="43" y="2"/>
                    <a:pt x="43" y="1"/>
                  </a:cubicBezTo>
                  <a:cubicBezTo>
                    <a:pt x="43" y="1"/>
                    <a:pt x="41" y="2"/>
                    <a:pt x="41" y="2"/>
                  </a:cubicBezTo>
                  <a:cubicBezTo>
                    <a:pt x="40" y="2"/>
                    <a:pt x="39" y="1"/>
                    <a:pt x="38" y="0"/>
                  </a:cubicBezTo>
                  <a:cubicBezTo>
                    <a:pt x="35" y="2"/>
                    <a:pt x="25" y="0"/>
                    <a:pt x="21" y="4"/>
                  </a:cubicBezTo>
                  <a:lnTo>
                    <a:pt x="21" y="4"/>
                  </a:lnTo>
                  <a:lnTo>
                    <a:pt x="12" y="4"/>
                  </a:lnTo>
                  <a:lnTo>
                    <a:pt x="12" y="4"/>
                  </a:lnTo>
                  <a:cubicBezTo>
                    <a:pt x="12" y="5"/>
                    <a:pt x="11" y="5"/>
                    <a:pt x="11" y="5"/>
                  </a:cubicBezTo>
                  <a:cubicBezTo>
                    <a:pt x="12" y="6"/>
                    <a:pt x="13" y="6"/>
                    <a:pt x="14" y="6"/>
                  </a:cubicBezTo>
                  <a:cubicBezTo>
                    <a:pt x="14" y="9"/>
                    <a:pt x="12" y="8"/>
                    <a:pt x="9" y="8"/>
                  </a:cubicBezTo>
                  <a:cubicBezTo>
                    <a:pt x="9" y="8"/>
                    <a:pt x="6" y="8"/>
                    <a:pt x="5" y="8"/>
                  </a:cubicBezTo>
                  <a:cubicBezTo>
                    <a:pt x="2" y="8"/>
                    <a:pt x="0" y="9"/>
                    <a:pt x="0" y="12"/>
                  </a:cubicBezTo>
                  <a:cubicBezTo>
                    <a:pt x="0" y="14"/>
                    <a:pt x="3" y="14"/>
                    <a:pt x="2" y="17"/>
                  </a:cubicBezTo>
                  <a:cubicBezTo>
                    <a:pt x="1" y="18"/>
                    <a:pt x="4" y="21"/>
                    <a:pt x="5" y="21"/>
                  </a:cubicBezTo>
                  <a:cubicBezTo>
                    <a:pt x="5" y="22"/>
                    <a:pt x="5" y="23"/>
                    <a:pt x="4" y="24"/>
                  </a:cubicBezTo>
                  <a:cubicBezTo>
                    <a:pt x="5" y="24"/>
                    <a:pt x="6" y="24"/>
                    <a:pt x="6" y="24"/>
                  </a:cubicBezTo>
                  <a:cubicBezTo>
                    <a:pt x="6" y="26"/>
                    <a:pt x="15" y="30"/>
                    <a:pt x="16" y="30"/>
                  </a:cubicBezTo>
                  <a:cubicBezTo>
                    <a:pt x="17" y="31"/>
                    <a:pt x="18" y="33"/>
                    <a:pt x="21" y="33"/>
                  </a:cubicBezTo>
                  <a:cubicBezTo>
                    <a:pt x="21" y="33"/>
                    <a:pt x="22" y="32"/>
                    <a:pt x="23" y="31"/>
                  </a:cubicBezTo>
                  <a:cubicBezTo>
                    <a:pt x="22" y="29"/>
                    <a:pt x="23" y="28"/>
                    <a:pt x="25" y="28"/>
                  </a:cubicBezTo>
                  <a:cubicBezTo>
                    <a:pt x="30" y="28"/>
                    <a:pt x="28" y="33"/>
                    <a:pt x="33" y="33"/>
                  </a:cubicBezTo>
                  <a:cubicBezTo>
                    <a:pt x="37" y="33"/>
                    <a:pt x="39" y="29"/>
                    <a:pt x="41" y="29"/>
                  </a:cubicBezTo>
                  <a:cubicBezTo>
                    <a:pt x="42" y="29"/>
                    <a:pt x="44" y="29"/>
                    <a:pt x="44" y="28"/>
                  </a:cubicBezTo>
                  <a:lnTo>
                    <a:pt x="44" y="28"/>
                  </a:lnTo>
                  <a:lnTo>
                    <a:pt x="47" y="28"/>
                  </a:lnTo>
                  <a:lnTo>
                    <a:pt x="47" y="28"/>
                  </a:lnTo>
                  <a:cubicBezTo>
                    <a:pt x="46" y="29"/>
                    <a:pt x="47" y="32"/>
                    <a:pt x="47" y="34"/>
                  </a:cubicBezTo>
                  <a:cubicBezTo>
                    <a:pt x="51" y="33"/>
                    <a:pt x="51" y="32"/>
                    <a:pt x="52" y="29"/>
                  </a:cubicBezTo>
                  <a:cubicBezTo>
                    <a:pt x="54" y="31"/>
                    <a:pt x="59" y="29"/>
                    <a:pt x="62" y="29"/>
                  </a:cubicBezTo>
                  <a:cubicBezTo>
                    <a:pt x="69" y="29"/>
                    <a:pt x="71" y="26"/>
                    <a:pt x="78" y="24"/>
                  </a:cubicBezTo>
                  <a:cubicBezTo>
                    <a:pt x="79" y="24"/>
                    <a:pt x="80" y="25"/>
                    <a:pt x="81" y="25"/>
                  </a:cubicBezTo>
                  <a:cubicBezTo>
                    <a:pt x="84" y="25"/>
                    <a:pt x="85" y="27"/>
                    <a:pt x="88" y="27"/>
                  </a:cubicBezTo>
                  <a:cubicBezTo>
                    <a:pt x="87" y="21"/>
                    <a:pt x="84" y="21"/>
                    <a:pt x="84" y="15"/>
                  </a:cubicBezTo>
                  <a:cubicBezTo>
                    <a:pt x="84" y="14"/>
                    <a:pt x="83" y="13"/>
                    <a:pt x="83" y="13"/>
                  </a:cubicBezTo>
                  <a:lnTo>
                    <a:pt x="83" y="1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Freeform 58"/>
            <p:cNvSpPr>
              <a:spLocks/>
            </p:cNvSpPr>
            <p:nvPr/>
          </p:nvSpPr>
          <p:spPr bwMode="auto">
            <a:xfrm>
              <a:off x="3014663" y="4680099"/>
              <a:ext cx="80962" cy="9366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7" y="3"/>
                </a:cxn>
                <a:cxn ang="0">
                  <a:pos x="7" y="3"/>
                </a:cxn>
                <a:cxn ang="0">
                  <a:pos x="3" y="8"/>
                </a:cxn>
                <a:cxn ang="0">
                  <a:pos x="0" y="5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7" h="8">
                  <a:moveTo>
                    <a:pt x="2" y="0"/>
                  </a:moveTo>
                  <a:cubicBezTo>
                    <a:pt x="3" y="0"/>
                    <a:pt x="5" y="1"/>
                    <a:pt x="7" y="0"/>
                  </a:cubicBezTo>
                  <a:lnTo>
                    <a:pt x="7" y="0"/>
                  </a:lnTo>
                  <a:lnTo>
                    <a:pt x="7" y="3"/>
                  </a:lnTo>
                  <a:lnTo>
                    <a:pt x="7" y="3"/>
                  </a:lnTo>
                  <a:cubicBezTo>
                    <a:pt x="6" y="4"/>
                    <a:pt x="3" y="8"/>
                    <a:pt x="3" y="8"/>
                  </a:cubicBezTo>
                  <a:cubicBezTo>
                    <a:pt x="2" y="8"/>
                    <a:pt x="2" y="5"/>
                    <a:pt x="0" y="5"/>
                  </a:cubicBezTo>
                  <a:cubicBezTo>
                    <a:pt x="1" y="2"/>
                    <a:pt x="1" y="2"/>
                    <a:pt x="2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Freeform 59"/>
            <p:cNvSpPr>
              <a:spLocks/>
            </p:cNvSpPr>
            <p:nvPr/>
          </p:nvSpPr>
          <p:spPr bwMode="auto">
            <a:xfrm>
              <a:off x="3003550" y="4507060"/>
              <a:ext cx="393701" cy="300038"/>
            </a:xfrm>
            <a:custGeom>
              <a:avLst/>
              <a:gdLst/>
              <a:ahLst/>
              <a:cxnLst>
                <a:cxn ang="0">
                  <a:pos x="3" y="15"/>
                </a:cxn>
                <a:cxn ang="0">
                  <a:pos x="3" y="13"/>
                </a:cxn>
                <a:cxn ang="0">
                  <a:pos x="0" y="11"/>
                </a:cxn>
                <a:cxn ang="0">
                  <a:pos x="1" y="9"/>
                </a:cxn>
                <a:cxn ang="0">
                  <a:pos x="7" y="4"/>
                </a:cxn>
                <a:cxn ang="0">
                  <a:pos x="17" y="4"/>
                </a:cxn>
                <a:cxn ang="0">
                  <a:pos x="34" y="0"/>
                </a:cxn>
                <a:cxn ang="0">
                  <a:pos x="28" y="6"/>
                </a:cxn>
                <a:cxn ang="0">
                  <a:pos x="28" y="17"/>
                </a:cxn>
                <a:cxn ang="0">
                  <a:pos x="20" y="22"/>
                </a:cxn>
                <a:cxn ang="0">
                  <a:pos x="20" y="22"/>
                </a:cxn>
                <a:cxn ang="0">
                  <a:pos x="9" y="2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8" y="18"/>
                </a:cxn>
                <a:cxn ang="0">
                  <a:pos x="8" y="18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3" y="15"/>
                </a:cxn>
                <a:cxn ang="0">
                  <a:pos x="3" y="15"/>
                </a:cxn>
              </a:cxnLst>
              <a:rect l="0" t="0" r="r" b="b"/>
              <a:pathLst>
                <a:path w="34" h="26">
                  <a:moveTo>
                    <a:pt x="3" y="15"/>
                  </a:moveTo>
                  <a:cubicBezTo>
                    <a:pt x="3" y="15"/>
                    <a:pt x="3" y="14"/>
                    <a:pt x="3" y="13"/>
                  </a:cubicBezTo>
                  <a:cubicBezTo>
                    <a:pt x="2" y="13"/>
                    <a:pt x="1" y="12"/>
                    <a:pt x="0" y="11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6" y="8"/>
                    <a:pt x="6" y="7"/>
                    <a:pt x="7" y="4"/>
                  </a:cubicBezTo>
                  <a:cubicBezTo>
                    <a:pt x="9" y="6"/>
                    <a:pt x="14" y="4"/>
                    <a:pt x="17" y="4"/>
                  </a:cubicBezTo>
                  <a:cubicBezTo>
                    <a:pt x="24" y="4"/>
                    <a:pt x="27" y="1"/>
                    <a:pt x="34" y="0"/>
                  </a:cubicBezTo>
                  <a:cubicBezTo>
                    <a:pt x="34" y="0"/>
                    <a:pt x="28" y="5"/>
                    <a:pt x="28" y="6"/>
                  </a:cubicBezTo>
                  <a:cubicBezTo>
                    <a:pt x="28" y="9"/>
                    <a:pt x="29" y="15"/>
                    <a:pt x="28" y="17"/>
                  </a:cubicBezTo>
                  <a:cubicBezTo>
                    <a:pt x="27" y="19"/>
                    <a:pt x="23" y="20"/>
                    <a:pt x="20" y="22"/>
                  </a:cubicBezTo>
                  <a:lnTo>
                    <a:pt x="20" y="22"/>
                  </a:lnTo>
                  <a:lnTo>
                    <a:pt x="9" y="26"/>
                  </a:lnTo>
                  <a:lnTo>
                    <a:pt x="4" y="24"/>
                  </a:lnTo>
                  <a:lnTo>
                    <a:pt x="4" y="24"/>
                  </a:lnTo>
                  <a:cubicBezTo>
                    <a:pt x="4" y="23"/>
                    <a:pt x="7" y="19"/>
                    <a:pt x="8" y="18"/>
                  </a:cubicBezTo>
                  <a:lnTo>
                    <a:pt x="8" y="18"/>
                  </a:lnTo>
                  <a:lnTo>
                    <a:pt x="8" y="15"/>
                  </a:lnTo>
                  <a:lnTo>
                    <a:pt x="8" y="15"/>
                  </a:lnTo>
                  <a:cubicBezTo>
                    <a:pt x="6" y="16"/>
                    <a:pt x="4" y="15"/>
                    <a:pt x="3" y="15"/>
                  </a:cubicBezTo>
                  <a:lnTo>
                    <a:pt x="3" y="15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Freeform 60"/>
            <p:cNvSpPr>
              <a:spLocks/>
            </p:cNvSpPr>
            <p:nvPr/>
          </p:nvSpPr>
          <p:spPr bwMode="auto">
            <a:xfrm>
              <a:off x="2979738" y="4738836"/>
              <a:ext cx="69850" cy="255588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6" y="3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5" y="2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22">
                  <a:moveTo>
                    <a:pt x="3" y="0"/>
                  </a:moveTo>
                  <a:cubicBezTo>
                    <a:pt x="5" y="0"/>
                    <a:pt x="5" y="3"/>
                    <a:pt x="6" y="3"/>
                  </a:cubicBezTo>
                  <a:cubicBezTo>
                    <a:pt x="6" y="4"/>
                    <a:pt x="6" y="5"/>
                    <a:pt x="6" y="6"/>
                  </a:cubicBezTo>
                  <a:lnTo>
                    <a:pt x="6" y="6"/>
                  </a:lnTo>
                  <a:lnTo>
                    <a:pt x="5" y="22"/>
                  </a:lnTo>
                  <a:lnTo>
                    <a:pt x="0" y="8"/>
                  </a:lnTo>
                  <a:lnTo>
                    <a:pt x="0" y="8"/>
                  </a:lnTo>
                  <a:cubicBezTo>
                    <a:pt x="0" y="8"/>
                    <a:pt x="2" y="3"/>
                    <a:pt x="3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Freeform 61"/>
            <p:cNvSpPr>
              <a:spLocks/>
            </p:cNvSpPr>
            <p:nvPr/>
          </p:nvSpPr>
          <p:spPr bwMode="auto">
            <a:xfrm>
              <a:off x="839789" y="3429149"/>
              <a:ext cx="58736" cy="57150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5" h="5">
                  <a:moveTo>
                    <a:pt x="4" y="4"/>
                  </a:moveTo>
                  <a:cubicBezTo>
                    <a:pt x="3" y="4"/>
                    <a:pt x="0" y="5"/>
                    <a:pt x="0" y="3"/>
                  </a:cubicBezTo>
                  <a:cubicBezTo>
                    <a:pt x="1" y="3"/>
                    <a:pt x="2" y="1"/>
                    <a:pt x="3" y="0"/>
                  </a:cubicBezTo>
                  <a:cubicBezTo>
                    <a:pt x="5" y="0"/>
                    <a:pt x="4" y="1"/>
                    <a:pt x="5" y="0"/>
                  </a:cubicBezTo>
                  <a:cubicBezTo>
                    <a:pt x="5" y="2"/>
                    <a:pt x="4" y="3"/>
                    <a:pt x="4" y="4"/>
                  </a:cubicBezTo>
                  <a:lnTo>
                    <a:pt x="4" y="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Freeform 62"/>
            <p:cNvSpPr>
              <a:spLocks/>
            </p:cNvSpPr>
            <p:nvPr/>
          </p:nvSpPr>
          <p:spPr bwMode="auto">
            <a:xfrm>
              <a:off x="690563" y="3359299"/>
              <a:ext cx="207962" cy="300037"/>
            </a:xfrm>
            <a:custGeom>
              <a:avLst/>
              <a:gdLst/>
              <a:ahLst/>
              <a:cxnLst>
                <a:cxn ang="0">
                  <a:pos x="16" y="6"/>
                </a:cxn>
                <a:cxn ang="0">
                  <a:pos x="13" y="9"/>
                </a:cxn>
                <a:cxn ang="0">
                  <a:pos x="18" y="11"/>
                </a:cxn>
                <a:cxn ang="0">
                  <a:pos x="18" y="17"/>
                </a:cxn>
                <a:cxn ang="0">
                  <a:pos x="16" y="21"/>
                </a:cxn>
                <a:cxn ang="0">
                  <a:pos x="13" y="22"/>
                </a:cxn>
                <a:cxn ang="0">
                  <a:pos x="9" y="23"/>
                </a:cxn>
                <a:cxn ang="0">
                  <a:pos x="1" y="26"/>
                </a:cxn>
                <a:cxn ang="0">
                  <a:pos x="1" y="26"/>
                </a:cxn>
                <a:cxn ang="0">
                  <a:pos x="2" y="24"/>
                </a:cxn>
                <a:cxn ang="0">
                  <a:pos x="2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1"/>
                </a:cxn>
                <a:cxn ang="0">
                  <a:pos x="0" y="21"/>
                </a:cxn>
                <a:cxn ang="0">
                  <a:pos x="2" y="19"/>
                </a:cxn>
                <a:cxn ang="0">
                  <a:pos x="6" y="18"/>
                </a:cxn>
                <a:cxn ang="0">
                  <a:pos x="3" y="18"/>
                </a:cxn>
                <a:cxn ang="0">
                  <a:pos x="4" y="15"/>
                </a:cxn>
                <a:cxn ang="0">
                  <a:pos x="0" y="12"/>
                </a:cxn>
                <a:cxn ang="0">
                  <a:pos x="3" y="10"/>
                </a:cxn>
                <a:cxn ang="0">
                  <a:pos x="7" y="10"/>
                </a:cxn>
                <a:cxn ang="0">
                  <a:pos x="9" y="5"/>
                </a:cxn>
                <a:cxn ang="0">
                  <a:pos x="14" y="1"/>
                </a:cxn>
                <a:cxn ang="0">
                  <a:pos x="15" y="6"/>
                </a:cxn>
                <a:cxn ang="0">
                  <a:pos x="15" y="6"/>
                </a:cxn>
                <a:cxn ang="0">
                  <a:pos x="16" y="6"/>
                </a:cxn>
              </a:cxnLst>
              <a:rect l="0" t="0" r="r" b="b"/>
              <a:pathLst>
                <a:path w="18" h="26">
                  <a:moveTo>
                    <a:pt x="16" y="6"/>
                  </a:moveTo>
                  <a:cubicBezTo>
                    <a:pt x="15" y="7"/>
                    <a:pt x="14" y="9"/>
                    <a:pt x="13" y="9"/>
                  </a:cubicBezTo>
                  <a:cubicBezTo>
                    <a:pt x="13" y="11"/>
                    <a:pt x="17" y="11"/>
                    <a:pt x="18" y="11"/>
                  </a:cubicBezTo>
                  <a:cubicBezTo>
                    <a:pt x="18" y="13"/>
                    <a:pt x="18" y="14"/>
                    <a:pt x="18" y="17"/>
                  </a:cubicBezTo>
                  <a:cubicBezTo>
                    <a:pt x="18" y="18"/>
                    <a:pt x="16" y="19"/>
                    <a:pt x="16" y="21"/>
                  </a:cubicBezTo>
                  <a:cubicBezTo>
                    <a:pt x="14" y="21"/>
                    <a:pt x="13" y="21"/>
                    <a:pt x="13" y="22"/>
                  </a:cubicBezTo>
                  <a:cubicBezTo>
                    <a:pt x="11" y="22"/>
                    <a:pt x="10" y="23"/>
                    <a:pt x="9" y="23"/>
                  </a:cubicBezTo>
                  <a:cubicBezTo>
                    <a:pt x="5" y="23"/>
                    <a:pt x="4" y="25"/>
                    <a:pt x="1" y="26"/>
                  </a:cubicBezTo>
                  <a:lnTo>
                    <a:pt x="1" y="26"/>
                  </a:lnTo>
                  <a:lnTo>
                    <a:pt x="2" y="24"/>
                  </a:lnTo>
                  <a:lnTo>
                    <a:pt x="2" y="24"/>
                  </a:lnTo>
                  <a:cubicBezTo>
                    <a:pt x="1" y="24"/>
                    <a:pt x="1" y="24"/>
                    <a:pt x="0" y="24"/>
                  </a:cubicBezTo>
                  <a:lnTo>
                    <a:pt x="0" y="24"/>
                  </a:lnTo>
                  <a:lnTo>
                    <a:pt x="0" y="21"/>
                  </a:lnTo>
                  <a:lnTo>
                    <a:pt x="0" y="21"/>
                  </a:lnTo>
                  <a:cubicBezTo>
                    <a:pt x="1" y="21"/>
                    <a:pt x="2" y="20"/>
                    <a:pt x="2" y="19"/>
                  </a:cubicBezTo>
                  <a:cubicBezTo>
                    <a:pt x="4" y="19"/>
                    <a:pt x="5" y="19"/>
                    <a:pt x="6" y="18"/>
                  </a:cubicBezTo>
                  <a:cubicBezTo>
                    <a:pt x="5" y="18"/>
                    <a:pt x="3" y="19"/>
                    <a:pt x="3" y="18"/>
                  </a:cubicBezTo>
                  <a:cubicBezTo>
                    <a:pt x="3" y="18"/>
                    <a:pt x="4" y="15"/>
                    <a:pt x="4" y="15"/>
                  </a:cubicBezTo>
                  <a:cubicBezTo>
                    <a:pt x="1" y="15"/>
                    <a:pt x="1" y="14"/>
                    <a:pt x="0" y="12"/>
                  </a:cubicBezTo>
                  <a:cubicBezTo>
                    <a:pt x="2" y="11"/>
                    <a:pt x="3" y="11"/>
                    <a:pt x="3" y="10"/>
                  </a:cubicBezTo>
                  <a:cubicBezTo>
                    <a:pt x="5" y="10"/>
                    <a:pt x="6" y="10"/>
                    <a:pt x="7" y="10"/>
                  </a:cubicBezTo>
                  <a:cubicBezTo>
                    <a:pt x="9" y="10"/>
                    <a:pt x="9" y="6"/>
                    <a:pt x="9" y="5"/>
                  </a:cubicBezTo>
                  <a:cubicBezTo>
                    <a:pt x="11" y="5"/>
                    <a:pt x="10" y="0"/>
                    <a:pt x="14" y="1"/>
                  </a:cubicBezTo>
                  <a:cubicBezTo>
                    <a:pt x="15" y="3"/>
                    <a:pt x="17" y="5"/>
                    <a:pt x="15" y="6"/>
                  </a:cubicBezTo>
                  <a:lnTo>
                    <a:pt x="15" y="6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Freeform 63"/>
            <p:cNvSpPr>
              <a:spLocks/>
            </p:cNvSpPr>
            <p:nvPr/>
          </p:nvSpPr>
          <p:spPr bwMode="auto">
            <a:xfrm>
              <a:off x="714374" y="4113361"/>
              <a:ext cx="623888" cy="485776"/>
            </a:xfrm>
            <a:custGeom>
              <a:avLst/>
              <a:gdLst/>
              <a:ahLst/>
              <a:cxnLst>
                <a:cxn ang="0">
                  <a:pos x="33" y="1"/>
                </a:cxn>
                <a:cxn ang="0">
                  <a:pos x="44" y="7"/>
                </a:cxn>
                <a:cxn ang="0">
                  <a:pos x="46" y="6"/>
                </a:cxn>
                <a:cxn ang="0">
                  <a:pos x="53" y="7"/>
                </a:cxn>
                <a:cxn ang="0">
                  <a:pos x="53" y="11"/>
                </a:cxn>
                <a:cxn ang="0">
                  <a:pos x="42" y="19"/>
                </a:cxn>
                <a:cxn ang="0">
                  <a:pos x="37" y="32"/>
                </a:cxn>
                <a:cxn ang="0">
                  <a:pos x="30" y="38"/>
                </a:cxn>
                <a:cxn ang="0">
                  <a:pos x="15" y="42"/>
                </a:cxn>
                <a:cxn ang="0">
                  <a:pos x="9" y="35"/>
                </a:cxn>
                <a:cxn ang="0">
                  <a:pos x="10" y="24"/>
                </a:cxn>
                <a:cxn ang="0">
                  <a:pos x="14" y="13"/>
                </a:cxn>
                <a:cxn ang="0">
                  <a:pos x="14" y="11"/>
                </a:cxn>
                <a:cxn ang="0">
                  <a:pos x="2" y="10"/>
                </a:cxn>
                <a:cxn ang="0">
                  <a:pos x="0" y="3"/>
                </a:cxn>
                <a:cxn ang="0">
                  <a:pos x="7" y="0"/>
                </a:cxn>
                <a:cxn ang="0">
                  <a:pos x="16" y="2"/>
                </a:cxn>
                <a:cxn ang="0">
                  <a:pos x="22" y="3"/>
                </a:cxn>
                <a:cxn ang="0">
                  <a:pos x="22" y="3"/>
                </a:cxn>
                <a:cxn ang="0">
                  <a:pos x="31" y="3"/>
                </a:cxn>
                <a:cxn ang="0">
                  <a:pos x="31" y="3"/>
                </a:cxn>
                <a:cxn ang="0">
                  <a:pos x="33" y="1"/>
                </a:cxn>
                <a:cxn ang="0">
                  <a:pos x="33" y="1"/>
                </a:cxn>
              </a:cxnLst>
              <a:rect l="0" t="0" r="r" b="b"/>
              <a:pathLst>
                <a:path w="54" h="42">
                  <a:moveTo>
                    <a:pt x="33" y="1"/>
                  </a:moveTo>
                  <a:cubicBezTo>
                    <a:pt x="34" y="4"/>
                    <a:pt x="41" y="7"/>
                    <a:pt x="44" y="7"/>
                  </a:cubicBezTo>
                  <a:cubicBezTo>
                    <a:pt x="45" y="7"/>
                    <a:pt x="46" y="6"/>
                    <a:pt x="46" y="6"/>
                  </a:cubicBezTo>
                  <a:cubicBezTo>
                    <a:pt x="47" y="8"/>
                    <a:pt x="50" y="7"/>
                    <a:pt x="53" y="7"/>
                  </a:cubicBezTo>
                  <a:cubicBezTo>
                    <a:pt x="53" y="8"/>
                    <a:pt x="54" y="11"/>
                    <a:pt x="53" y="11"/>
                  </a:cubicBezTo>
                  <a:cubicBezTo>
                    <a:pt x="47" y="12"/>
                    <a:pt x="45" y="17"/>
                    <a:pt x="42" y="19"/>
                  </a:cubicBezTo>
                  <a:cubicBezTo>
                    <a:pt x="35" y="23"/>
                    <a:pt x="42" y="27"/>
                    <a:pt x="37" y="32"/>
                  </a:cubicBezTo>
                  <a:cubicBezTo>
                    <a:pt x="27" y="39"/>
                    <a:pt x="33" y="38"/>
                    <a:pt x="30" y="38"/>
                  </a:cubicBezTo>
                  <a:cubicBezTo>
                    <a:pt x="18" y="37"/>
                    <a:pt x="17" y="42"/>
                    <a:pt x="15" y="42"/>
                  </a:cubicBezTo>
                  <a:cubicBezTo>
                    <a:pt x="13" y="41"/>
                    <a:pt x="12" y="35"/>
                    <a:pt x="9" y="35"/>
                  </a:cubicBezTo>
                  <a:cubicBezTo>
                    <a:pt x="11" y="31"/>
                    <a:pt x="10" y="29"/>
                    <a:pt x="10" y="24"/>
                  </a:cubicBezTo>
                  <a:cubicBezTo>
                    <a:pt x="10" y="23"/>
                    <a:pt x="14" y="14"/>
                    <a:pt x="14" y="13"/>
                  </a:cubicBezTo>
                  <a:cubicBezTo>
                    <a:pt x="14" y="12"/>
                    <a:pt x="14" y="12"/>
                    <a:pt x="14" y="11"/>
                  </a:cubicBezTo>
                  <a:cubicBezTo>
                    <a:pt x="10" y="11"/>
                    <a:pt x="6" y="10"/>
                    <a:pt x="2" y="10"/>
                  </a:cubicBezTo>
                  <a:cubicBezTo>
                    <a:pt x="2" y="8"/>
                    <a:pt x="0" y="4"/>
                    <a:pt x="0" y="3"/>
                  </a:cubicBezTo>
                  <a:cubicBezTo>
                    <a:pt x="4" y="3"/>
                    <a:pt x="5" y="0"/>
                    <a:pt x="7" y="0"/>
                  </a:cubicBezTo>
                  <a:cubicBezTo>
                    <a:pt x="11" y="0"/>
                    <a:pt x="13" y="2"/>
                    <a:pt x="16" y="2"/>
                  </a:cubicBezTo>
                  <a:cubicBezTo>
                    <a:pt x="19" y="2"/>
                    <a:pt x="20" y="3"/>
                    <a:pt x="22" y="3"/>
                  </a:cubicBezTo>
                  <a:lnTo>
                    <a:pt x="22" y="3"/>
                  </a:lnTo>
                  <a:lnTo>
                    <a:pt x="31" y="3"/>
                  </a:lnTo>
                  <a:lnTo>
                    <a:pt x="31" y="3"/>
                  </a:lnTo>
                  <a:cubicBezTo>
                    <a:pt x="31" y="3"/>
                    <a:pt x="32" y="2"/>
                    <a:pt x="33" y="1"/>
                  </a:cubicBezTo>
                  <a:lnTo>
                    <a:pt x="33" y="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Freeform 64"/>
            <p:cNvSpPr>
              <a:spLocks/>
            </p:cNvSpPr>
            <p:nvPr/>
          </p:nvSpPr>
          <p:spPr bwMode="auto">
            <a:xfrm>
              <a:off x="690563" y="4240360"/>
              <a:ext cx="184151" cy="300038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2" y="13"/>
                </a:cxn>
                <a:cxn ang="0">
                  <a:pos x="11" y="24"/>
                </a:cxn>
                <a:cxn ang="0">
                  <a:pos x="4" y="25"/>
                </a:cxn>
                <a:cxn ang="0">
                  <a:pos x="0" y="15"/>
                </a:cxn>
                <a:cxn ang="0">
                  <a:pos x="4" y="6"/>
                </a:cxn>
                <a:cxn ang="0">
                  <a:pos x="5" y="3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16" h="26">
                  <a:moveTo>
                    <a:pt x="5" y="0"/>
                  </a:moveTo>
                  <a:cubicBezTo>
                    <a:pt x="10" y="0"/>
                    <a:pt x="12" y="0"/>
                    <a:pt x="16" y="0"/>
                  </a:cubicBezTo>
                  <a:cubicBezTo>
                    <a:pt x="16" y="1"/>
                    <a:pt x="16" y="1"/>
                    <a:pt x="16" y="2"/>
                  </a:cubicBezTo>
                  <a:cubicBezTo>
                    <a:pt x="16" y="3"/>
                    <a:pt x="12" y="12"/>
                    <a:pt x="12" y="13"/>
                  </a:cubicBezTo>
                  <a:cubicBezTo>
                    <a:pt x="12" y="18"/>
                    <a:pt x="13" y="20"/>
                    <a:pt x="11" y="24"/>
                  </a:cubicBezTo>
                  <a:cubicBezTo>
                    <a:pt x="5" y="25"/>
                    <a:pt x="8" y="26"/>
                    <a:pt x="4" y="25"/>
                  </a:cubicBezTo>
                  <a:cubicBezTo>
                    <a:pt x="4" y="21"/>
                    <a:pt x="0" y="19"/>
                    <a:pt x="0" y="15"/>
                  </a:cubicBezTo>
                  <a:cubicBezTo>
                    <a:pt x="0" y="11"/>
                    <a:pt x="3" y="8"/>
                    <a:pt x="4" y="6"/>
                  </a:cubicBezTo>
                  <a:cubicBezTo>
                    <a:pt x="4" y="5"/>
                    <a:pt x="5" y="4"/>
                    <a:pt x="5" y="3"/>
                  </a:cubicBezTo>
                  <a:cubicBezTo>
                    <a:pt x="5" y="0"/>
                    <a:pt x="5" y="1"/>
                    <a:pt x="5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Freeform 65"/>
            <p:cNvSpPr>
              <a:spLocks/>
            </p:cNvSpPr>
            <p:nvPr/>
          </p:nvSpPr>
          <p:spPr bwMode="auto">
            <a:xfrm>
              <a:off x="1811338" y="4459436"/>
              <a:ext cx="139700" cy="10636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7" y="5"/>
                </a:cxn>
                <a:cxn ang="0">
                  <a:pos x="5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12" h="9">
                  <a:moveTo>
                    <a:pt x="7" y="0"/>
                  </a:moveTo>
                  <a:lnTo>
                    <a:pt x="8" y="2"/>
                  </a:lnTo>
                  <a:lnTo>
                    <a:pt x="8" y="2"/>
                  </a:lnTo>
                  <a:cubicBezTo>
                    <a:pt x="9" y="0"/>
                    <a:pt x="10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2" y="0"/>
                  </a:lnTo>
                  <a:lnTo>
                    <a:pt x="12" y="8"/>
                  </a:lnTo>
                  <a:lnTo>
                    <a:pt x="12" y="8"/>
                  </a:lnTo>
                  <a:cubicBezTo>
                    <a:pt x="10" y="9"/>
                    <a:pt x="8" y="7"/>
                    <a:pt x="7" y="5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4" y="5"/>
                    <a:pt x="0" y="3"/>
                    <a:pt x="0" y="0"/>
                  </a:cubicBezTo>
                  <a:lnTo>
                    <a:pt x="0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Freeform 66"/>
            <p:cNvSpPr>
              <a:spLocks/>
            </p:cNvSpPr>
            <p:nvPr/>
          </p:nvSpPr>
          <p:spPr bwMode="auto">
            <a:xfrm>
              <a:off x="2378075" y="4610249"/>
              <a:ext cx="150814" cy="587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" y="0"/>
                </a:cxn>
                <a:cxn ang="0">
                  <a:pos x="13" y="3"/>
                </a:cxn>
                <a:cxn ang="0">
                  <a:pos x="7" y="5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0"/>
                </a:cxn>
              </a:cxnLst>
              <a:rect l="0" t="0" r="r" b="b"/>
              <a:pathLst>
                <a:path w="13" h="5">
                  <a:moveTo>
                    <a:pt x="0" y="0"/>
                  </a:moveTo>
                  <a:cubicBezTo>
                    <a:pt x="6" y="0"/>
                    <a:pt x="10" y="3"/>
                    <a:pt x="13" y="0"/>
                  </a:cubicBezTo>
                  <a:cubicBezTo>
                    <a:pt x="13" y="2"/>
                    <a:pt x="13" y="2"/>
                    <a:pt x="13" y="3"/>
                  </a:cubicBezTo>
                  <a:cubicBezTo>
                    <a:pt x="11" y="4"/>
                    <a:pt x="8" y="5"/>
                    <a:pt x="7" y="5"/>
                  </a:cubicBezTo>
                  <a:cubicBezTo>
                    <a:pt x="4" y="5"/>
                    <a:pt x="3" y="3"/>
                    <a:pt x="0" y="3"/>
                  </a:cubicBez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Freeform 67"/>
            <p:cNvSpPr>
              <a:spLocks/>
            </p:cNvSpPr>
            <p:nvPr/>
          </p:nvSpPr>
          <p:spPr bwMode="auto">
            <a:xfrm>
              <a:off x="1581150" y="4262586"/>
              <a:ext cx="79376" cy="16351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5" y="0"/>
                </a:cxn>
                <a:cxn ang="0">
                  <a:pos x="7" y="6"/>
                </a:cxn>
                <a:cxn ang="0">
                  <a:pos x="7" y="6"/>
                </a:cxn>
                <a:cxn ang="0">
                  <a:pos x="7" y="9"/>
                </a:cxn>
                <a:cxn ang="0">
                  <a:pos x="7" y="9"/>
                </a:cxn>
                <a:cxn ang="0">
                  <a:pos x="5" y="14"/>
                </a:cxn>
                <a:cxn ang="0">
                  <a:pos x="0" y="3"/>
                </a:cxn>
                <a:cxn ang="0">
                  <a:pos x="0" y="3"/>
                </a:cxn>
              </a:cxnLst>
              <a:rect l="0" t="0" r="r" b="b"/>
              <a:pathLst>
                <a:path w="7" h="14">
                  <a:moveTo>
                    <a:pt x="0" y="3"/>
                  </a:moveTo>
                  <a:cubicBezTo>
                    <a:pt x="3" y="3"/>
                    <a:pt x="3" y="1"/>
                    <a:pt x="5" y="0"/>
                  </a:cubicBezTo>
                  <a:cubicBezTo>
                    <a:pt x="7" y="1"/>
                    <a:pt x="6" y="3"/>
                    <a:pt x="7" y="6"/>
                  </a:cubicBezTo>
                  <a:lnTo>
                    <a:pt x="7" y="6"/>
                  </a:lnTo>
                  <a:lnTo>
                    <a:pt x="7" y="9"/>
                  </a:lnTo>
                  <a:lnTo>
                    <a:pt x="7" y="9"/>
                  </a:lnTo>
                  <a:cubicBezTo>
                    <a:pt x="6" y="11"/>
                    <a:pt x="5" y="11"/>
                    <a:pt x="5" y="14"/>
                  </a:cubicBezTo>
                  <a:cubicBezTo>
                    <a:pt x="1" y="11"/>
                    <a:pt x="0" y="7"/>
                    <a:pt x="0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Freeform 68"/>
            <p:cNvSpPr>
              <a:spLocks/>
            </p:cNvSpPr>
            <p:nvPr/>
          </p:nvSpPr>
          <p:spPr bwMode="auto">
            <a:xfrm>
              <a:off x="1603375" y="4148285"/>
              <a:ext cx="46039" cy="103188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4" y="0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0" y="7"/>
                </a:cxn>
                <a:cxn ang="0">
                  <a:pos x="1" y="3"/>
                </a:cxn>
                <a:cxn ang="0">
                  <a:pos x="1" y="3"/>
                </a:cxn>
              </a:cxnLst>
              <a:rect l="0" t="0" r="r" b="b"/>
              <a:pathLst>
                <a:path w="4" h="9">
                  <a:moveTo>
                    <a:pt x="1" y="3"/>
                  </a:moveTo>
                  <a:cubicBezTo>
                    <a:pt x="1" y="3"/>
                    <a:pt x="4" y="0"/>
                    <a:pt x="4" y="0"/>
                  </a:cubicBezTo>
                  <a:cubicBezTo>
                    <a:pt x="4" y="3"/>
                    <a:pt x="3" y="8"/>
                    <a:pt x="4" y="9"/>
                  </a:cubicBezTo>
                  <a:cubicBezTo>
                    <a:pt x="3" y="9"/>
                    <a:pt x="2" y="9"/>
                    <a:pt x="1" y="9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0" y="7"/>
                    <a:pt x="1" y="3"/>
                    <a:pt x="1" y="3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Freeform 69"/>
            <p:cNvSpPr>
              <a:spLocks/>
            </p:cNvSpPr>
            <p:nvPr/>
          </p:nvSpPr>
          <p:spPr bwMode="auto">
            <a:xfrm>
              <a:off x="1974851" y="3256110"/>
              <a:ext cx="57150" cy="8096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0"/>
                </a:cxn>
                <a:cxn ang="0">
                  <a:pos x="5" y="1"/>
                </a:cxn>
                <a:cxn ang="0">
                  <a:pos x="0" y="3"/>
                </a:cxn>
                <a:cxn ang="0">
                  <a:pos x="0" y="3"/>
                </a:cxn>
              </a:cxnLst>
              <a:rect l="0" t="0" r="r" b="b"/>
              <a:pathLst>
                <a:path w="5" h="7">
                  <a:moveTo>
                    <a:pt x="0" y="3"/>
                  </a:moveTo>
                  <a:cubicBezTo>
                    <a:pt x="0" y="3"/>
                    <a:pt x="2" y="0"/>
                    <a:pt x="3" y="0"/>
                  </a:cubicBezTo>
                  <a:cubicBezTo>
                    <a:pt x="3" y="0"/>
                    <a:pt x="5" y="1"/>
                    <a:pt x="5" y="1"/>
                  </a:cubicBezTo>
                  <a:cubicBezTo>
                    <a:pt x="5" y="3"/>
                    <a:pt x="3" y="7"/>
                    <a:pt x="0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Freeform 70"/>
            <p:cNvSpPr>
              <a:spLocks/>
            </p:cNvSpPr>
            <p:nvPr/>
          </p:nvSpPr>
          <p:spPr bwMode="auto">
            <a:xfrm>
              <a:off x="3071813" y="2594123"/>
              <a:ext cx="92075" cy="8096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8" y="4"/>
                </a:cxn>
                <a:cxn ang="0">
                  <a:pos x="0" y="5"/>
                </a:cxn>
                <a:cxn ang="0">
                  <a:pos x="4" y="2"/>
                </a:cxn>
                <a:cxn ang="0">
                  <a:pos x="4" y="2"/>
                </a:cxn>
              </a:cxnLst>
              <a:rect l="0" t="0" r="r" b="b"/>
              <a:pathLst>
                <a:path w="8" h="7">
                  <a:moveTo>
                    <a:pt x="4" y="2"/>
                  </a:moveTo>
                  <a:cubicBezTo>
                    <a:pt x="6" y="0"/>
                    <a:pt x="6" y="4"/>
                    <a:pt x="8" y="4"/>
                  </a:cubicBezTo>
                  <a:cubicBezTo>
                    <a:pt x="8" y="6"/>
                    <a:pt x="4" y="7"/>
                    <a:pt x="0" y="5"/>
                  </a:cubicBezTo>
                  <a:cubicBezTo>
                    <a:pt x="0" y="4"/>
                    <a:pt x="4" y="3"/>
                    <a:pt x="4" y="2"/>
                  </a:cubicBezTo>
                  <a:lnTo>
                    <a:pt x="4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Freeform 72"/>
            <p:cNvSpPr>
              <a:spLocks/>
            </p:cNvSpPr>
            <p:nvPr/>
          </p:nvSpPr>
          <p:spPr bwMode="auto">
            <a:xfrm>
              <a:off x="2692401" y="2849711"/>
              <a:ext cx="68263" cy="3651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6" y="3"/>
                </a:cxn>
                <a:cxn ang="0">
                  <a:pos x="3" y="3"/>
                </a:cxn>
                <a:cxn ang="0">
                  <a:pos x="0" y="1"/>
                </a:cxn>
                <a:cxn ang="0">
                  <a:pos x="3" y="0"/>
                </a:cxn>
                <a:cxn ang="0">
                  <a:pos x="3" y="0"/>
                </a:cxn>
              </a:cxnLst>
              <a:rect l="0" t="0" r="r" b="b"/>
              <a:pathLst>
                <a:path w="6" h="3">
                  <a:moveTo>
                    <a:pt x="3" y="0"/>
                  </a:moveTo>
                  <a:cubicBezTo>
                    <a:pt x="6" y="0"/>
                    <a:pt x="6" y="1"/>
                    <a:pt x="6" y="3"/>
                  </a:cubicBezTo>
                  <a:cubicBezTo>
                    <a:pt x="6" y="3"/>
                    <a:pt x="4" y="3"/>
                    <a:pt x="3" y="3"/>
                  </a:cubicBezTo>
                  <a:cubicBezTo>
                    <a:pt x="2" y="3"/>
                    <a:pt x="0" y="3"/>
                    <a:pt x="0" y="1"/>
                  </a:cubicBezTo>
                  <a:cubicBezTo>
                    <a:pt x="0" y="1"/>
                    <a:pt x="2" y="0"/>
                    <a:pt x="3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Freeform 73"/>
            <p:cNvSpPr>
              <a:spLocks/>
            </p:cNvSpPr>
            <p:nvPr/>
          </p:nvSpPr>
          <p:spPr bwMode="auto">
            <a:xfrm>
              <a:off x="817563" y="3197374"/>
              <a:ext cx="439737" cy="544512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14" y="2"/>
                </a:cxn>
                <a:cxn ang="0">
                  <a:pos x="22" y="8"/>
                </a:cxn>
                <a:cxn ang="0">
                  <a:pos x="22" y="10"/>
                </a:cxn>
                <a:cxn ang="0">
                  <a:pos x="16" y="12"/>
                </a:cxn>
                <a:cxn ang="0">
                  <a:pos x="21" y="13"/>
                </a:cxn>
                <a:cxn ang="0">
                  <a:pos x="26" y="20"/>
                </a:cxn>
                <a:cxn ang="0">
                  <a:pos x="27" y="23"/>
                </a:cxn>
                <a:cxn ang="0">
                  <a:pos x="30" y="27"/>
                </a:cxn>
                <a:cxn ang="0">
                  <a:pos x="33" y="29"/>
                </a:cxn>
                <a:cxn ang="0">
                  <a:pos x="33" y="31"/>
                </a:cxn>
                <a:cxn ang="0">
                  <a:pos x="38" y="32"/>
                </a:cxn>
                <a:cxn ang="0">
                  <a:pos x="37" y="36"/>
                </a:cxn>
                <a:cxn ang="0">
                  <a:pos x="34" y="37"/>
                </a:cxn>
                <a:cxn ang="0">
                  <a:pos x="36" y="39"/>
                </a:cxn>
                <a:cxn ang="0">
                  <a:pos x="34" y="43"/>
                </a:cxn>
                <a:cxn ang="0">
                  <a:pos x="34" y="43"/>
                </a:cxn>
                <a:cxn ang="0">
                  <a:pos x="17" y="43"/>
                </a:cxn>
                <a:cxn ang="0">
                  <a:pos x="17" y="43"/>
                </a:cxn>
                <a:cxn ang="0">
                  <a:pos x="17" y="45"/>
                </a:cxn>
                <a:cxn ang="0">
                  <a:pos x="9" y="47"/>
                </a:cxn>
                <a:cxn ang="0">
                  <a:pos x="20" y="38"/>
                </a:cxn>
                <a:cxn ang="0">
                  <a:pos x="17" y="40"/>
                </a:cxn>
                <a:cxn ang="0">
                  <a:pos x="10" y="37"/>
                </a:cxn>
                <a:cxn ang="0">
                  <a:pos x="13" y="35"/>
                </a:cxn>
                <a:cxn ang="0">
                  <a:pos x="13" y="35"/>
                </a:cxn>
                <a:cxn ang="0">
                  <a:pos x="13" y="32"/>
                </a:cxn>
                <a:cxn ang="0">
                  <a:pos x="11" y="32"/>
                </a:cxn>
                <a:cxn ang="0">
                  <a:pos x="11" y="32"/>
                </a:cxn>
                <a:cxn ang="0">
                  <a:pos x="19" y="27"/>
                </a:cxn>
                <a:cxn ang="0">
                  <a:pos x="16" y="23"/>
                </a:cxn>
                <a:cxn ang="0">
                  <a:pos x="11" y="20"/>
                </a:cxn>
                <a:cxn ang="0">
                  <a:pos x="13" y="15"/>
                </a:cxn>
                <a:cxn ang="0">
                  <a:pos x="9" y="20"/>
                </a:cxn>
                <a:cxn ang="0">
                  <a:pos x="6" y="13"/>
                </a:cxn>
                <a:cxn ang="0">
                  <a:pos x="6" y="6"/>
                </a:cxn>
                <a:cxn ang="0">
                  <a:pos x="5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5" y="1"/>
                </a:cxn>
              </a:cxnLst>
              <a:rect l="0" t="0" r="r" b="b"/>
              <a:pathLst>
                <a:path w="38" h="47">
                  <a:moveTo>
                    <a:pt x="5" y="1"/>
                  </a:moveTo>
                  <a:cubicBezTo>
                    <a:pt x="6" y="0"/>
                    <a:pt x="9" y="2"/>
                    <a:pt x="14" y="2"/>
                  </a:cubicBezTo>
                  <a:cubicBezTo>
                    <a:pt x="15" y="5"/>
                    <a:pt x="0" y="6"/>
                    <a:pt x="22" y="8"/>
                  </a:cubicBezTo>
                  <a:cubicBezTo>
                    <a:pt x="22" y="8"/>
                    <a:pt x="22" y="9"/>
                    <a:pt x="22" y="10"/>
                  </a:cubicBezTo>
                  <a:cubicBezTo>
                    <a:pt x="22" y="10"/>
                    <a:pt x="17" y="12"/>
                    <a:pt x="16" y="12"/>
                  </a:cubicBezTo>
                  <a:cubicBezTo>
                    <a:pt x="17" y="13"/>
                    <a:pt x="21" y="13"/>
                    <a:pt x="21" y="13"/>
                  </a:cubicBezTo>
                  <a:cubicBezTo>
                    <a:pt x="21" y="16"/>
                    <a:pt x="26" y="18"/>
                    <a:pt x="26" y="20"/>
                  </a:cubicBezTo>
                  <a:cubicBezTo>
                    <a:pt x="26" y="21"/>
                    <a:pt x="26" y="22"/>
                    <a:pt x="27" y="23"/>
                  </a:cubicBezTo>
                  <a:cubicBezTo>
                    <a:pt x="28" y="24"/>
                    <a:pt x="28" y="26"/>
                    <a:pt x="30" y="27"/>
                  </a:cubicBezTo>
                  <a:cubicBezTo>
                    <a:pt x="30" y="28"/>
                    <a:pt x="32" y="29"/>
                    <a:pt x="33" y="29"/>
                  </a:cubicBezTo>
                  <a:cubicBezTo>
                    <a:pt x="33" y="30"/>
                    <a:pt x="33" y="31"/>
                    <a:pt x="33" y="31"/>
                  </a:cubicBezTo>
                  <a:cubicBezTo>
                    <a:pt x="36" y="31"/>
                    <a:pt x="36" y="31"/>
                    <a:pt x="38" y="32"/>
                  </a:cubicBezTo>
                  <a:cubicBezTo>
                    <a:pt x="37" y="33"/>
                    <a:pt x="36" y="34"/>
                    <a:pt x="37" y="36"/>
                  </a:cubicBezTo>
                  <a:cubicBezTo>
                    <a:pt x="36" y="36"/>
                    <a:pt x="34" y="37"/>
                    <a:pt x="34" y="37"/>
                  </a:cubicBezTo>
                  <a:cubicBezTo>
                    <a:pt x="34" y="39"/>
                    <a:pt x="36" y="39"/>
                    <a:pt x="36" y="39"/>
                  </a:cubicBezTo>
                  <a:cubicBezTo>
                    <a:pt x="34" y="40"/>
                    <a:pt x="35" y="41"/>
                    <a:pt x="34" y="43"/>
                  </a:cubicBezTo>
                  <a:lnTo>
                    <a:pt x="34" y="43"/>
                  </a:lnTo>
                  <a:lnTo>
                    <a:pt x="17" y="43"/>
                  </a:lnTo>
                  <a:lnTo>
                    <a:pt x="17" y="43"/>
                  </a:lnTo>
                  <a:cubicBezTo>
                    <a:pt x="17" y="44"/>
                    <a:pt x="17" y="44"/>
                    <a:pt x="17" y="45"/>
                  </a:cubicBezTo>
                  <a:cubicBezTo>
                    <a:pt x="14" y="45"/>
                    <a:pt x="10" y="45"/>
                    <a:pt x="9" y="47"/>
                  </a:cubicBezTo>
                  <a:cubicBezTo>
                    <a:pt x="9" y="40"/>
                    <a:pt x="19" y="43"/>
                    <a:pt x="20" y="38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7" y="40"/>
                    <a:pt x="10" y="39"/>
                    <a:pt x="10" y="37"/>
                  </a:cubicBezTo>
                  <a:cubicBezTo>
                    <a:pt x="10" y="35"/>
                    <a:pt x="13" y="35"/>
                    <a:pt x="13" y="35"/>
                  </a:cubicBezTo>
                  <a:lnTo>
                    <a:pt x="13" y="35"/>
                  </a:lnTo>
                  <a:lnTo>
                    <a:pt x="13" y="32"/>
                  </a:lnTo>
                  <a:lnTo>
                    <a:pt x="11" y="32"/>
                  </a:lnTo>
                  <a:lnTo>
                    <a:pt x="11" y="32"/>
                  </a:lnTo>
                  <a:cubicBezTo>
                    <a:pt x="14" y="28"/>
                    <a:pt x="17" y="30"/>
                    <a:pt x="19" y="27"/>
                  </a:cubicBezTo>
                  <a:cubicBezTo>
                    <a:pt x="17" y="25"/>
                    <a:pt x="16" y="24"/>
                    <a:pt x="16" y="23"/>
                  </a:cubicBezTo>
                  <a:cubicBezTo>
                    <a:pt x="13" y="23"/>
                    <a:pt x="11" y="21"/>
                    <a:pt x="11" y="20"/>
                  </a:cubicBezTo>
                  <a:cubicBezTo>
                    <a:pt x="11" y="18"/>
                    <a:pt x="13" y="17"/>
                    <a:pt x="13" y="15"/>
                  </a:cubicBezTo>
                  <a:cubicBezTo>
                    <a:pt x="11" y="16"/>
                    <a:pt x="10" y="19"/>
                    <a:pt x="9" y="20"/>
                  </a:cubicBezTo>
                  <a:cubicBezTo>
                    <a:pt x="6" y="14"/>
                    <a:pt x="6" y="15"/>
                    <a:pt x="6" y="13"/>
                  </a:cubicBezTo>
                  <a:cubicBezTo>
                    <a:pt x="5" y="13"/>
                    <a:pt x="6" y="8"/>
                    <a:pt x="6" y="6"/>
                  </a:cubicBezTo>
                  <a:cubicBezTo>
                    <a:pt x="7" y="4"/>
                    <a:pt x="5" y="4"/>
                    <a:pt x="5" y="4"/>
                  </a:cubicBezTo>
                  <a:cubicBezTo>
                    <a:pt x="6" y="4"/>
                    <a:pt x="6" y="2"/>
                    <a:pt x="6" y="2"/>
                  </a:cubicBez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ubicBezTo>
                    <a:pt x="5" y="1"/>
                    <a:pt x="5" y="1"/>
                    <a:pt x="5" y="1"/>
                  </a:cubicBezTo>
                  <a:lnTo>
                    <a:pt x="5" y="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Freeform 74"/>
            <p:cNvSpPr>
              <a:spLocks/>
            </p:cNvSpPr>
            <p:nvPr/>
          </p:nvSpPr>
          <p:spPr bwMode="auto">
            <a:xfrm>
              <a:off x="2852738" y="4610249"/>
              <a:ext cx="104775" cy="6985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9" h="6">
                  <a:moveTo>
                    <a:pt x="0" y="4"/>
                  </a:moveTo>
                  <a:lnTo>
                    <a:pt x="1" y="6"/>
                  </a:lnTo>
                  <a:lnTo>
                    <a:pt x="1" y="6"/>
                  </a:lnTo>
                  <a:cubicBezTo>
                    <a:pt x="4" y="5"/>
                    <a:pt x="7" y="4"/>
                    <a:pt x="7" y="1"/>
                  </a:cubicBezTo>
                  <a:cubicBezTo>
                    <a:pt x="8" y="1"/>
                    <a:pt x="9" y="0"/>
                    <a:pt x="9" y="0"/>
                  </a:cubicBezTo>
                  <a:cubicBezTo>
                    <a:pt x="5" y="0"/>
                    <a:pt x="1" y="3"/>
                    <a:pt x="0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Freeform 75"/>
            <p:cNvSpPr>
              <a:spLocks/>
            </p:cNvSpPr>
            <p:nvPr/>
          </p:nvSpPr>
          <p:spPr bwMode="auto">
            <a:xfrm>
              <a:off x="1649413" y="3800624"/>
              <a:ext cx="395287" cy="150812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17" y="2"/>
                </a:cxn>
                <a:cxn ang="0">
                  <a:pos x="16" y="4"/>
                </a:cxn>
                <a:cxn ang="0">
                  <a:pos x="18" y="7"/>
                </a:cxn>
                <a:cxn ang="0">
                  <a:pos x="5" y="8"/>
                </a:cxn>
                <a:cxn ang="0">
                  <a:pos x="5" y="8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7" y="11"/>
                </a:cxn>
                <a:cxn ang="0">
                  <a:pos x="7" y="11"/>
                </a:cxn>
                <a:cxn ang="0">
                  <a:pos x="11" y="10"/>
                </a:cxn>
                <a:cxn ang="0">
                  <a:pos x="11" y="10"/>
                </a:cxn>
                <a:cxn ang="0">
                  <a:pos x="18" y="13"/>
                </a:cxn>
                <a:cxn ang="0">
                  <a:pos x="22" y="13"/>
                </a:cxn>
                <a:cxn ang="0">
                  <a:pos x="28" y="11"/>
                </a:cxn>
                <a:cxn ang="0">
                  <a:pos x="34" y="5"/>
                </a:cxn>
                <a:cxn ang="0">
                  <a:pos x="31" y="2"/>
                </a:cxn>
                <a:cxn ang="0">
                  <a:pos x="27" y="0"/>
                </a:cxn>
                <a:cxn ang="0">
                  <a:pos x="27" y="0"/>
                </a:cxn>
                <a:cxn ang="0">
                  <a:pos x="19" y="1"/>
                </a:cxn>
              </a:cxnLst>
              <a:rect l="0" t="0" r="r" b="b"/>
              <a:pathLst>
                <a:path w="34" h="13">
                  <a:moveTo>
                    <a:pt x="19" y="1"/>
                  </a:moveTo>
                  <a:cubicBezTo>
                    <a:pt x="18" y="1"/>
                    <a:pt x="18" y="2"/>
                    <a:pt x="17" y="2"/>
                  </a:cubicBezTo>
                  <a:cubicBezTo>
                    <a:pt x="17" y="3"/>
                    <a:pt x="16" y="4"/>
                    <a:pt x="16" y="4"/>
                  </a:cubicBezTo>
                  <a:cubicBezTo>
                    <a:pt x="16" y="6"/>
                    <a:pt x="17" y="6"/>
                    <a:pt x="18" y="7"/>
                  </a:cubicBezTo>
                  <a:cubicBezTo>
                    <a:pt x="14" y="8"/>
                    <a:pt x="12" y="9"/>
                    <a:pt x="5" y="8"/>
                  </a:cubicBezTo>
                  <a:lnTo>
                    <a:pt x="5" y="8"/>
                  </a:lnTo>
                  <a:lnTo>
                    <a:pt x="2" y="10"/>
                  </a:lnTo>
                  <a:lnTo>
                    <a:pt x="2" y="10"/>
                  </a:lnTo>
                  <a:cubicBezTo>
                    <a:pt x="3" y="11"/>
                    <a:pt x="0" y="12"/>
                    <a:pt x="7" y="11"/>
                  </a:cubicBezTo>
                  <a:lnTo>
                    <a:pt x="7" y="11"/>
                  </a:lnTo>
                  <a:lnTo>
                    <a:pt x="11" y="10"/>
                  </a:lnTo>
                  <a:lnTo>
                    <a:pt x="11" y="10"/>
                  </a:lnTo>
                  <a:cubicBezTo>
                    <a:pt x="13" y="12"/>
                    <a:pt x="16" y="13"/>
                    <a:pt x="18" y="13"/>
                  </a:cubicBezTo>
                  <a:cubicBezTo>
                    <a:pt x="20" y="13"/>
                    <a:pt x="21" y="13"/>
                    <a:pt x="22" y="13"/>
                  </a:cubicBezTo>
                  <a:cubicBezTo>
                    <a:pt x="24" y="13"/>
                    <a:pt x="26" y="12"/>
                    <a:pt x="28" y="11"/>
                  </a:cubicBezTo>
                  <a:cubicBezTo>
                    <a:pt x="31" y="10"/>
                    <a:pt x="32" y="7"/>
                    <a:pt x="34" y="5"/>
                  </a:cubicBezTo>
                  <a:cubicBezTo>
                    <a:pt x="33" y="4"/>
                    <a:pt x="31" y="4"/>
                    <a:pt x="31" y="2"/>
                  </a:cubicBezTo>
                  <a:cubicBezTo>
                    <a:pt x="29" y="2"/>
                    <a:pt x="29" y="0"/>
                    <a:pt x="27" y="0"/>
                  </a:cubicBezTo>
                  <a:lnTo>
                    <a:pt x="27" y="0"/>
                  </a:lnTo>
                  <a:lnTo>
                    <a:pt x="19" y="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Freeform 76"/>
            <p:cNvSpPr>
              <a:spLocks/>
            </p:cNvSpPr>
            <p:nvPr/>
          </p:nvSpPr>
          <p:spPr bwMode="auto">
            <a:xfrm>
              <a:off x="3454400" y="4343549"/>
              <a:ext cx="1098550" cy="928687"/>
            </a:xfrm>
            <a:custGeom>
              <a:avLst/>
              <a:gdLst/>
              <a:ahLst/>
              <a:cxnLst>
                <a:cxn ang="0">
                  <a:pos x="79" y="25"/>
                </a:cxn>
                <a:cxn ang="0">
                  <a:pos x="77" y="18"/>
                </a:cxn>
                <a:cxn ang="0">
                  <a:pos x="58" y="10"/>
                </a:cxn>
                <a:cxn ang="0">
                  <a:pos x="58" y="10"/>
                </a:cxn>
                <a:cxn ang="0">
                  <a:pos x="51" y="10"/>
                </a:cxn>
                <a:cxn ang="0">
                  <a:pos x="51" y="10"/>
                </a:cxn>
                <a:cxn ang="0">
                  <a:pos x="45" y="14"/>
                </a:cxn>
                <a:cxn ang="0">
                  <a:pos x="42" y="14"/>
                </a:cxn>
                <a:cxn ang="0">
                  <a:pos x="42" y="14"/>
                </a:cxn>
                <a:cxn ang="0">
                  <a:pos x="43" y="15"/>
                </a:cxn>
                <a:cxn ang="0">
                  <a:pos x="43" y="15"/>
                </a:cxn>
                <a:cxn ang="0">
                  <a:pos x="34" y="18"/>
                </a:cxn>
                <a:cxn ang="0">
                  <a:pos x="31" y="18"/>
                </a:cxn>
                <a:cxn ang="0">
                  <a:pos x="27" y="14"/>
                </a:cxn>
                <a:cxn ang="0">
                  <a:pos x="18" y="10"/>
                </a:cxn>
                <a:cxn ang="0">
                  <a:pos x="15" y="0"/>
                </a:cxn>
                <a:cxn ang="0">
                  <a:pos x="11" y="6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5" y="16"/>
                </a:cxn>
                <a:cxn ang="0">
                  <a:pos x="12" y="26"/>
                </a:cxn>
                <a:cxn ang="0">
                  <a:pos x="10" y="30"/>
                </a:cxn>
                <a:cxn ang="0">
                  <a:pos x="21" y="41"/>
                </a:cxn>
                <a:cxn ang="0">
                  <a:pos x="21" y="47"/>
                </a:cxn>
                <a:cxn ang="0">
                  <a:pos x="21" y="47"/>
                </a:cxn>
                <a:cxn ang="0">
                  <a:pos x="25" y="52"/>
                </a:cxn>
                <a:cxn ang="0">
                  <a:pos x="25" y="52"/>
                </a:cxn>
                <a:cxn ang="0">
                  <a:pos x="30" y="52"/>
                </a:cxn>
                <a:cxn ang="0">
                  <a:pos x="38" y="64"/>
                </a:cxn>
                <a:cxn ang="0">
                  <a:pos x="41" y="66"/>
                </a:cxn>
                <a:cxn ang="0">
                  <a:pos x="44" y="66"/>
                </a:cxn>
                <a:cxn ang="0">
                  <a:pos x="54" y="71"/>
                </a:cxn>
                <a:cxn ang="0">
                  <a:pos x="55" y="71"/>
                </a:cxn>
                <a:cxn ang="0">
                  <a:pos x="60" y="70"/>
                </a:cxn>
                <a:cxn ang="0">
                  <a:pos x="64" y="68"/>
                </a:cxn>
                <a:cxn ang="0">
                  <a:pos x="68" y="77"/>
                </a:cxn>
                <a:cxn ang="0">
                  <a:pos x="73" y="78"/>
                </a:cxn>
                <a:cxn ang="0">
                  <a:pos x="90" y="80"/>
                </a:cxn>
                <a:cxn ang="0">
                  <a:pos x="90" y="76"/>
                </a:cxn>
                <a:cxn ang="0">
                  <a:pos x="95" y="71"/>
                </a:cxn>
                <a:cxn ang="0">
                  <a:pos x="95" y="71"/>
                </a:cxn>
                <a:cxn ang="0">
                  <a:pos x="95" y="69"/>
                </a:cxn>
                <a:cxn ang="0">
                  <a:pos x="95" y="69"/>
                </a:cxn>
                <a:cxn ang="0">
                  <a:pos x="93" y="64"/>
                </a:cxn>
                <a:cxn ang="0">
                  <a:pos x="84" y="55"/>
                </a:cxn>
                <a:cxn ang="0">
                  <a:pos x="86" y="48"/>
                </a:cxn>
                <a:cxn ang="0">
                  <a:pos x="82" y="46"/>
                </a:cxn>
                <a:cxn ang="0">
                  <a:pos x="78" y="34"/>
                </a:cxn>
                <a:cxn ang="0">
                  <a:pos x="76" y="32"/>
                </a:cxn>
                <a:cxn ang="0">
                  <a:pos x="79" y="28"/>
                </a:cxn>
                <a:cxn ang="0">
                  <a:pos x="79" y="25"/>
                </a:cxn>
                <a:cxn ang="0">
                  <a:pos x="79" y="25"/>
                </a:cxn>
              </a:cxnLst>
              <a:rect l="0" t="0" r="r" b="b"/>
              <a:pathLst>
                <a:path w="95" h="80">
                  <a:moveTo>
                    <a:pt x="79" y="25"/>
                  </a:moveTo>
                  <a:cubicBezTo>
                    <a:pt x="78" y="22"/>
                    <a:pt x="78" y="20"/>
                    <a:pt x="77" y="18"/>
                  </a:cubicBezTo>
                  <a:cubicBezTo>
                    <a:pt x="69" y="18"/>
                    <a:pt x="69" y="9"/>
                    <a:pt x="58" y="10"/>
                  </a:cubicBezTo>
                  <a:lnTo>
                    <a:pt x="58" y="10"/>
                  </a:lnTo>
                  <a:lnTo>
                    <a:pt x="51" y="10"/>
                  </a:lnTo>
                  <a:lnTo>
                    <a:pt x="51" y="10"/>
                  </a:lnTo>
                  <a:cubicBezTo>
                    <a:pt x="50" y="10"/>
                    <a:pt x="46" y="14"/>
                    <a:pt x="45" y="14"/>
                  </a:cubicBezTo>
                  <a:cubicBezTo>
                    <a:pt x="44" y="14"/>
                    <a:pt x="43" y="14"/>
                    <a:pt x="42" y="14"/>
                  </a:cubicBezTo>
                  <a:lnTo>
                    <a:pt x="42" y="14"/>
                  </a:lnTo>
                  <a:lnTo>
                    <a:pt x="43" y="15"/>
                  </a:lnTo>
                  <a:lnTo>
                    <a:pt x="43" y="15"/>
                  </a:lnTo>
                  <a:cubicBezTo>
                    <a:pt x="39" y="17"/>
                    <a:pt x="37" y="18"/>
                    <a:pt x="34" y="18"/>
                  </a:cubicBezTo>
                  <a:cubicBezTo>
                    <a:pt x="33" y="18"/>
                    <a:pt x="32" y="18"/>
                    <a:pt x="31" y="18"/>
                  </a:cubicBezTo>
                  <a:cubicBezTo>
                    <a:pt x="30" y="18"/>
                    <a:pt x="29" y="15"/>
                    <a:pt x="27" y="14"/>
                  </a:cubicBezTo>
                  <a:cubicBezTo>
                    <a:pt x="26" y="14"/>
                    <a:pt x="19" y="13"/>
                    <a:pt x="18" y="10"/>
                  </a:cubicBezTo>
                  <a:cubicBezTo>
                    <a:pt x="19" y="4"/>
                    <a:pt x="18" y="0"/>
                    <a:pt x="15" y="0"/>
                  </a:cubicBezTo>
                  <a:cubicBezTo>
                    <a:pt x="12" y="0"/>
                    <a:pt x="13" y="6"/>
                    <a:pt x="11" y="6"/>
                  </a:cubicBezTo>
                  <a:cubicBezTo>
                    <a:pt x="8" y="6"/>
                    <a:pt x="1" y="3"/>
                    <a:pt x="0" y="1"/>
                  </a:cubicBez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ubicBezTo>
                    <a:pt x="0" y="2"/>
                    <a:pt x="0" y="3"/>
                    <a:pt x="0" y="4"/>
                  </a:cubicBezTo>
                  <a:cubicBezTo>
                    <a:pt x="0" y="10"/>
                    <a:pt x="3" y="10"/>
                    <a:pt x="4" y="16"/>
                  </a:cubicBez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cubicBezTo>
                    <a:pt x="6" y="18"/>
                    <a:pt x="10" y="25"/>
                    <a:pt x="12" y="26"/>
                  </a:cubicBezTo>
                  <a:cubicBezTo>
                    <a:pt x="11" y="27"/>
                    <a:pt x="10" y="27"/>
                    <a:pt x="10" y="30"/>
                  </a:cubicBezTo>
                  <a:cubicBezTo>
                    <a:pt x="10" y="34"/>
                    <a:pt x="16" y="41"/>
                    <a:pt x="21" y="41"/>
                  </a:cubicBezTo>
                  <a:cubicBezTo>
                    <a:pt x="21" y="42"/>
                    <a:pt x="22" y="44"/>
                    <a:pt x="21" y="47"/>
                  </a:cubicBezTo>
                  <a:lnTo>
                    <a:pt x="21" y="47"/>
                  </a:lnTo>
                  <a:lnTo>
                    <a:pt x="25" y="52"/>
                  </a:lnTo>
                  <a:lnTo>
                    <a:pt x="25" y="52"/>
                  </a:lnTo>
                  <a:cubicBezTo>
                    <a:pt x="26" y="52"/>
                    <a:pt x="27" y="53"/>
                    <a:pt x="30" y="52"/>
                  </a:cubicBezTo>
                  <a:cubicBezTo>
                    <a:pt x="30" y="52"/>
                    <a:pt x="37" y="63"/>
                    <a:pt x="38" y="64"/>
                  </a:cubicBezTo>
                  <a:cubicBezTo>
                    <a:pt x="39" y="64"/>
                    <a:pt x="39" y="66"/>
                    <a:pt x="41" y="66"/>
                  </a:cubicBezTo>
                  <a:cubicBezTo>
                    <a:pt x="42" y="66"/>
                    <a:pt x="43" y="66"/>
                    <a:pt x="44" y="66"/>
                  </a:cubicBezTo>
                  <a:cubicBezTo>
                    <a:pt x="44" y="69"/>
                    <a:pt x="50" y="71"/>
                    <a:pt x="54" y="71"/>
                  </a:cubicBezTo>
                  <a:cubicBezTo>
                    <a:pt x="54" y="71"/>
                    <a:pt x="55" y="71"/>
                    <a:pt x="55" y="71"/>
                  </a:cubicBezTo>
                  <a:cubicBezTo>
                    <a:pt x="57" y="71"/>
                    <a:pt x="58" y="71"/>
                    <a:pt x="60" y="70"/>
                  </a:cubicBezTo>
                  <a:cubicBezTo>
                    <a:pt x="60" y="70"/>
                    <a:pt x="61" y="68"/>
                    <a:pt x="64" y="68"/>
                  </a:cubicBezTo>
                  <a:cubicBezTo>
                    <a:pt x="67" y="68"/>
                    <a:pt x="65" y="75"/>
                    <a:pt x="68" y="77"/>
                  </a:cubicBezTo>
                  <a:cubicBezTo>
                    <a:pt x="68" y="77"/>
                    <a:pt x="72" y="78"/>
                    <a:pt x="73" y="78"/>
                  </a:cubicBezTo>
                  <a:cubicBezTo>
                    <a:pt x="80" y="78"/>
                    <a:pt x="83" y="80"/>
                    <a:pt x="90" y="80"/>
                  </a:cubicBezTo>
                  <a:cubicBezTo>
                    <a:pt x="90" y="77"/>
                    <a:pt x="90" y="76"/>
                    <a:pt x="90" y="76"/>
                  </a:cubicBezTo>
                  <a:cubicBezTo>
                    <a:pt x="90" y="73"/>
                    <a:pt x="93" y="72"/>
                    <a:pt x="95" y="71"/>
                  </a:cubicBezTo>
                  <a:lnTo>
                    <a:pt x="95" y="71"/>
                  </a:lnTo>
                  <a:lnTo>
                    <a:pt x="95" y="69"/>
                  </a:lnTo>
                  <a:lnTo>
                    <a:pt x="95" y="69"/>
                  </a:lnTo>
                  <a:cubicBezTo>
                    <a:pt x="93" y="69"/>
                    <a:pt x="93" y="66"/>
                    <a:pt x="93" y="64"/>
                  </a:cubicBezTo>
                  <a:cubicBezTo>
                    <a:pt x="90" y="64"/>
                    <a:pt x="84" y="57"/>
                    <a:pt x="84" y="55"/>
                  </a:cubicBezTo>
                  <a:cubicBezTo>
                    <a:pt x="84" y="52"/>
                    <a:pt x="86" y="51"/>
                    <a:pt x="86" y="48"/>
                  </a:cubicBezTo>
                  <a:cubicBezTo>
                    <a:pt x="86" y="45"/>
                    <a:pt x="84" y="46"/>
                    <a:pt x="82" y="46"/>
                  </a:cubicBezTo>
                  <a:cubicBezTo>
                    <a:pt x="79" y="46"/>
                    <a:pt x="78" y="36"/>
                    <a:pt x="78" y="34"/>
                  </a:cubicBezTo>
                  <a:cubicBezTo>
                    <a:pt x="77" y="34"/>
                    <a:pt x="76" y="33"/>
                    <a:pt x="76" y="32"/>
                  </a:cubicBezTo>
                  <a:cubicBezTo>
                    <a:pt x="76" y="30"/>
                    <a:pt x="79" y="29"/>
                    <a:pt x="79" y="28"/>
                  </a:cubicBezTo>
                  <a:cubicBezTo>
                    <a:pt x="79" y="26"/>
                    <a:pt x="79" y="27"/>
                    <a:pt x="79" y="25"/>
                  </a:cubicBezTo>
                  <a:lnTo>
                    <a:pt x="79" y="25"/>
                  </a:lnTo>
                  <a:close/>
                </a:path>
              </a:pathLst>
            </a:custGeom>
            <a:solidFill>
              <a:srgbClr val="BFBF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Freeform 77"/>
            <p:cNvSpPr>
              <a:spLocks/>
            </p:cNvSpPr>
            <p:nvPr/>
          </p:nvSpPr>
          <p:spPr bwMode="auto">
            <a:xfrm>
              <a:off x="3038475" y="4762648"/>
              <a:ext cx="206375" cy="25400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5" y="22"/>
                </a:cxn>
                <a:cxn ang="0">
                  <a:pos x="13" y="16"/>
                </a:cxn>
                <a:cxn ang="0">
                  <a:pos x="11" y="11"/>
                </a:cxn>
                <a:cxn ang="0">
                  <a:pos x="18" y="5"/>
                </a:cxn>
                <a:cxn ang="0">
                  <a:pos x="18" y="0"/>
                </a:cxn>
                <a:cxn ang="0">
                  <a:pos x="6" y="5"/>
                </a:cxn>
                <a:cxn ang="0">
                  <a:pos x="2" y="2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18" h="22">
                  <a:moveTo>
                    <a:pt x="0" y="20"/>
                  </a:moveTo>
                  <a:cubicBezTo>
                    <a:pt x="1" y="20"/>
                    <a:pt x="3" y="22"/>
                    <a:pt x="5" y="22"/>
                  </a:cubicBezTo>
                  <a:cubicBezTo>
                    <a:pt x="8" y="22"/>
                    <a:pt x="13" y="17"/>
                    <a:pt x="13" y="16"/>
                  </a:cubicBezTo>
                  <a:cubicBezTo>
                    <a:pt x="12" y="15"/>
                    <a:pt x="11" y="13"/>
                    <a:pt x="11" y="11"/>
                  </a:cubicBezTo>
                  <a:cubicBezTo>
                    <a:pt x="11" y="8"/>
                    <a:pt x="17" y="6"/>
                    <a:pt x="18" y="5"/>
                  </a:cubicBezTo>
                  <a:cubicBezTo>
                    <a:pt x="18" y="2"/>
                    <a:pt x="17" y="2"/>
                    <a:pt x="18" y="0"/>
                  </a:cubicBezTo>
                  <a:cubicBezTo>
                    <a:pt x="12" y="1"/>
                    <a:pt x="9" y="5"/>
                    <a:pt x="6" y="5"/>
                  </a:cubicBezTo>
                  <a:cubicBezTo>
                    <a:pt x="5" y="5"/>
                    <a:pt x="3" y="3"/>
                    <a:pt x="2" y="2"/>
                  </a:cubicBezTo>
                  <a:cubicBezTo>
                    <a:pt x="1" y="4"/>
                    <a:pt x="0" y="19"/>
                    <a:pt x="0" y="2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Freeform 78"/>
            <p:cNvSpPr>
              <a:spLocks/>
            </p:cNvSpPr>
            <p:nvPr/>
          </p:nvSpPr>
          <p:spPr bwMode="auto">
            <a:xfrm>
              <a:off x="3003550" y="4832499"/>
              <a:ext cx="1192213" cy="995362"/>
            </a:xfrm>
            <a:custGeom>
              <a:avLst/>
              <a:gdLst/>
              <a:ahLst/>
              <a:cxnLst>
                <a:cxn ang="0">
                  <a:pos x="80" y="41"/>
                </a:cxn>
                <a:cxn ang="0">
                  <a:pos x="79" y="37"/>
                </a:cxn>
                <a:cxn ang="0">
                  <a:pos x="76" y="31"/>
                </a:cxn>
                <a:cxn ang="0">
                  <a:pos x="64" y="22"/>
                </a:cxn>
                <a:cxn ang="0">
                  <a:pos x="64" y="18"/>
                </a:cxn>
                <a:cxn ang="0">
                  <a:pos x="58" y="17"/>
                </a:cxn>
                <a:cxn ang="0">
                  <a:pos x="52" y="17"/>
                </a:cxn>
                <a:cxn ang="0">
                  <a:pos x="47" y="17"/>
                </a:cxn>
                <a:cxn ang="0">
                  <a:pos x="43" y="14"/>
                </a:cxn>
                <a:cxn ang="0">
                  <a:pos x="34" y="6"/>
                </a:cxn>
                <a:cxn ang="0">
                  <a:pos x="21" y="0"/>
                </a:cxn>
                <a:cxn ang="0">
                  <a:pos x="14" y="5"/>
                </a:cxn>
                <a:cxn ang="0">
                  <a:pos x="16" y="10"/>
                </a:cxn>
                <a:cxn ang="0">
                  <a:pos x="8" y="16"/>
                </a:cxn>
                <a:cxn ang="0">
                  <a:pos x="3" y="15"/>
                </a:cxn>
                <a:cxn ang="0">
                  <a:pos x="4" y="24"/>
                </a:cxn>
                <a:cxn ang="0">
                  <a:pos x="10" y="37"/>
                </a:cxn>
                <a:cxn ang="0">
                  <a:pos x="15" y="42"/>
                </a:cxn>
                <a:cxn ang="0">
                  <a:pos x="23" y="53"/>
                </a:cxn>
                <a:cxn ang="0">
                  <a:pos x="33" y="70"/>
                </a:cxn>
                <a:cxn ang="0">
                  <a:pos x="43" y="86"/>
                </a:cxn>
                <a:cxn ang="0">
                  <a:pos x="43" y="86"/>
                </a:cxn>
                <a:cxn ang="0">
                  <a:pos x="45" y="86"/>
                </a:cxn>
                <a:cxn ang="0">
                  <a:pos x="45" y="86"/>
                </a:cxn>
                <a:cxn ang="0">
                  <a:pos x="47" y="81"/>
                </a:cxn>
                <a:cxn ang="0">
                  <a:pos x="50" y="78"/>
                </a:cxn>
                <a:cxn ang="0">
                  <a:pos x="60" y="83"/>
                </a:cxn>
                <a:cxn ang="0">
                  <a:pos x="67" y="73"/>
                </a:cxn>
                <a:cxn ang="0">
                  <a:pos x="67" y="73"/>
                </a:cxn>
                <a:cxn ang="0">
                  <a:pos x="87" y="69"/>
                </a:cxn>
                <a:cxn ang="0">
                  <a:pos x="96" y="67"/>
                </a:cxn>
                <a:cxn ang="0">
                  <a:pos x="103" y="53"/>
                </a:cxn>
                <a:cxn ang="0">
                  <a:pos x="101" y="49"/>
                </a:cxn>
                <a:cxn ang="0">
                  <a:pos x="99" y="51"/>
                </a:cxn>
                <a:cxn ang="0">
                  <a:pos x="84" y="50"/>
                </a:cxn>
                <a:cxn ang="0">
                  <a:pos x="80" y="42"/>
                </a:cxn>
                <a:cxn ang="0">
                  <a:pos x="80" y="41"/>
                </a:cxn>
              </a:cxnLst>
              <a:rect l="0" t="0" r="r" b="b"/>
              <a:pathLst>
                <a:path w="103" h="86">
                  <a:moveTo>
                    <a:pt x="80" y="41"/>
                  </a:moveTo>
                  <a:cubicBezTo>
                    <a:pt x="78" y="41"/>
                    <a:pt x="79" y="39"/>
                    <a:pt x="79" y="37"/>
                  </a:cubicBezTo>
                  <a:cubicBezTo>
                    <a:pt x="79" y="34"/>
                    <a:pt x="75" y="33"/>
                    <a:pt x="76" y="31"/>
                  </a:cubicBezTo>
                  <a:cubicBezTo>
                    <a:pt x="67" y="26"/>
                    <a:pt x="66" y="24"/>
                    <a:pt x="64" y="22"/>
                  </a:cubicBezTo>
                  <a:cubicBezTo>
                    <a:pt x="64" y="22"/>
                    <a:pt x="64" y="19"/>
                    <a:pt x="64" y="18"/>
                  </a:cubicBezTo>
                  <a:cubicBezTo>
                    <a:pt x="62" y="19"/>
                    <a:pt x="60" y="18"/>
                    <a:pt x="58" y="17"/>
                  </a:cubicBezTo>
                  <a:cubicBezTo>
                    <a:pt x="53" y="16"/>
                    <a:pt x="54" y="16"/>
                    <a:pt x="52" y="17"/>
                  </a:cubicBezTo>
                  <a:cubicBezTo>
                    <a:pt x="50" y="16"/>
                    <a:pt x="49" y="17"/>
                    <a:pt x="47" y="17"/>
                  </a:cubicBezTo>
                  <a:cubicBezTo>
                    <a:pt x="45" y="16"/>
                    <a:pt x="44" y="16"/>
                    <a:pt x="43" y="14"/>
                  </a:cubicBezTo>
                  <a:cubicBezTo>
                    <a:pt x="41" y="10"/>
                    <a:pt x="42" y="7"/>
                    <a:pt x="34" y="6"/>
                  </a:cubicBezTo>
                  <a:cubicBezTo>
                    <a:pt x="28" y="4"/>
                    <a:pt x="29" y="3"/>
                    <a:pt x="21" y="0"/>
                  </a:cubicBezTo>
                  <a:cubicBezTo>
                    <a:pt x="20" y="1"/>
                    <a:pt x="14" y="2"/>
                    <a:pt x="14" y="5"/>
                  </a:cubicBezTo>
                  <a:cubicBezTo>
                    <a:pt x="14" y="7"/>
                    <a:pt x="15" y="9"/>
                    <a:pt x="16" y="10"/>
                  </a:cubicBezTo>
                  <a:cubicBezTo>
                    <a:pt x="16" y="11"/>
                    <a:pt x="11" y="16"/>
                    <a:pt x="8" y="16"/>
                  </a:cubicBezTo>
                  <a:cubicBezTo>
                    <a:pt x="6" y="16"/>
                    <a:pt x="4" y="15"/>
                    <a:pt x="3" y="15"/>
                  </a:cubicBezTo>
                  <a:cubicBezTo>
                    <a:pt x="3" y="15"/>
                    <a:pt x="0" y="23"/>
                    <a:pt x="4" y="24"/>
                  </a:cubicBezTo>
                  <a:cubicBezTo>
                    <a:pt x="5" y="28"/>
                    <a:pt x="10" y="31"/>
                    <a:pt x="10" y="37"/>
                  </a:cubicBezTo>
                  <a:cubicBezTo>
                    <a:pt x="14" y="37"/>
                    <a:pt x="12" y="39"/>
                    <a:pt x="15" y="42"/>
                  </a:cubicBezTo>
                  <a:cubicBezTo>
                    <a:pt x="17" y="43"/>
                    <a:pt x="23" y="49"/>
                    <a:pt x="23" y="53"/>
                  </a:cubicBezTo>
                  <a:cubicBezTo>
                    <a:pt x="23" y="62"/>
                    <a:pt x="31" y="63"/>
                    <a:pt x="33" y="70"/>
                  </a:cubicBezTo>
                  <a:cubicBezTo>
                    <a:pt x="35" y="77"/>
                    <a:pt x="41" y="78"/>
                    <a:pt x="43" y="86"/>
                  </a:cubicBezTo>
                  <a:lnTo>
                    <a:pt x="43" y="86"/>
                  </a:lnTo>
                  <a:lnTo>
                    <a:pt x="45" y="86"/>
                  </a:lnTo>
                  <a:lnTo>
                    <a:pt x="45" y="86"/>
                  </a:lnTo>
                  <a:cubicBezTo>
                    <a:pt x="47" y="84"/>
                    <a:pt x="47" y="84"/>
                    <a:pt x="47" y="81"/>
                  </a:cubicBezTo>
                  <a:cubicBezTo>
                    <a:pt x="47" y="79"/>
                    <a:pt x="49" y="78"/>
                    <a:pt x="50" y="78"/>
                  </a:cubicBezTo>
                  <a:cubicBezTo>
                    <a:pt x="55" y="78"/>
                    <a:pt x="58" y="80"/>
                    <a:pt x="60" y="83"/>
                  </a:cubicBezTo>
                  <a:cubicBezTo>
                    <a:pt x="62" y="80"/>
                    <a:pt x="67" y="73"/>
                    <a:pt x="67" y="73"/>
                  </a:cubicBezTo>
                  <a:lnTo>
                    <a:pt x="67" y="73"/>
                  </a:lnTo>
                  <a:lnTo>
                    <a:pt x="87" y="69"/>
                  </a:lnTo>
                  <a:lnTo>
                    <a:pt x="96" y="67"/>
                  </a:lnTo>
                  <a:lnTo>
                    <a:pt x="103" y="53"/>
                  </a:lnTo>
                  <a:lnTo>
                    <a:pt x="101" y="49"/>
                  </a:lnTo>
                  <a:lnTo>
                    <a:pt x="99" y="51"/>
                  </a:lnTo>
                  <a:lnTo>
                    <a:pt x="84" y="50"/>
                  </a:lnTo>
                  <a:lnTo>
                    <a:pt x="80" y="42"/>
                  </a:lnTo>
                  <a:lnTo>
                    <a:pt x="80" y="4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Freeform 79"/>
            <p:cNvSpPr>
              <a:spLocks/>
            </p:cNvSpPr>
            <p:nvPr/>
          </p:nvSpPr>
          <p:spPr bwMode="auto">
            <a:xfrm>
              <a:off x="4008438" y="5261124"/>
              <a:ext cx="382587" cy="5334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2" y="9"/>
                </a:cxn>
                <a:cxn ang="0">
                  <a:pos x="33" y="14"/>
                </a:cxn>
                <a:cxn ang="0">
                  <a:pos x="25" y="33"/>
                </a:cxn>
                <a:cxn ang="0">
                  <a:pos x="19" y="39"/>
                </a:cxn>
                <a:cxn ang="0">
                  <a:pos x="14" y="40"/>
                </a:cxn>
                <a:cxn ang="0">
                  <a:pos x="4" y="46"/>
                </a:cxn>
                <a:cxn ang="0">
                  <a:pos x="2" y="43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9" y="30"/>
                </a:cxn>
                <a:cxn ang="0">
                  <a:pos x="16" y="16"/>
                </a:cxn>
                <a:cxn ang="0">
                  <a:pos x="14" y="12"/>
                </a:cxn>
                <a:cxn ang="0">
                  <a:pos x="17" y="0"/>
                </a:cxn>
              </a:cxnLst>
              <a:rect l="0" t="0" r="r" b="b"/>
              <a:pathLst>
                <a:path w="33" h="46">
                  <a:moveTo>
                    <a:pt x="17" y="0"/>
                  </a:moveTo>
                  <a:cubicBezTo>
                    <a:pt x="17" y="3"/>
                    <a:pt x="18" y="8"/>
                    <a:pt x="22" y="9"/>
                  </a:cubicBezTo>
                  <a:cubicBezTo>
                    <a:pt x="27" y="10"/>
                    <a:pt x="33" y="10"/>
                    <a:pt x="33" y="14"/>
                  </a:cubicBezTo>
                  <a:cubicBezTo>
                    <a:pt x="33" y="21"/>
                    <a:pt x="25" y="26"/>
                    <a:pt x="25" y="33"/>
                  </a:cubicBezTo>
                  <a:cubicBezTo>
                    <a:pt x="24" y="34"/>
                    <a:pt x="18" y="36"/>
                    <a:pt x="19" y="39"/>
                  </a:cubicBezTo>
                  <a:cubicBezTo>
                    <a:pt x="18" y="39"/>
                    <a:pt x="15" y="40"/>
                    <a:pt x="14" y="40"/>
                  </a:cubicBezTo>
                  <a:cubicBezTo>
                    <a:pt x="14" y="46"/>
                    <a:pt x="7" y="43"/>
                    <a:pt x="4" y="46"/>
                  </a:cubicBezTo>
                  <a:cubicBezTo>
                    <a:pt x="4" y="45"/>
                    <a:pt x="2" y="44"/>
                    <a:pt x="2" y="43"/>
                  </a:cubicBezTo>
                  <a:cubicBezTo>
                    <a:pt x="2" y="40"/>
                    <a:pt x="2" y="38"/>
                    <a:pt x="0" y="36"/>
                  </a:cubicBezTo>
                  <a:lnTo>
                    <a:pt x="0" y="36"/>
                  </a:lnTo>
                  <a:lnTo>
                    <a:pt x="0" y="32"/>
                  </a:lnTo>
                  <a:lnTo>
                    <a:pt x="9" y="30"/>
                  </a:lnTo>
                  <a:lnTo>
                    <a:pt x="16" y="16"/>
                  </a:lnTo>
                  <a:lnTo>
                    <a:pt x="14" y="12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Freeform 80"/>
            <p:cNvSpPr>
              <a:spLocks/>
            </p:cNvSpPr>
            <p:nvPr/>
          </p:nvSpPr>
          <p:spPr bwMode="auto">
            <a:xfrm>
              <a:off x="3500438" y="5631011"/>
              <a:ext cx="542925" cy="452438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2" y="17"/>
                </a:cxn>
                <a:cxn ang="0">
                  <a:pos x="2" y="17"/>
                </a:cxn>
                <a:cxn ang="0">
                  <a:pos x="4" y="12"/>
                </a:cxn>
                <a:cxn ang="0">
                  <a:pos x="7" y="9"/>
                </a:cxn>
                <a:cxn ang="0">
                  <a:pos x="17" y="1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11"/>
                </a:cxn>
                <a:cxn ang="0">
                  <a:pos x="47" y="16"/>
                </a:cxn>
                <a:cxn ang="0">
                  <a:pos x="46" y="16"/>
                </a:cxn>
                <a:cxn ang="0">
                  <a:pos x="34" y="25"/>
                </a:cxn>
                <a:cxn ang="0">
                  <a:pos x="15" y="32"/>
                </a:cxn>
                <a:cxn ang="0">
                  <a:pos x="6" y="39"/>
                </a:cxn>
                <a:cxn ang="0">
                  <a:pos x="0" y="18"/>
                </a:cxn>
                <a:cxn ang="0">
                  <a:pos x="0" y="18"/>
                </a:cxn>
              </a:cxnLst>
              <a:rect l="0" t="0" r="r" b="b"/>
              <a:pathLst>
                <a:path w="47" h="39">
                  <a:moveTo>
                    <a:pt x="0" y="18"/>
                  </a:moveTo>
                  <a:lnTo>
                    <a:pt x="2" y="17"/>
                  </a:lnTo>
                  <a:lnTo>
                    <a:pt x="2" y="17"/>
                  </a:lnTo>
                  <a:cubicBezTo>
                    <a:pt x="4" y="15"/>
                    <a:pt x="4" y="15"/>
                    <a:pt x="4" y="12"/>
                  </a:cubicBezTo>
                  <a:cubicBezTo>
                    <a:pt x="4" y="10"/>
                    <a:pt x="6" y="9"/>
                    <a:pt x="7" y="9"/>
                  </a:cubicBezTo>
                  <a:cubicBezTo>
                    <a:pt x="12" y="9"/>
                    <a:pt x="15" y="11"/>
                    <a:pt x="17" y="14"/>
                  </a:cubicBezTo>
                  <a:cubicBezTo>
                    <a:pt x="19" y="11"/>
                    <a:pt x="24" y="4"/>
                    <a:pt x="24" y="4"/>
                  </a:cubicBezTo>
                  <a:lnTo>
                    <a:pt x="2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cubicBezTo>
                    <a:pt x="46" y="6"/>
                    <a:pt x="46" y="8"/>
                    <a:pt x="46" y="11"/>
                  </a:cubicBezTo>
                  <a:cubicBezTo>
                    <a:pt x="46" y="12"/>
                    <a:pt x="47" y="15"/>
                    <a:pt x="47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4" y="23"/>
                    <a:pt x="38" y="23"/>
                    <a:pt x="34" y="25"/>
                  </a:cubicBezTo>
                  <a:cubicBezTo>
                    <a:pt x="27" y="28"/>
                    <a:pt x="23" y="30"/>
                    <a:pt x="15" y="32"/>
                  </a:cubicBezTo>
                  <a:cubicBezTo>
                    <a:pt x="11" y="34"/>
                    <a:pt x="9" y="38"/>
                    <a:pt x="6" y="39"/>
                  </a:cubicBezTo>
                  <a:cubicBezTo>
                    <a:pt x="2" y="34"/>
                    <a:pt x="2" y="24"/>
                    <a:pt x="0" y="18"/>
                  </a:cubicBezTo>
                  <a:lnTo>
                    <a:pt x="0" y="18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Freeform 81"/>
            <p:cNvSpPr>
              <a:spLocks/>
            </p:cNvSpPr>
            <p:nvPr/>
          </p:nvSpPr>
          <p:spPr bwMode="auto">
            <a:xfrm>
              <a:off x="3905250" y="5191274"/>
              <a:ext cx="301625" cy="230187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7" y="12"/>
                </a:cxn>
                <a:cxn ang="0">
                  <a:pos x="24" y="0"/>
                </a:cxn>
                <a:cxn ang="0">
                  <a:pos x="26" y="6"/>
                </a:cxn>
                <a:cxn ang="0">
                  <a:pos x="26" y="6"/>
                </a:cxn>
                <a:cxn ang="0">
                  <a:pos x="22" y="18"/>
                </a:cxn>
                <a:cxn ang="0">
                  <a:pos x="21" y="20"/>
                </a:cxn>
                <a:cxn ang="0">
                  <a:pos x="6" y="19"/>
                </a:cxn>
                <a:cxn ang="0">
                  <a:pos x="2" y="10"/>
                </a:cxn>
              </a:cxnLst>
              <a:rect l="0" t="0" r="r" b="b"/>
              <a:pathLst>
                <a:path w="26" h="20">
                  <a:moveTo>
                    <a:pt x="2" y="10"/>
                  </a:moveTo>
                  <a:cubicBezTo>
                    <a:pt x="4" y="9"/>
                    <a:pt x="0" y="13"/>
                    <a:pt x="7" y="12"/>
                  </a:cubicBezTo>
                  <a:cubicBezTo>
                    <a:pt x="16" y="11"/>
                    <a:pt x="18" y="10"/>
                    <a:pt x="24" y="0"/>
                  </a:cubicBezTo>
                  <a:cubicBezTo>
                    <a:pt x="25" y="2"/>
                    <a:pt x="25" y="3"/>
                    <a:pt x="26" y="6"/>
                  </a:cubicBezTo>
                  <a:lnTo>
                    <a:pt x="26" y="6"/>
                  </a:lnTo>
                  <a:lnTo>
                    <a:pt x="22" y="18"/>
                  </a:lnTo>
                  <a:lnTo>
                    <a:pt x="21" y="20"/>
                  </a:lnTo>
                  <a:lnTo>
                    <a:pt x="6" y="19"/>
                  </a:lnTo>
                  <a:lnTo>
                    <a:pt x="2" y="1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Freeform 82"/>
            <p:cNvSpPr>
              <a:spLocks/>
            </p:cNvSpPr>
            <p:nvPr/>
          </p:nvSpPr>
          <p:spPr bwMode="auto">
            <a:xfrm>
              <a:off x="3176588" y="4507060"/>
              <a:ext cx="566738" cy="520700"/>
            </a:xfrm>
            <a:custGeom>
              <a:avLst/>
              <a:gdLst/>
              <a:ahLst/>
              <a:cxnLst>
                <a:cxn ang="0">
                  <a:pos x="49" y="38"/>
                </a:cxn>
                <a:cxn ang="0">
                  <a:pos x="45" y="33"/>
                </a:cxn>
                <a:cxn ang="0">
                  <a:pos x="45" y="33"/>
                </a:cxn>
                <a:cxn ang="0">
                  <a:pos x="45" y="27"/>
                </a:cxn>
                <a:cxn ang="0">
                  <a:pos x="34" y="16"/>
                </a:cxn>
                <a:cxn ang="0">
                  <a:pos x="36" y="12"/>
                </a:cxn>
                <a:cxn ang="0">
                  <a:pos x="29" y="2"/>
                </a:cxn>
                <a:cxn ang="0">
                  <a:pos x="29" y="2"/>
                </a:cxn>
                <a:cxn ang="0">
                  <a:pos x="28" y="2"/>
                </a:cxn>
                <a:cxn ang="0">
                  <a:pos x="28" y="2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3" y="6"/>
                </a:cxn>
                <a:cxn ang="0">
                  <a:pos x="13" y="15"/>
                </a:cxn>
                <a:cxn ang="0">
                  <a:pos x="6" y="21"/>
                </a:cxn>
                <a:cxn ang="0">
                  <a:pos x="19" y="33"/>
                </a:cxn>
                <a:cxn ang="0">
                  <a:pos x="28" y="42"/>
                </a:cxn>
                <a:cxn ang="0">
                  <a:pos x="32" y="45"/>
                </a:cxn>
                <a:cxn ang="0">
                  <a:pos x="37" y="45"/>
                </a:cxn>
                <a:cxn ang="0">
                  <a:pos x="43" y="45"/>
                </a:cxn>
                <a:cxn ang="0">
                  <a:pos x="43" y="45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6" y="39"/>
                </a:cxn>
                <a:cxn ang="0">
                  <a:pos x="46" y="39"/>
                </a:cxn>
                <a:cxn ang="0">
                  <a:pos x="49" y="38"/>
                </a:cxn>
              </a:cxnLst>
              <a:rect l="0" t="0" r="r" b="b"/>
              <a:pathLst>
                <a:path w="49" h="45">
                  <a:moveTo>
                    <a:pt x="49" y="38"/>
                  </a:moveTo>
                  <a:lnTo>
                    <a:pt x="45" y="33"/>
                  </a:lnTo>
                  <a:lnTo>
                    <a:pt x="45" y="33"/>
                  </a:lnTo>
                  <a:cubicBezTo>
                    <a:pt x="46" y="30"/>
                    <a:pt x="45" y="28"/>
                    <a:pt x="45" y="27"/>
                  </a:cubicBezTo>
                  <a:cubicBezTo>
                    <a:pt x="40" y="27"/>
                    <a:pt x="34" y="20"/>
                    <a:pt x="34" y="16"/>
                  </a:cubicBezTo>
                  <a:cubicBezTo>
                    <a:pt x="34" y="13"/>
                    <a:pt x="35" y="13"/>
                    <a:pt x="36" y="12"/>
                  </a:cubicBezTo>
                  <a:cubicBezTo>
                    <a:pt x="34" y="11"/>
                    <a:pt x="30" y="4"/>
                    <a:pt x="29" y="2"/>
                  </a:cubicBez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cubicBezTo>
                    <a:pt x="26" y="2"/>
                    <a:pt x="24" y="0"/>
                    <a:pt x="21" y="0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9" y="0"/>
                    <a:pt x="13" y="5"/>
                    <a:pt x="13" y="6"/>
                  </a:cubicBezTo>
                  <a:cubicBezTo>
                    <a:pt x="13" y="9"/>
                    <a:pt x="14" y="13"/>
                    <a:pt x="13" y="15"/>
                  </a:cubicBezTo>
                  <a:cubicBezTo>
                    <a:pt x="12" y="17"/>
                    <a:pt x="8" y="20"/>
                    <a:pt x="6" y="21"/>
                  </a:cubicBezTo>
                  <a:cubicBezTo>
                    <a:pt x="7" y="27"/>
                    <a:pt x="0" y="25"/>
                    <a:pt x="19" y="33"/>
                  </a:cubicBezTo>
                  <a:cubicBezTo>
                    <a:pt x="29" y="35"/>
                    <a:pt x="28" y="42"/>
                    <a:pt x="28" y="42"/>
                  </a:cubicBezTo>
                  <a:cubicBezTo>
                    <a:pt x="29" y="44"/>
                    <a:pt x="30" y="44"/>
                    <a:pt x="32" y="45"/>
                  </a:cubicBezTo>
                  <a:cubicBezTo>
                    <a:pt x="34" y="44"/>
                    <a:pt x="37" y="45"/>
                    <a:pt x="37" y="45"/>
                  </a:cubicBezTo>
                  <a:cubicBezTo>
                    <a:pt x="37" y="45"/>
                    <a:pt x="42" y="45"/>
                    <a:pt x="43" y="45"/>
                  </a:cubicBezTo>
                  <a:lnTo>
                    <a:pt x="43" y="45"/>
                  </a:lnTo>
                  <a:lnTo>
                    <a:pt x="44" y="40"/>
                  </a:lnTo>
                  <a:lnTo>
                    <a:pt x="44" y="40"/>
                  </a:lnTo>
                  <a:cubicBezTo>
                    <a:pt x="45" y="40"/>
                    <a:pt x="46" y="39"/>
                    <a:pt x="46" y="39"/>
                  </a:cubicBezTo>
                  <a:lnTo>
                    <a:pt x="46" y="39"/>
                  </a:lnTo>
                  <a:lnTo>
                    <a:pt x="49" y="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Freeform 83"/>
            <p:cNvSpPr>
              <a:spLocks/>
            </p:cNvSpPr>
            <p:nvPr/>
          </p:nvSpPr>
          <p:spPr bwMode="auto">
            <a:xfrm>
              <a:off x="4333874" y="4426099"/>
              <a:ext cx="728664" cy="579437"/>
            </a:xfrm>
            <a:custGeom>
              <a:avLst/>
              <a:gdLst/>
              <a:ahLst/>
              <a:cxnLst>
                <a:cxn ang="0">
                  <a:pos x="3" y="18"/>
                </a:cxn>
                <a:cxn ang="0">
                  <a:pos x="7" y="18"/>
                </a:cxn>
                <a:cxn ang="0">
                  <a:pos x="16" y="13"/>
                </a:cxn>
                <a:cxn ang="0">
                  <a:pos x="17" y="6"/>
                </a:cxn>
                <a:cxn ang="0">
                  <a:pos x="24" y="6"/>
                </a:cxn>
                <a:cxn ang="0">
                  <a:pos x="31" y="9"/>
                </a:cxn>
                <a:cxn ang="0">
                  <a:pos x="39" y="6"/>
                </a:cxn>
                <a:cxn ang="0">
                  <a:pos x="42" y="0"/>
                </a:cxn>
                <a:cxn ang="0">
                  <a:pos x="45" y="3"/>
                </a:cxn>
                <a:cxn ang="0">
                  <a:pos x="48" y="10"/>
                </a:cxn>
                <a:cxn ang="0">
                  <a:pos x="52" y="6"/>
                </a:cxn>
                <a:cxn ang="0">
                  <a:pos x="52" y="6"/>
                </a:cxn>
                <a:cxn ang="0">
                  <a:pos x="59" y="6"/>
                </a:cxn>
                <a:cxn ang="0">
                  <a:pos x="61" y="6"/>
                </a:cxn>
                <a:cxn ang="0">
                  <a:pos x="61" y="6"/>
                </a:cxn>
                <a:cxn ang="0">
                  <a:pos x="63" y="9"/>
                </a:cxn>
                <a:cxn ang="0">
                  <a:pos x="47" y="14"/>
                </a:cxn>
                <a:cxn ang="0">
                  <a:pos x="50" y="18"/>
                </a:cxn>
                <a:cxn ang="0">
                  <a:pos x="47" y="23"/>
                </a:cxn>
                <a:cxn ang="0">
                  <a:pos x="42" y="38"/>
                </a:cxn>
                <a:cxn ang="0">
                  <a:pos x="38" y="37"/>
                </a:cxn>
                <a:cxn ang="0">
                  <a:pos x="33" y="40"/>
                </a:cxn>
                <a:cxn ang="0">
                  <a:pos x="30" y="47"/>
                </a:cxn>
                <a:cxn ang="0">
                  <a:pos x="17" y="50"/>
                </a:cxn>
                <a:cxn ang="0">
                  <a:pos x="8" y="48"/>
                </a:cxn>
                <a:cxn ang="0">
                  <a:pos x="10" y="41"/>
                </a:cxn>
                <a:cxn ang="0">
                  <a:pos x="6" y="39"/>
                </a:cxn>
                <a:cxn ang="0">
                  <a:pos x="2" y="27"/>
                </a:cxn>
                <a:cxn ang="0">
                  <a:pos x="0" y="25"/>
                </a:cxn>
                <a:cxn ang="0">
                  <a:pos x="3" y="21"/>
                </a:cxn>
                <a:cxn ang="0">
                  <a:pos x="3" y="18"/>
                </a:cxn>
                <a:cxn ang="0">
                  <a:pos x="3" y="18"/>
                </a:cxn>
              </a:cxnLst>
              <a:rect l="0" t="0" r="r" b="b"/>
              <a:pathLst>
                <a:path w="63" h="50">
                  <a:moveTo>
                    <a:pt x="3" y="18"/>
                  </a:moveTo>
                  <a:cubicBezTo>
                    <a:pt x="5" y="18"/>
                    <a:pt x="6" y="18"/>
                    <a:pt x="7" y="18"/>
                  </a:cubicBezTo>
                  <a:cubicBezTo>
                    <a:pt x="11" y="18"/>
                    <a:pt x="13" y="15"/>
                    <a:pt x="16" y="13"/>
                  </a:cubicBezTo>
                  <a:cubicBezTo>
                    <a:pt x="17" y="11"/>
                    <a:pt x="16" y="7"/>
                    <a:pt x="17" y="6"/>
                  </a:cubicBezTo>
                  <a:cubicBezTo>
                    <a:pt x="20" y="5"/>
                    <a:pt x="21" y="6"/>
                    <a:pt x="24" y="6"/>
                  </a:cubicBezTo>
                  <a:cubicBezTo>
                    <a:pt x="28" y="6"/>
                    <a:pt x="28" y="9"/>
                    <a:pt x="31" y="9"/>
                  </a:cubicBezTo>
                  <a:cubicBezTo>
                    <a:pt x="35" y="9"/>
                    <a:pt x="36" y="6"/>
                    <a:pt x="39" y="6"/>
                  </a:cubicBezTo>
                  <a:cubicBezTo>
                    <a:pt x="39" y="4"/>
                    <a:pt x="41" y="2"/>
                    <a:pt x="42" y="0"/>
                  </a:cubicBezTo>
                  <a:cubicBezTo>
                    <a:pt x="42" y="2"/>
                    <a:pt x="44" y="2"/>
                    <a:pt x="45" y="3"/>
                  </a:cubicBezTo>
                  <a:cubicBezTo>
                    <a:pt x="46" y="6"/>
                    <a:pt x="46" y="10"/>
                    <a:pt x="48" y="10"/>
                  </a:cubicBezTo>
                  <a:cubicBezTo>
                    <a:pt x="49" y="10"/>
                    <a:pt x="51" y="7"/>
                    <a:pt x="52" y="6"/>
                  </a:cubicBezTo>
                  <a:lnTo>
                    <a:pt x="52" y="6"/>
                  </a:lnTo>
                  <a:lnTo>
                    <a:pt x="59" y="6"/>
                  </a:lnTo>
                  <a:lnTo>
                    <a:pt x="61" y="6"/>
                  </a:lnTo>
                  <a:lnTo>
                    <a:pt x="61" y="6"/>
                  </a:lnTo>
                  <a:cubicBezTo>
                    <a:pt x="62" y="7"/>
                    <a:pt x="62" y="8"/>
                    <a:pt x="63" y="9"/>
                  </a:cubicBezTo>
                  <a:cubicBezTo>
                    <a:pt x="58" y="10"/>
                    <a:pt x="47" y="10"/>
                    <a:pt x="47" y="14"/>
                  </a:cubicBezTo>
                  <a:cubicBezTo>
                    <a:pt x="47" y="16"/>
                    <a:pt x="50" y="15"/>
                    <a:pt x="50" y="18"/>
                  </a:cubicBezTo>
                  <a:cubicBezTo>
                    <a:pt x="50" y="19"/>
                    <a:pt x="47" y="20"/>
                    <a:pt x="47" y="23"/>
                  </a:cubicBezTo>
                  <a:cubicBezTo>
                    <a:pt x="42" y="24"/>
                    <a:pt x="42" y="33"/>
                    <a:pt x="42" y="38"/>
                  </a:cubicBezTo>
                  <a:cubicBezTo>
                    <a:pt x="40" y="38"/>
                    <a:pt x="39" y="37"/>
                    <a:pt x="38" y="37"/>
                  </a:cubicBezTo>
                  <a:cubicBezTo>
                    <a:pt x="36" y="37"/>
                    <a:pt x="35" y="40"/>
                    <a:pt x="33" y="40"/>
                  </a:cubicBezTo>
                  <a:cubicBezTo>
                    <a:pt x="31" y="40"/>
                    <a:pt x="30" y="46"/>
                    <a:pt x="30" y="47"/>
                  </a:cubicBezTo>
                  <a:cubicBezTo>
                    <a:pt x="29" y="47"/>
                    <a:pt x="20" y="50"/>
                    <a:pt x="17" y="50"/>
                  </a:cubicBezTo>
                  <a:cubicBezTo>
                    <a:pt x="14" y="50"/>
                    <a:pt x="9" y="49"/>
                    <a:pt x="8" y="48"/>
                  </a:cubicBezTo>
                  <a:cubicBezTo>
                    <a:pt x="8" y="45"/>
                    <a:pt x="10" y="44"/>
                    <a:pt x="10" y="41"/>
                  </a:cubicBezTo>
                  <a:cubicBezTo>
                    <a:pt x="10" y="38"/>
                    <a:pt x="8" y="39"/>
                    <a:pt x="6" y="39"/>
                  </a:cubicBezTo>
                  <a:cubicBezTo>
                    <a:pt x="3" y="39"/>
                    <a:pt x="2" y="29"/>
                    <a:pt x="2" y="27"/>
                  </a:cubicBezTo>
                  <a:cubicBezTo>
                    <a:pt x="1" y="27"/>
                    <a:pt x="0" y="26"/>
                    <a:pt x="0" y="25"/>
                  </a:cubicBezTo>
                  <a:cubicBezTo>
                    <a:pt x="0" y="23"/>
                    <a:pt x="3" y="22"/>
                    <a:pt x="3" y="21"/>
                  </a:cubicBezTo>
                  <a:cubicBezTo>
                    <a:pt x="3" y="19"/>
                    <a:pt x="3" y="19"/>
                    <a:pt x="3" y="18"/>
                  </a:cubicBezTo>
                  <a:lnTo>
                    <a:pt x="3" y="18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Freeform 84"/>
            <p:cNvSpPr>
              <a:spLocks/>
            </p:cNvSpPr>
            <p:nvPr/>
          </p:nvSpPr>
          <p:spPr bwMode="auto">
            <a:xfrm>
              <a:off x="4414838" y="4529286"/>
              <a:ext cx="785812" cy="835025"/>
            </a:xfrm>
            <a:custGeom>
              <a:avLst/>
              <a:gdLst/>
              <a:ahLst/>
              <a:cxnLst>
                <a:cxn ang="0">
                  <a:pos x="68" y="9"/>
                </a:cxn>
                <a:cxn ang="0">
                  <a:pos x="56" y="0"/>
                </a:cxn>
                <a:cxn ang="0">
                  <a:pos x="40" y="5"/>
                </a:cxn>
                <a:cxn ang="0">
                  <a:pos x="43" y="9"/>
                </a:cxn>
                <a:cxn ang="0">
                  <a:pos x="40" y="14"/>
                </a:cxn>
                <a:cxn ang="0">
                  <a:pos x="35" y="29"/>
                </a:cxn>
                <a:cxn ang="0">
                  <a:pos x="31" y="28"/>
                </a:cxn>
                <a:cxn ang="0">
                  <a:pos x="26" y="31"/>
                </a:cxn>
                <a:cxn ang="0">
                  <a:pos x="23" y="38"/>
                </a:cxn>
                <a:cxn ang="0">
                  <a:pos x="10" y="41"/>
                </a:cxn>
                <a:cxn ang="0">
                  <a:pos x="0" y="39"/>
                </a:cxn>
                <a:cxn ang="0">
                  <a:pos x="10" y="48"/>
                </a:cxn>
                <a:cxn ang="0">
                  <a:pos x="12" y="53"/>
                </a:cxn>
                <a:cxn ang="0">
                  <a:pos x="12" y="53"/>
                </a:cxn>
                <a:cxn ang="0">
                  <a:pos x="12" y="55"/>
                </a:cxn>
                <a:cxn ang="0">
                  <a:pos x="12" y="55"/>
                </a:cxn>
                <a:cxn ang="0">
                  <a:pos x="7" y="60"/>
                </a:cxn>
                <a:cxn ang="0">
                  <a:pos x="7" y="64"/>
                </a:cxn>
                <a:cxn ang="0">
                  <a:pos x="22" y="63"/>
                </a:cxn>
                <a:cxn ang="0">
                  <a:pos x="27" y="63"/>
                </a:cxn>
                <a:cxn ang="0">
                  <a:pos x="37" y="70"/>
                </a:cxn>
                <a:cxn ang="0">
                  <a:pos x="37" y="72"/>
                </a:cxn>
                <a:cxn ang="0">
                  <a:pos x="51" y="64"/>
                </a:cxn>
                <a:cxn ang="0">
                  <a:pos x="44" y="56"/>
                </a:cxn>
                <a:cxn ang="0">
                  <a:pos x="42" y="53"/>
                </a:cxn>
                <a:cxn ang="0">
                  <a:pos x="42" y="53"/>
                </a:cxn>
                <a:cxn ang="0">
                  <a:pos x="42" y="51"/>
                </a:cxn>
                <a:cxn ang="0">
                  <a:pos x="42" y="51"/>
                </a:cxn>
                <a:cxn ang="0">
                  <a:pos x="61" y="32"/>
                </a:cxn>
                <a:cxn ang="0">
                  <a:pos x="62" y="25"/>
                </a:cxn>
                <a:cxn ang="0">
                  <a:pos x="54" y="17"/>
                </a:cxn>
                <a:cxn ang="0">
                  <a:pos x="54" y="17"/>
                </a:cxn>
                <a:cxn ang="0">
                  <a:pos x="54" y="13"/>
                </a:cxn>
                <a:cxn ang="0">
                  <a:pos x="54" y="13"/>
                </a:cxn>
                <a:cxn ang="0">
                  <a:pos x="68" y="9"/>
                </a:cxn>
                <a:cxn ang="0">
                  <a:pos x="68" y="9"/>
                </a:cxn>
              </a:cxnLst>
              <a:rect l="0" t="0" r="r" b="b"/>
              <a:pathLst>
                <a:path w="68" h="72">
                  <a:moveTo>
                    <a:pt x="68" y="9"/>
                  </a:moveTo>
                  <a:cubicBezTo>
                    <a:pt x="62" y="7"/>
                    <a:pt x="59" y="3"/>
                    <a:pt x="56" y="0"/>
                  </a:cubicBezTo>
                  <a:cubicBezTo>
                    <a:pt x="51" y="1"/>
                    <a:pt x="40" y="1"/>
                    <a:pt x="40" y="5"/>
                  </a:cubicBezTo>
                  <a:cubicBezTo>
                    <a:pt x="40" y="7"/>
                    <a:pt x="43" y="6"/>
                    <a:pt x="43" y="9"/>
                  </a:cubicBezTo>
                  <a:cubicBezTo>
                    <a:pt x="43" y="10"/>
                    <a:pt x="40" y="11"/>
                    <a:pt x="40" y="14"/>
                  </a:cubicBezTo>
                  <a:cubicBezTo>
                    <a:pt x="35" y="15"/>
                    <a:pt x="35" y="24"/>
                    <a:pt x="35" y="29"/>
                  </a:cubicBezTo>
                  <a:cubicBezTo>
                    <a:pt x="33" y="29"/>
                    <a:pt x="32" y="28"/>
                    <a:pt x="31" y="28"/>
                  </a:cubicBezTo>
                  <a:cubicBezTo>
                    <a:pt x="29" y="28"/>
                    <a:pt x="28" y="31"/>
                    <a:pt x="26" y="31"/>
                  </a:cubicBezTo>
                  <a:cubicBezTo>
                    <a:pt x="24" y="31"/>
                    <a:pt x="23" y="37"/>
                    <a:pt x="23" y="38"/>
                  </a:cubicBezTo>
                  <a:cubicBezTo>
                    <a:pt x="22" y="38"/>
                    <a:pt x="13" y="41"/>
                    <a:pt x="10" y="41"/>
                  </a:cubicBezTo>
                  <a:cubicBezTo>
                    <a:pt x="7" y="41"/>
                    <a:pt x="2" y="40"/>
                    <a:pt x="0" y="39"/>
                  </a:cubicBezTo>
                  <a:cubicBezTo>
                    <a:pt x="1" y="41"/>
                    <a:pt x="7" y="48"/>
                    <a:pt x="10" y="48"/>
                  </a:cubicBezTo>
                  <a:cubicBezTo>
                    <a:pt x="10" y="50"/>
                    <a:pt x="10" y="53"/>
                    <a:pt x="12" y="53"/>
                  </a:cubicBezTo>
                  <a:lnTo>
                    <a:pt x="12" y="53"/>
                  </a:lnTo>
                  <a:lnTo>
                    <a:pt x="12" y="55"/>
                  </a:lnTo>
                  <a:lnTo>
                    <a:pt x="12" y="55"/>
                  </a:lnTo>
                  <a:cubicBezTo>
                    <a:pt x="10" y="56"/>
                    <a:pt x="7" y="57"/>
                    <a:pt x="7" y="60"/>
                  </a:cubicBezTo>
                  <a:cubicBezTo>
                    <a:pt x="7" y="60"/>
                    <a:pt x="7" y="61"/>
                    <a:pt x="7" y="64"/>
                  </a:cubicBezTo>
                  <a:cubicBezTo>
                    <a:pt x="12" y="64"/>
                    <a:pt x="17" y="63"/>
                    <a:pt x="22" y="63"/>
                  </a:cubicBezTo>
                  <a:cubicBezTo>
                    <a:pt x="24" y="63"/>
                    <a:pt x="25" y="62"/>
                    <a:pt x="27" y="63"/>
                  </a:cubicBezTo>
                  <a:cubicBezTo>
                    <a:pt x="27" y="65"/>
                    <a:pt x="33" y="70"/>
                    <a:pt x="37" y="70"/>
                  </a:cubicBezTo>
                  <a:cubicBezTo>
                    <a:pt x="37" y="71"/>
                    <a:pt x="37" y="72"/>
                    <a:pt x="37" y="72"/>
                  </a:cubicBezTo>
                  <a:cubicBezTo>
                    <a:pt x="37" y="65"/>
                    <a:pt x="48" y="70"/>
                    <a:pt x="51" y="64"/>
                  </a:cubicBezTo>
                  <a:cubicBezTo>
                    <a:pt x="49" y="64"/>
                    <a:pt x="44" y="58"/>
                    <a:pt x="44" y="56"/>
                  </a:cubicBezTo>
                  <a:cubicBezTo>
                    <a:pt x="44" y="56"/>
                    <a:pt x="43" y="55"/>
                    <a:pt x="42" y="53"/>
                  </a:cubicBezTo>
                  <a:lnTo>
                    <a:pt x="42" y="53"/>
                  </a:lnTo>
                  <a:lnTo>
                    <a:pt x="42" y="51"/>
                  </a:lnTo>
                  <a:lnTo>
                    <a:pt x="42" y="51"/>
                  </a:lnTo>
                  <a:cubicBezTo>
                    <a:pt x="55" y="51"/>
                    <a:pt x="54" y="37"/>
                    <a:pt x="61" y="32"/>
                  </a:cubicBezTo>
                  <a:cubicBezTo>
                    <a:pt x="59" y="29"/>
                    <a:pt x="59" y="26"/>
                    <a:pt x="62" y="25"/>
                  </a:cubicBezTo>
                  <a:cubicBezTo>
                    <a:pt x="58" y="22"/>
                    <a:pt x="57" y="21"/>
                    <a:pt x="54" y="17"/>
                  </a:cubicBezTo>
                  <a:lnTo>
                    <a:pt x="54" y="17"/>
                  </a:lnTo>
                  <a:lnTo>
                    <a:pt x="54" y="13"/>
                  </a:lnTo>
                  <a:lnTo>
                    <a:pt x="54" y="13"/>
                  </a:lnTo>
                  <a:cubicBezTo>
                    <a:pt x="64" y="12"/>
                    <a:pt x="65" y="12"/>
                    <a:pt x="68" y="9"/>
                  </a:cubicBezTo>
                  <a:lnTo>
                    <a:pt x="68" y="9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Freeform 85"/>
            <p:cNvSpPr>
              <a:spLocks/>
            </p:cNvSpPr>
            <p:nvPr/>
          </p:nvSpPr>
          <p:spPr bwMode="auto">
            <a:xfrm>
              <a:off x="6148388" y="5051574"/>
              <a:ext cx="474662" cy="1157288"/>
            </a:xfrm>
            <a:custGeom>
              <a:avLst/>
              <a:gdLst/>
              <a:ahLst/>
              <a:cxnLst>
                <a:cxn ang="0">
                  <a:pos x="37" y="100"/>
                </a:cxn>
                <a:cxn ang="0">
                  <a:pos x="37" y="91"/>
                </a:cxn>
                <a:cxn ang="0">
                  <a:pos x="33" y="91"/>
                </a:cxn>
                <a:cxn ang="0">
                  <a:pos x="33" y="86"/>
                </a:cxn>
                <a:cxn ang="0">
                  <a:pos x="34" y="83"/>
                </a:cxn>
                <a:cxn ang="0">
                  <a:pos x="34" y="80"/>
                </a:cxn>
                <a:cxn ang="0">
                  <a:pos x="32" y="77"/>
                </a:cxn>
                <a:cxn ang="0">
                  <a:pos x="24" y="60"/>
                </a:cxn>
                <a:cxn ang="0">
                  <a:pos x="22" y="64"/>
                </a:cxn>
                <a:cxn ang="0">
                  <a:pos x="22" y="64"/>
                </a:cxn>
                <a:cxn ang="0">
                  <a:pos x="20" y="67"/>
                </a:cxn>
                <a:cxn ang="0">
                  <a:pos x="20" y="67"/>
                </a:cxn>
                <a:cxn ang="0">
                  <a:pos x="17" y="65"/>
                </a:cxn>
                <a:cxn ang="0">
                  <a:pos x="13" y="65"/>
                </a:cxn>
                <a:cxn ang="0">
                  <a:pos x="13" y="65"/>
                </a:cxn>
                <a:cxn ang="0">
                  <a:pos x="14" y="58"/>
                </a:cxn>
                <a:cxn ang="0">
                  <a:pos x="11" y="51"/>
                </a:cxn>
                <a:cxn ang="0">
                  <a:pos x="11" y="51"/>
                </a:cxn>
                <a:cxn ang="0">
                  <a:pos x="8" y="46"/>
                </a:cxn>
                <a:cxn ang="0">
                  <a:pos x="6" y="45"/>
                </a:cxn>
                <a:cxn ang="0">
                  <a:pos x="0" y="41"/>
                </a:cxn>
                <a:cxn ang="0">
                  <a:pos x="4" y="33"/>
                </a:cxn>
                <a:cxn ang="0">
                  <a:pos x="5" y="24"/>
                </a:cxn>
                <a:cxn ang="0">
                  <a:pos x="9" y="23"/>
                </a:cxn>
                <a:cxn ang="0">
                  <a:pos x="11" y="11"/>
                </a:cxn>
                <a:cxn ang="0">
                  <a:pos x="17" y="7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6" y="5"/>
                </a:cxn>
                <a:cxn ang="0">
                  <a:pos x="27" y="14"/>
                </a:cxn>
                <a:cxn ang="0">
                  <a:pos x="24" y="22"/>
                </a:cxn>
                <a:cxn ang="0">
                  <a:pos x="29" y="24"/>
                </a:cxn>
                <a:cxn ang="0">
                  <a:pos x="32" y="30"/>
                </a:cxn>
                <a:cxn ang="0">
                  <a:pos x="38" y="38"/>
                </a:cxn>
                <a:cxn ang="0">
                  <a:pos x="41" y="37"/>
                </a:cxn>
                <a:cxn ang="0">
                  <a:pos x="39" y="45"/>
                </a:cxn>
                <a:cxn ang="0">
                  <a:pos x="39" y="45"/>
                </a:cxn>
                <a:cxn ang="0">
                  <a:pos x="39" y="45"/>
                </a:cxn>
                <a:cxn ang="0">
                  <a:pos x="39" y="45"/>
                </a:cxn>
                <a:cxn ang="0">
                  <a:pos x="29" y="53"/>
                </a:cxn>
                <a:cxn ang="0">
                  <a:pos x="36" y="68"/>
                </a:cxn>
                <a:cxn ang="0">
                  <a:pos x="34" y="72"/>
                </a:cxn>
                <a:cxn ang="0">
                  <a:pos x="40" y="84"/>
                </a:cxn>
                <a:cxn ang="0">
                  <a:pos x="37" y="100"/>
                </a:cxn>
                <a:cxn ang="0">
                  <a:pos x="37" y="100"/>
                </a:cxn>
              </a:cxnLst>
              <a:rect l="0" t="0" r="r" b="b"/>
              <a:pathLst>
                <a:path w="41" h="100">
                  <a:moveTo>
                    <a:pt x="37" y="100"/>
                  </a:moveTo>
                  <a:cubicBezTo>
                    <a:pt x="37" y="96"/>
                    <a:pt x="35" y="94"/>
                    <a:pt x="37" y="91"/>
                  </a:cubicBezTo>
                  <a:cubicBezTo>
                    <a:pt x="34" y="91"/>
                    <a:pt x="34" y="91"/>
                    <a:pt x="33" y="91"/>
                  </a:cubicBezTo>
                  <a:cubicBezTo>
                    <a:pt x="33" y="88"/>
                    <a:pt x="33" y="88"/>
                    <a:pt x="33" y="86"/>
                  </a:cubicBezTo>
                  <a:cubicBezTo>
                    <a:pt x="34" y="85"/>
                    <a:pt x="34" y="84"/>
                    <a:pt x="34" y="83"/>
                  </a:cubicBezTo>
                  <a:cubicBezTo>
                    <a:pt x="34" y="82"/>
                    <a:pt x="34" y="81"/>
                    <a:pt x="34" y="80"/>
                  </a:cubicBezTo>
                  <a:cubicBezTo>
                    <a:pt x="32" y="80"/>
                    <a:pt x="33" y="79"/>
                    <a:pt x="32" y="77"/>
                  </a:cubicBezTo>
                  <a:cubicBezTo>
                    <a:pt x="30" y="70"/>
                    <a:pt x="27" y="66"/>
                    <a:pt x="24" y="60"/>
                  </a:cubicBezTo>
                  <a:cubicBezTo>
                    <a:pt x="24" y="63"/>
                    <a:pt x="24" y="64"/>
                    <a:pt x="22" y="64"/>
                  </a:cubicBezTo>
                  <a:lnTo>
                    <a:pt x="22" y="64"/>
                  </a:lnTo>
                  <a:lnTo>
                    <a:pt x="20" y="67"/>
                  </a:lnTo>
                  <a:lnTo>
                    <a:pt x="20" y="67"/>
                  </a:lnTo>
                  <a:cubicBezTo>
                    <a:pt x="19" y="67"/>
                    <a:pt x="18" y="65"/>
                    <a:pt x="17" y="65"/>
                  </a:cubicBezTo>
                  <a:cubicBezTo>
                    <a:pt x="15" y="65"/>
                    <a:pt x="13" y="66"/>
                    <a:pt x="13" y="65"/>
                  </a:cubicBezTo>
                  <a:lnTo>
                    <a:pt x="13" y="65"/>
                  </a:lnTo>
                  <a:lnTo>
                    <a:pt x="14" y="58"/>
                  </a:lnTo>
                  <a:lnTo>
                    <a:pt x="11" y="51"/>
                  </a:lnTo>
                  <a:lnTo>
                    <a:pt x="11" y="51"/>
                  </a:lnTo>
                  <a:cubicBezTo>
                    <a:pt x="10" y="49"/>
                    <a:pt x="8" y="48"/>
                    <a:pt x="8" y="46"/>
                  </a:cubicBezTo>
                  <a:cubicBezTo>
                    <a:pt x="7" y="46"/>
                    <a:pt x="6" y="45"/>
                    <a:pt x="6" y="45"/>
                  </a:cubicBezTo>
                  <a:cubicBezTo>
                    <a:pt x="3" y="45"/>
                    <a:pt x="2" y="43"/>
                    <a:pt x="0" y="41"/>
                  </a:cubicBezTo>
                  <a:cubicBezTo>
                    <a:pt x="3" y="39"/>
                    <a:pt x="3" y="37"/>
                    <a:pt x="4" y="33"/>
                  </a:cubicBezTo>
                  <a:cubicBezTo>
                    <a:pt x="5" y="31"/>
                    <a:pt x="5" y="27"/>
                    <a:pt x="5" y="24"/>
                  </a:cubicBezTo>
                  <a:cubicBezTo>
                    <a:pt x="5" y="23"/>
                    <a:pt x="9" y="24"/>
                    <a:pt x="9" y="23"/>
                  </a:cubicBezTo>
                  <a:cubicBezTo>
                    <a:pt x="11" y="21"/>
                    <a:pt x="11" y="14"/>
                    <a:pt x="11" y="11"/>
                  </a:cubicBezTo>
                  <a:cubicBezTo>
                    <a:pt x="11" y="9"/>
                    <a:pt x="16" y="7"/>
                    <a:pt x="17" y="7"/>
                  </a:cubicBezTo>
                  <a:cubicBezTo>
                    <a:pt x="18" y="6"/>
                    <a:pt x="19" y="2"/>
                    <a:pt x="19" y="0"/>
                  </a:cubicBez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ubicBezTo>
                    <a:pt x="22" y="2"/>
                    <a:pt x="23" y="5"/>
                    <a:pt x="26" y="5"/>
                  </a:cubicBezTo>
                  <a:cubicBezTo>
                    <a:pt x="26" y="8"/>
                    <a:pt x="27" y="10"/>
                    <a:pt x="27" y="14"/>
                  </a:cubicBezTo>
                  <a:cubicBezTo>
                    <a:pt x="27" y="17"/>
                    <a:pt x="24" y="18"/>
                    <a:pt x="24" y="22"/>
                  </a:cubicBezTo>
                  <a:cubicBezTo>
                    <a:pt x="24" y="24"/>
                    <a:pt x="27" y="23"/>
                    <a:pt x="29" y="24"/>
                  </a:cubicBezTo>
                  <a:cubicBezTo>
                    <a:pt x="31" y="26"/>
                    <a:pt x="31" y="28"/>
                    <a:pt x="32" y="30"/>
                  </a:cubicBezTo>
                  <a:cubicBezTo>
                    <a:pt x="33" y="32"/>
                    <a:pt x="35" y="38"/>
                    <a:pt x="38" y="38"/>
                  </a:cubicBezTo>
                  <a:cubicBezTo>
                    <a:pt x="39" y="38"/>
                    <a:pt x="41" y="38"/>
                    <a:pt x="41" y="37"/>
                  </a:cubicBezTo>
                  <a:cubicBezTo>
                    <a:pt x="41" y="39"/>
                    <a:pt x="39" y="42"/>
                    <a:pt x="39" y="45"/>
                  </a:cubicBez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cubicBezTo>
                    <a:pt x="34" y="46"/>
                    <a:pt x="29" y="46"/>
                    <a:pt x="29" y="53"/>
                  </a:cubicBezTo>
                  <a:cubicBezTo>
                    <a:pt x="29" y="59"/>
                    <a:pt x="36" y="60"/>
                    <a:pt x="36" y="68"/>
                  </a:cubicBezTo>
                  <a:cubicBezTo>
                    <a:pt x="36" y="69"/>
                    <a:pt x="34" y="70"/>
                    <a:pt x="34" y="72"/>
                  </a:cubicBezTo>
                  <a:cubicBezTo>
                    <a:pt x="34" y="76"/>
                    <a:pt x="38" y="80"/>
                    <a:pt x="40" y="84"/>
                  </a:cubicBezTo>
                  <a:cubicBezTo>
                    <a:pt x="40" y="90"/>
                    <a:pt x="37" y="100"/>
                    <a:pt x="37" y="100"/>
                  </a:cubicBezTo>
                  <a:lnTo>
                    <a:pt x="37" y="10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Freeform 86"/>
            <p:cNvSpPr>
              <a:spLocks/>
            </p:cNvSpPr>
            <p:nvPr/>
          </p:nvSpPr>
          <p:spPr bwMode="auto">
            <a:xfrm>
              <a:off x="7489825" y="4137173"/>
              <a:ext cx="254001" cy="33655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0" y="2"/>
                </a:cxn>
                <a:cxn ang="0">
                  <a:pos x="22" y="5"/>
                </a:cxn>
                <a:cxn ang="0">
                  <a:pos x="18" y="4"/>
                </a:cxn>
                <a:cxn ang="0">
                  <a:pos x="16" y="7"/>
                </a:cxn>
                <a:cxn ang="0">
                  <a:pos x="18" y="12"/>
                </a:cxn>
                <a:cxn ang="0">
                  <a:pos x="16" y="14"/>
                </a:cxn>
                <a:cxn ang="0">
                  <a:pos x="13" y="17"/>
                </a:cxn>
                <a:cxn ang="0">
                  <a:pos x="16" y="20"/>
                </a:cxn>
                <a:cxn ang="0">
                  <a:pos x="21" y="25"/>
                </a:cxn>
                <a:cxn ang="0">
                  <a:pos x="21" y="25"/>
                </a:cxn>
                <a:cxn ang="0">
                  <a:pos x="22" y="25"/>
                </a:cxn>
                <a:cxn ang="0">
                  <a:pos x="22" y="25"/>
                </a:cxn>
                <a:cxn ang="0">
                  <a:pos x="15" y="29"/>
                </a:cxn>
                <a:cxn ang="0">
                  <a:pos x="14" y="28"/>
                </a:cxn>
                <a:cxn ang="0">
                  <a:pos x="10" y="27"/>
                </a:cxn>
                <a:cxn ang="0">
                  <a:pos x="4" y="24"/>
                </a:cxn>
                <a:cxn ang="0">
                  <a:pos x="6" y="21"/>
                </a:cxn>
                <a:cxn ang="0">
                  <a:pos x="0" y="16"/>
                </a:cxn>
                <a:cxn ang="0">
                  <a:pos x="6" y="8"/>
                </a:cxn>
                <a:cxn ang="0">
                  <a:pos x="21" y="0"/>
                </a:cxn>
                <a:cxn ang="0">
                  <a:pos x="21" y="0"/>
                </a:cxn>
              </a:cxnLst>
              <a:rect l="0" t="0" r="r" b="b"/>
              <a:pathLst>
                <a:path w="22" h="29">
                  <a:moveTo>
                    <a:pt x="21" y="0"/>
                  </a:moveTo>
                  <a:cubicBezTo>
                    <a:pt x="19" y="1"/>
                    <a:pt x="20" y="1"/>
                    <a:pt x="20" y="2"/>
                  </a:cubicBezTo>
                  <a:cubicBezTo>
                    <a:pt x="20" y="4"/>
                    <a:pt x="22" y="5"/>
                    <a:pt x="22" y="5"/>
                  </a:cubicBezTo>
                  <a:cubicBezTo>
                    <a:pt x="20" y="5"/>
                    <a:pt x="19" y="5"/>
                    <a:pt x="18" y="4"/>
                  </a:cubicBezTo>
                  <a:cubicBezTo>
                    <a:pt x="17" y="5"/>
                    <a:pt x="16" y="6"/>
                    <a:pt x="16" y="7"/>
                  </a:cubicBezTo>
                  <a:cubicBezTo>
                    <a:pt x="16" y="9"/>
                    <a:pt x="18" y="10"/>
                    <a:pt x="18" y="12"/>
                  </a:cubicBezTo>
                  <a:cubicBezTo>
                    <a:pt x="18" y="14"/>
                    <a:pt x="17" y="14"/>
                    <a:pt x="16" y="14"/>
                  </a:cubicBezTo>
                  <a:cubicBezTo>
                    <a:pt x="15" y="14"/>
                    <a:pt x="13" y="16"/>
                    <a:pt x="13" y="17"/>
                  </a:cubicBezTo>
                  <a:cubicBezTo>
                    <a:pt x="13" y="18"/>
                    <a:pt x="15" y="19"/>
                    <a:pt x="16" y="20"/>
                  </a:cubicBezTo>
                  <a:cubicBezTo>
                    <a:pt x="18" y="20"/>
                    <a:pt x="20" y="22"/>
                    <a:pt x="21" y="25"/>
                  </a:cubicBez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cubicBezTo>
                    <a:pt x="18" y="26"/>
                    <a:pt x="17" y="25"/>
                    <a:pt x="15" y="29"/>
                  </a:cubicBezTo>
                  <a:cubicBezTo>
                    <a:pt x="15" y="29"/>
                    <a:pt x="14" y="29"/>
                    <a:pt x="14" y="28"/>
                  </a:cubicBezTo>
                  <a:cubicBezTo>
                    <a:pt x="12" y="28"/>
                    <a:pt x="11" y="27"/>
                    <a:pt x="10" y="27"/>
                  </a:cubicBezTo>
                  <a:cubicBezTo>
                    <a:pt x="9" y="27"/>
                    <a:pt x="4" y="25"/>
                    <a:pt x="4" y="24"/>
                  </a:cubicBezTo>
                  <a:cubicBezTo>
                    <a:pt x="4" y="23"/>
                    <a:pt x="6" y="22"/>
                    <a:pt x="6" y="21"/>
                  </a:cubicBezTo>
                  <a:cubicBezTo>
                    <a:pt x="4" y="19"/>
                    <a:pt x="3" y="17"/>
                    <a:pt x="0" y="16"/>
                  </a:cubicBezTo>
                  <a:cubicBezTo>
                    <a:pt x="1" y="12"/>
                    <a:pt x="6" y="12"/>
                    <a:pt x="6" y="8"/>
                  </a:cubicBezTo>
                  <a:cubicBezTo>
                    <a:pt x="14" y="8"/>
                    <a:pt x="14" y="0"/>
                    <a:pt x="21" y="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Freeform 87"/>
            <p:cNvSpPr>
              <a:spLocks/>
            </p:cNvSpPr>
            <p:nvPr/>
          </p:nvSpPr>
          <p:spPr bwMode="auto">
            <a:xfrm>
              <a:off x="5454651" y="4946799"/>
              <a:ext cx="450850" cy="2555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1"/>
                </a:cxn>
                <a:cxn ang="0">
                  <a:pos x="7" y="1"/>
                </a:cxn>
                <a:cxn ang="0">
                  <a:pos x="12" y="4"/>
                </a:cxn>
                <a:cxn ang="0">
                  <a:pos x="36" y="13"/>
                </a:cxn>
                <a:cxn ang="0">
                  <a:pos x="36" y="13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9" y="21"/>
                </a:cxn>
                <a:cxn ang="0">
                  <a:pos x="24" y="19"/>
                </a:cxn>
                <a:cxn ang="0">
                  <a:pos x="20" y="15"/>
                </a:cxn>
                <a:cxn ang="0">
                  <a:pos x="12" y="13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39" h="22">
                  <a:moveTo>
                    <a:pt x="0" y="0"/>
                  </a:moveTo>
                  <a:lnTo>
                    <a:pt x="7" y="1"/>
                  </a:lnTo>
                  <a:lnTo>
                    <a:pt x="7" y="1"/>
                  </a:lnTo>
                  <a:cubicBezTo>
                    <a:pt x="8" y="2"/>
                    <a:pt x="12" y="3"/>
                    <a:pt x="12" y="4"/>
                  </a:cubicBezTo>
                  <a:cubicBezTo>
                    <a:pt x="20" y="9"/>
                    <a:pt x="24" y="13"/>
                    <a:pt x="36" y="13"/>
                  </a:cubicBezTo>
                  <a:lnTo>
                    <a:pt x="36" y="13"/>
                  </a:lnTo>
                  <a:lnTo>
                    <a:pt x="36" y="16"/>
                  </a:lnTo>
                  <a:lnTo>
                    <a:pt x="36" y="16"/>
                  </a:lnTo>
                  <a:cubicBezTo>
                    <a:pt x="37" y="17"/>
                    <a:pt x="38" y="20"/>
                    <a:pt x="39" y="21"/>
                  </a:cubicBezTo>
                  <a:cubicBezTo>
                    <a:pt x="36" y="22"/>
                    <a:pt x="27" y="19"/>
                    <a:pt x="24" y="19"/>
                  </a:cubicBezTo>
                  <a:cubicBezTo>
                    <a:pt x="22" y="18"/>
                    <a:pt x="22" y="16"/>
                    <a:pt x="20" y="15"/>
                  </a:cubicBezTo>
                  <a:cubicBezTo>
                    <a:pt x="17" y="13"/>
                    <a:pt x="12" y="17"/>
                    <a:pt x="12" y="13"/>
                  </a:cubicBezTo>
                  <a:cubicBezTo>
                    <a:pt x="9" y="13"/>
                    <a:pt x="2" y="10"/>
                    <a:pt x="0" y="8"/>
                  </a:cubicBez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Freeform 88"/>
            <p:cNvSpPr>
              <a:spLocks/>
            </p:cNvSpPr>
            <p:nvPr/>
          </p:nvSpPr>
          <p:spPr bwMode="auto">
            <a:xfrm>
              <a:off x="5918200" y="5051574"/>
              <a:ext cx="160338" cy="139701"/>
            </a:xfrm>
            <a:custGeom>
              <a:avLst/>
              <a:gdLst/>
              <a:ahLst/>
              <a:cxnLst>
                <a:cxn ang="0">
                  <a:pos x="14" y="4"/>
                </a:cxn>
                <a:cxn ang="0">
                  <a:pos x="10" y="12"/>
                </a:cxn>
                <a:cxn ang="0">
                  <a:pos x="7" y="10"/>
                </a:cxn>
                <a:cxn ang="0">
                  <a:pos x="0" y="8"/>
                </a:cxn>
                <a:cxn ang="0">
                  <a:pos x="2" y="4"/>
                </a:cxn>
                <a:cxn ang="0">
                  <a:pos x="6" y="0"/>
                </a:cxn>
                <a:cxn ang="0">
                  <a:pos x="14" y="4"/>
                </a:cxn>
                <a:cxn ang="0">
                  <a:pos x="14" y="4"/>
                </a:cxn>
              </a:cxnLst>
              <a:rect l="0" t="0" r="r" b="b"/>
              <a:pathLst>
                <a:path w="14" h="12">
                  <a:moveTo>
                    <a:pt x="14" y="4"/>
                  </a:moveTo>
                  <a:cubicBezTo>
                    <a:pt x="14" y="7"/>
                    <a:pt x="12" y="12"/>
                    <a:pt x="10" y="12"/>
                  </a:cubicBezTo>
                  <a:cubicBezTo>
                    <a:pt x="8" y="12"/>
                    <a:pt x="7" y="11"/>
                    <a:pt x="7" y="10"/>
                  </a:cubicBezTo>
                  <a:cubicBezTo>
                    <a:pt x="5" y="10"/>
                    <a:pt x="3" y="9"/>
                    <a:pt x="0" y="8"/>
                  </a:cubicBezTo>
                  <a:cubicBezTo>
                    <a:pt x="0" y="7"/>
                    <a:pt x="1" y="6"/>
                    <a:pt x="2" y="4"/>
                  </a:cubicBezTo>
                  <a:cubicBezTo>
                    <a:pt x="4" y="4"/>
                    <a:pt x="4" y="1"/>
                    <a:pt x="6" y="0"/>
                  </a:cubicBezTo>
                  <a:cubicBezTo>
                    <a:pt x="7" y="2"/>
                    <a:pt x="12" y="4"/>
                    <a:pt x="14" y="4"/>
                  </a:cubicBezTo>
                  <a:lnTo>
                    <a:pt x="14" y="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Freeform 89"/>
            <p:cNvSpPr>
              <a:spLocks/>
            </p:cNvSpPr>
            <p:nvPr/>
          </p:nvSpPr>
          <p:spPr bwMode="auto">
            <a:xfrm>
              <a:off x="5905500" y="5202386"/>
              <a:ext cx="277813" cy="325438"/>
            </a:xfrm>
            <a:custGeom>
              <a:avLst/>
              <a:gdLst/>
              <a:ahLst/>
              <a:cxnLst>
                <a:cxn ang="0">
                  <a:pos x="24" y="20"/>
                </a:cxn>
                <a:cxn ang="0">
                  <a:pos x="20" y="14"/>
                </a:cxn>
                <a:cxn ang="0">
                  <a:pos x="20" y="14"/>
                </a:cxn>
                <a:cxn ang="0">
                  <a:pos x="18" y="16"/>
                </a:cxn>
                <a:cxn ang="0">
                  <a:pos x="16" y="14"/>
                </a:cxn>
                <a:cxn ang="0">
                  <a:pos x="20" y="6"/>
                </a:cxn>
                <a:cxn ang="0">
                  <a:pos x="20" y="6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0" y="2"/>
                </a:cxn>
                <a:cxn ang="0">
                  <a:pos x="4" y="6"/>
                </a:cxn>
                <a:cxn ang="0">
                  <a:pos x="0" y="10"/>
                </a:cxn>
                <a:cxn ang="0">
                  <a:pos x="6" y="14"/>
                </a:cxn>
                <a:cxn ang="0">
                  <a:pos x="6" y="14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13" y="21"/>
                </a:cxn>
                <a:cxn ang="0">
                  <a:pos x="13" y="18"/>
                </a:cxn>
                <a:cxn ang="0">
                  <a:pos x="17" y="18"/>
                </a:cxn>
                <a:cxn ang="0">
                  <a:pos x="21" y="28"/>
                </a:cxn>
                <a:cxn ang="0">
                  <a:pos x="24" y="20"/>
                </a:cxn>
                <a:cxn ang="0">
                  <a:pos x="24" y="20"/>
                </a:cxn>
              </a:cxnLst>
              <a:rect l="0" t="0" r="r" b="b"/>
              <a:pathLst>
                <a:path w="24" h="28">
                  <a:moveTo>
                    <a:pt x="24" y="20"/>
                  </a:moveTo>
                  <a:lnTo>
                    <a:pt x="20" y="14"/>
                  </a:lnTo>
                  <a:lnTo>
                    <a:pt x="20" y="14"/>
                  </a:lnTo>
                  <a:cubicBezTo>
                    <a:pt x="20" y="14"/>
                    <a:pt x="19" y="16"/>
                    <a:pt x="18" y="16"/>
                  </a:cubicBezTo>
                  <a:cubicBezTo>
                    <a:pt x="17" y="16"/>
                    <a:pt x="16" y="15"/>
                    <a:pt x="16" y="14"/>
                  </a:cubicBezTo>
                  <a:cubicBezTo>
                    <a:pt x="16" y="10"/>
                    <a:pt x="20" y="9"/>
                    <a:pt x="20" y="6"/>
                  </a:cubicBezTo>
                  <a:lnTo>
                    <a:pt x="20" y="6"/>
                  </a:lnTo>
                  <a:lnTo>
                    <a:pt x="11" y="6"/>
                  </a:lnTo>
                  <a:lnTo>
                    <a:pt x="11" y="6"/>
                  </a:lnTo>
                  <a:cubicBezTo>
                    <a:pt x="9" y="6"/>
                    <a:pt x="8" y="4"/>
                    <a:pt x="8" y="2"/>
                  </a:cubicBezTo>
                  <a:cubicBezTo>
                    <a:pt x="7" y="2"/>
                    <a:pt x="5" y="1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3" y="6"/>
                    <a:pt x="4" y="6"/>
                  </a:cubicBezTo>
                  <a:cubicBezTo>
                    <a:pt x="3" y="7"/>
                    <a:pt x="0" y="9"/>
                    <a:pt x="0" y="10"/>
                  </a:cubicBezTo>
                  <a:cubicBezTo>
                    <a:pt x="0" y="11"/>
                    <a:pt x="4" y="14"/>
                    <a:pt x="6" y="14"/>
                  </a:cubicBezTo>
                  <a:lnTo>
                    <a:pt x="6" y="14"/>
                  </a:lnTo>
                  <a:lnTo>
                    <a:pt x="8" y="24"/>
                  </a:lnTo>
                  <a:lnTo>
                    <a:pt x="8" y="24"/>
                  </a:lnTo>
                  <a:cubicBezTo>
                    <a:pt x="8" y="21"/>
                    <a:pt x="11" y="21"/>
                    <a:pt x="13" y="21"/>
                  </a:cubicBezTo>
                  <a:cubicBezTo>
                    <a:pt x="13" y="20"/>
                    <a:pt x="13" y="19"/>
                    <a:pt x="13" y="18"/>
                  </a:cubicBezTo>
                  <a:cubicBezTo>
                    <a:pt x="15" y="19"/>
                    <a:pt x="16" y="18"/>
                    <a:pt x="17" y="18"/>
                  </a:cubicBezTo>
                  <a:cubicBezTo>
                    <a:pt x="17" y="21"/>
                    <a:pt x="19" y="25"/>
                    <a:pt x="21" y="28"/>
                  </a:cubicBezTo>
                  <a:cubicBezTo>
                    <a:pt x="24" y="26"/>
                    <a:pt x="24" y="24"/>
                    <a:pt x="24" y="20"/>
                  </a:cubicBezTo>
                  <a:lnTo>
                    <a:pt x="24" y="2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Freeform 90"/>
            <p:cNvSpPr>
              <a:spLocks/>
            </p:cNvSpPr>
            <p:nvPr/>
          </p:nvSpPr>
          <p:spPr bwMode="auto">
            <a:xfrm>
              <a:off x="6692900" y="5364311"/>
              <a:ext cx="461963" cy="903289"/>
            </a:xfrm>
            <a:custGeom>
              <a:avLst/>
              <a:gdLst/>
              <a:ahLst/>
              <a:cxnLst>
                <a:cxn ang="0">
                  <a:pos x="25" y="10"/>
                </a:cxn>
                <a:cxn ang="0">
                  <a:pos x="16" y="18"/>
                </a:cxn>
                <a:cxn ang="0">
                  <a:pos x="22" y="27"/>
                </a:cxn>
                <a:cxn ang="0">
                  <a:pos x="24" y="32"/>
                </a:cxn>
                <a:cxn ang="0">
                  <a:pos x="26" y="34"/>
                </a:cxn>
                <a:cxn ang="0">
                  <a:pos x="26" y="34"/>
                </a:cxn>
                <a:cxn ang="0">
                  <a:pos x="36" y="45"/>
                </a:cxn>
                <a:cxn ang="0">
                  <a:pos x="36" y="45"/>
                </a:cxn>
                <a:cxn ang="0">
                  <a:pos x="40" y="58"/>
                </a:cxn>
                <a:cxn ang="0">
                  <a:pos x="40" y="63"/>
                </a:cxn>
                <a:cxn ang="0">
                  <a:pos x="30" y="71"/>
                </a:cxn>
                <a:cxn ang="0">
                  <a:pos x="26" y="71"/>
                </a:cxn>
                <a:cxn ang="0">
                  <a:pos x="20" y="78"/>
                </a:cxn>
                <a:cxn ang="0">
                  <a:pos x="18" y="76"/>
                </a:cxn>
                <a:cxn ang="0">
                  <a:pos x="19" y="70"/>
                </a:cxn>
                <a:cxn ang="0">
                  <a:pos x="25" y="67"/>
                </a:cxn>
                <a:cxn ang="0">
                  <a:pos x="32" y="55"/>
                </a:cxn>
                <a:cxn ang="0">
                  <a:pos x="32" y="55"/>
                </a:cxn>
                <a:cxn ang="0">
                  <a:pos x="30" y="49"/>
                </a:cxn>
                <a:cxn ang="0">
                  <a:pos x="30" y="49"/>
                </a:cxn>
                <a:cxn ang="0">
                  <a:pos x="18" y="28"/>
                </a:cxn>
                <a:cxn ang="0">
                  <a:pos x="6" y="15"/>
                </a:cxn>
                <a:cxn ang="0">
                  <a:pos x="0" y="5"/>
                </a:cxn>
                <a:cxn ang="0">
                  <a:pos x="13" y="0"/>
                </a:cxn>
                <a:cxn ang="0">
                  <a:pos x="20" y="4"/>
                </a:cxn>
                <a:cxn ang="0">
                  <a:pos x="25" y="10"/>
                </a:cxn>
                <a:cxn ang="0">
                  <a:pos x="25" y="10"/>
                </a:cxn>
              </a:cxnLst>
              <a:rect l="0" t="0" r="r" b="b"/>
              <a:pathLst>
                <a:path w="40" h="78">
                  <a:moveTo>
                    <a:pt x="25" y="10"/>
                  </a:moveTo>
                  <a:cubicBezTo>
                    <a:pt x="24" y="10"/>
                    <a:pt x="20" y="12"/>
                    <a:pt x="16" y="18"/>
                  </a:cubicBezTo>
                  <a:cubicBezTo>
                    <a:pt x="16" y="19"/>
                    <a:pt x="20" y="27"/>
                    <a:pt x="22" y="27"/>
                  </a:cubicBezTo>
                  <a:cubicBezTo>
                    <a:pt x="23" y="28"/>
                    <a:pt x="24" y="31"/>
                    <a:pt x="24" y="32"/>
                  </a:cubicBezTo>
                  <a:cubicBezTo>
                    <a:pt x="24" y="33"/>
                    <a:pt x="26" y="34"/>
                    <a:pt x="26" y="34"/>
                  </a:cubicBezTo>
                  <a:lnTo>
                    <a:pt x="26" y="34"/>
                  </a:lnTo>
                  <a:lnTo>
                    <a:pt x="36" y="45"/>
                  </a:lnTo>
                  <a:lnTo>
                    <a:pt x="36" y="45"/>
                  </a:lnTo>
                  <a:cubicBezTo>
                    <a:pt x="37" y="50"/>
                    <a:pt x="40" y="53"/>
                    <a:pt x="40" y="58"/>
                  </a:cubicBezTo>
                  <a:cubicBezTo>
                    <a:pt x="40" y="61"/>
                    <a:pt x="38" y="61"/>
                    <a:pt x="40" y="63"/>
                  </a:cubicBezTo>
                  <a:cubicBezTo>
                    <a:pt x="34" y="65"/>
                    <a:pt x="32" y="68"/>
                    <a:pt x="30" y="71"/>
                  </a:cubicBezTo>
                  <a:cubicBezTo>
                    <a:pt x="29" y="70"/>
                    <a:pt x="27" y="70"/>
                    <a:pt x="26" y="71"/>
                  </a:cubicBezTo>
                  <a:cubicBezTo>
                    <a:pt x="26" y="72"/>
                    <a:pt x="22" y="78"/>
                    <a:pt x="20" y="78"/>
                  </a:cubicBezTo>
                  <a:cubicBezTo>
                    <a:pt x="19" y="78"/>
                    <a:pt x="18" y="77"/>
                    <a:pt x="18" y="76"/>
                  </a:cubicBezTo>
                  <a:cubicBezTo>
                    <a:pt x="18" y="74"/>
                    <a:pt x="19" y="72"/>
                    <a:pt x="19" y="70"/>
                  </a:cubicBezTo>
                  <a:cubicBezTo>
                    <a:pt x="22" y="70"/>
                    <a:pt x="22" y="68"/>
                    <a:pt x="25" y="67"/>
                  </a:cubicBezTo>
                  <a:cubicBezTo>
                    <a:pt x="25" y="63"/>
                    <a:pt x="29" y="58"/>
                    <a:pt x="32" y="55"/>
                  </a:cubicBezTo>
                  <a:lnTo>
                    <a:pt x="32" y="55"/>
                  </a:lnTo>
                  <a:lnTo>
                    <a:pt x="30" y="49"/>
                  </a:lnTo>
                  <a:lnTo>
                    <a:pt x="30" y="49"/>
                  </a:lnTo>
                  <a:cubicBezTo>
                    <a:pt x="30" y="37"/>
                    <a:pt x="24" y="34"/>
                    <a:pt x="18" y="28"/>
                  </a:cubicBezTo>
                  <a:cubicBezTo>
                    <a:pt x="14" y="24"/>
                    <a:pt x="9" y="19"/>
                    <a:pt x="6" y="15"/>
                  </a:cubicBezTo>
                  <a:cubicBezTo>
                    <a:pt x="5" y="11"/>
                    <a:pt x="2" y="8"/>
                    <a:pt x="0" y="5"/>
                  </a:cubicBezTo>
                  <a:cubicBezTo>
                    <a:pt x="5" y="4"/>
                    <a:pt x="11" y="3"/>
                    <a:pt x="13" y="0"/>
                  </a:cubicBezTo>
                  <a:cubicBezTo>
                    <a:pt x="14" y="3"/>
                    <a:pt x="18" y="3"/>
                    <a:pt x="20" y="4"/>
                  </a:cubicBezTo>
                  <a:cubicBezTo>
                    <a:pt x="22" y="6"/>
                    <a:pt x="22" y="7"/>
                    <a:pt x="25" y="10"/>
                  </a:cubicBezTo>
                  <a:lnTo>
                    <a:pt x="25" y="1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Freeform 91"/>
            <p:cNvSpPr>
              <a:spLocks/>
            </p:cNvSpPr>
            <p:nvPr/>
          </p:nvSpPr>
          <p:spPr bwMode="auto">
            <a:xfrm>
              <a:off x="6599238" y="5421461"/>
              <a:ext cx="438150" cy="5334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3" y="5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5" y="16"/>
                </a:cxn>
                <a:cxn ang="0">
                  <a:pos x="8" y="27"/>
                </a:cxn>
                <a:cxn ang="0">
                  <a:pos x="10" y="23"/>
                </a:cxn>
                <a:cxn ang="0">
                  <a:pos x="14" y="25"/>
                </a:cxn>
                <a:cxn ang="0">
                  <a:pos x="17" y="22"/>
                </a:cxn>
                <a:cxn ang="0">
                  <a:pos x="21" y="25"/>
                </a:cxn>
                <a:cxn ang="0">
                  <a:pos x="30" y="41"/>
                </a:cxn>
                <a:cxn ang="0">
                  <a:pos x="28" y="44"/>
                </a:cxn>
                <a:cxn ang="0">
                  <a:pos x="32" y="46"/>
                </a:cxn>
                <a:cxn ang="0">
                  <a:pos x="38" y="44"/>
                </a:cxn>
                <a:cxn ang="0">
                  <a:pos x="26" y="23"/>
                </a:cxn>
                <a:cxn ang="0">
                  <a:pos x="14" y="10"/>
                </a:cxn>
                <a:cxn ang="0">
                  <a:pos x="9" y="0"/>
                </a:cxn>
                <a:cxn ang="0">
                  <a:pos x="9" y="0"/>
                </a:cxn>
              </a:cxnLst>
              <a:rect l="0" t="0" r="r" b="b"/>
              <a:pathLst>
                <a:path w="38" h="46">
                  <a:moveTo>
                    <a:pt x="9" y="0"/>
                  </a:moveTo>
                  <a:cubicBezTo>
                    <a:pt x="7" y="2"/>
                    <a:pt x="5" y="3"/>
                    <a:pt x="3" y="5"/>
                  </a:cubicBezTo>
                  <a:cubicBezTo>
                    <a:pt x="2" y="7"/>
                    <a:pt x="0" y="10"/>
                    <a:pt x="0" y="13"/>
                  </a:cubicBez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ubicBezTo>
                    <a:pt x="2" y="14"/>
                    <a:pt x="3" y="16"/>
                    <a:pt x="5" y="16"/>
                  </a:cubicBezTo>
                  <a:cubicBezTo>
                    <a:pt x="6" y="19"/>
                    <a:pt x="6" y="27"/>
                    <a:pt x="8" y="27"/>
                  </a:cubicBezTo>
                  <a:cubicBezTo>
                    <a:pt x="10" y="27"/>
                    <a:pt x="10" y="24"/>
                    <a:pt x="10" y="23"/>
                  </a:cubicBezTo>
                  <a:cubicBezTo>
                    <a:pt x="12" y="23"/>
                    <a:pt x="13" y="25"/>
                    <a:pt x="14" y="25"/>
                  </a:cubicBezTo>
                  <a:cubicBezTo>
                    <a:pt x="15" y="25"/>
                    <a:pt x="15" y="22"/>
                    <a:pt x="17" y="22"/>
                  </a:cubicBezTo>
                  <a:cubicBezTo>
                    <a:pt x="19" y="22"/>
                    <a:pt x="20" y="23"/>
                    <a:pt x="21" y="25"/>
                  </a:cubicBezTo>
                  <a:cubicBezTo>
                    <a:pt x="24" y="30"/>
                    <a:pt x="30" y="35"/>
                    <a:pt x="30" y="41"/>
                  </a:cubicBezTo>
                  <a:cubicBezTo>
                    <a:pt x="30" y="42"/>
                    <a:pt x="28" y="44"/>
                    <a:pt x="28" y="44"/>
                  </a:cubicBezTo>
                  <a:cubicBezTo>
                    <a:pt x="30" y="45"/>
                    <a:pt x="30" y="45"/>
                    <a:pt x="32" y="46"/>
                  </a:cubicBezTo>
                  <a:cubicBezTo>
                    <a:pt x="33" y="42"/>
                    <a:pt x="36" y="44"/>
                    <a:pt x="38" y="44"/>
                  </a:cubicBezTo>
                  <a:cubicBezTo>
                    <a:pt x="38" y="32"/>
                    <a:pt x="32" y="29"/>
                    <a:pt x="26" y="23"/>
                  </a:cubicBezTo>
                  <a:cubicBezTo>
                    <a:pt x="22" y="19"/>
                    <a:pt x="17" y="14"/>
                    <a:pt x="14" y="10"/>
                  </a:cubicBezTo>
                  <a:cubicBezTo>
                    <a:pt x="13" y="6"/>
                    <a:pt x="9" y="4"/>
                    <a:pt x="9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Freeform 92"/>
            <p:cNvSpPr>
              <a:spLocks/>
            </p:cNvSpPr>
            <p:nvPr/>
          </p:nvSpPr>
          <p:spPr bwMode="auto">
            <a:xfrm>
              <a:off x="6784975" y="5908824"/>
              <a:ext cx="277813" cy="266700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16" y="4"/>
                </a:cxn>
                <a:cxn ang="0">
                  <a:pos x="22" y="2"/>
                </a:cxn>
                <a:cxn ang="0">
                  <a:pos x="22" y="2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17" y="20"/>
                </a:cxn>
                <a:cxn ang="0">
                  <a:pos x="11" y="23"/>
                </a:cxn>
                <a:cxn ang="0">
                  <a:pos x="3" y="19"/>
                </a:cxn>
                <a:cxn ang="0">
                  <a:pos x="4" y="17"/>
                </a:cxn>
                <a:cxn ang="0">
                  <a:pos x="0" y="6"/>
                </a:cxn>
                <a:cxn ang="0">
                  <a:pos x="6" y="3"/>
                </a:cxn>
                <a:cxn ang="0">
                  <a:pos x="11" y="2"/>
                </a:cxn>
                <a:cxn ang="0">
                  <a:pos x="11" y="2"/>
                </a:cxn>
              </a:cxnLst>
              <a:rect l="0" t="0" r="r" b="b"/>
              <a:pathLst>
                <a:path w="24" h="23">
                  <a:moveTo>
                    <a:pt x="11" y="2"/>
                  </a:moveTo>
                  <a:cubicBezTo>
                    <a:pt x="13" y="3"/>
                    <a:pt x="14" y="3"/>
                    <a:pt x="16" y="4"/>
                  </a:cubicBezTo>
                  <a:cubicBezTo>
                    <a:pt x="17" y="0"/>
                    <a:pt x="20" y="2"/>
                    <a:pt x="22" y="2"/>
                  </a:cubicBezTo>
                  <a:lnTo>
                    <a:pt x="22" y="2"/>
                  </a:lnTo>
                  <a:lnTo>
                    <a:pt x="24" y="8"/>
                  </a:lnTo>
                  <a:lnTo>
                    <a:pt x="24" y="8"/>
                  </a:lnTo>
                  <a:cubicBezTo>
                    <a:pt x="21" y="11"/>
                    <a:pt x="17" y="16"/>
                    <a:pt x="17" y="20"/>
                  </a:cubicBezTo>
                  <a:cubicBezTo>
                    <a:pt x="14" y="21"/>
                    <a:pt x="14" y="23"/>
                    <a:pt x="11" y="23"/>
                  </a:cubicBezTo>
                  <a:cubicBezTo>
                    <a:pt x="8" y="23"/>
                    <a:pt x="3" y="22"/>
                    <a:pt x="3" y="19"/>
                  </a:cubicBezTo>
                  <a:cubicBezTo>
                    <a:pt x="3" y="19"/>
                    <a:pt x="4" y="18"/>
                    <a:pt x="4" y="17"/>
                  </a:cubicBezTo>
                  <a:cubicBezTo>
                    <a:pt x="4" y="12"/>
                    <a:pt x="0" y="11"/>
                    <a:pt x="0" y="6"/>
                  </a:cubicBezTo>
                  <a:cubicBezTo>
                    <a:pt x="0" y="3"/>
                    <a:pt x="4" y="3"/>
                    <a:pt x="6" y="3"/>
                  </a:cubicBezTo>
                  <a:cubicBezTo>
                    <a:pt x="7" y="3"/>
                    <a:pt x="9" y="2"/>
                    <a:pt x="11" y="2"/>
                  </a:cubicBezTo>
                  <a:lnTo>
                    <a:pt x="11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Freeform 93"/>
            <p:cNvSpPr>
              <a:spLocks/>
            </p:cNvSpPr>
            <p:nvPr/>
          </p:nvSpPr>
          <p:spPr bwMode="auto">
            <a:xfrm>
              <a:off x="7651750" y="4426099"/>
              <a:ext cx="198438" cy="26511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7" y="0"/>
                </a:cxn>
                <a:cxn ang="0">
                  <a:pos x="15" y="6"/>
                </a:cxn>
                <a:cxn ang="0">
                  <a:pos x="17" y="16"/>
                </a:cxn>
                <a:cxn ang="0">
                  <a:pos x="9" y="22"/>
                </a:cxn>
                <a:cxn ang="0">
                  <a:pos x="6" y="13"/>
                </a:cxn>
                <a:cxn ang="0">
                  <a:pos x="0" y="8"/>
                </a:cxn>
                <a:cxn ang="0">
                  <a:pos x="1" y="4"/>
                </a:cxn>
                <a:cxn ang="0">
                  <a:pos x="1" y="4"/>
                </a:cxn>
              </a:cxnLst>
              <a:rect l="0" t="0" r="r" b="b"/>
              <a:pathLst>
                <a:path w="17" h="23">
                  <a:moveTo>
                    <a:pt x="1" y="4"/>
                  </a:moveTo>
                  <a:cubicBezTo>
                    <a:pt x="3" y="0"/>
                    <a:pt x="7" y="0"/>
                    <a:pt x="7" y="0"/>
                  </a:cubicBezTo>
                  <a:cubicBezTo>
                    <a:pt x="9" y="3"/>
                    <a:pt x="11" y="6"/>
                    <a:pt x="15" y="6"/>
                  </a:cubicBezTo>
                  <a:cubicBezTo>
                    <a:pt x="15" y="10"/>
                    <a:pt x="17" y="12"/>
                    <a:pt x="17" y="16"/>
                  </a:cubicBezTo>
                  <a:cubicBezTo>
                    <a:pt x="17" y="23"/>
                    <a:pt x="9" y="17"/>
                    <a:pt x="9" y="22"/>
                  </a:cubicBezTo>
                  <a:cubicBezTo>
                    <a:pt x="5" y="22"/>
                    <a:pt x="7" y="16"/>
                    <a:pt x="6" y="13"/>
                  </a:cubicBezTo>
                  <a:cubicBezTo>
                    <a:pt x="4" y="10"/>
                    <a:pt x="0" y="11"/>
                    <a:pt x="0" y="8"/>
                  </a:cubicBezTo>
                  <a:cubicBezTo>
                    <a:pt x="0" y="7"/>
                    <a:pt x="1" y="6"/>
                    <a:pt x="1" y="4"/>
                  </a:cubicBezTo>
                  <a:lnTo>
                    <a:pt x="1" y="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Freeform 94"/>
            <p:cNvSpPr>
              <a:spLocks/>
            </p:cNvSpPr>
            <p:nvPr/>
          </p:nvSpPr>
          <p:spPr bwMode="auto">
            <a:xfrm>
              <a:off x="7037388" y="5572274"/>
              <a:ext cx="130174" cy="104775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11" y="2"/>
                </a:cxn>
                <a:cxn ang="0">
                  <a:pos x="5" y="9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0" y="5"/>
                </a:cxn>
              </a:cxnLst>
              <a:rect l="0" t="0" r="r" b="b"/>
              <a:pathLst>
                <a:path w="11" h="9">
                  <a:moveTo>
                    <a:pt x="0" y="5"/>
                  </a:moveTo>
                  <a:cubicBezTo>
                    <a:pt x="0" y="2"/>
                    <a:pt x="3" y="1"/>
                    <a:pt x="4" y="0"/>
                  </a:cubicBezTo>
                  <a:lnTo>
                    <a:pt x="4" y="0"/>
                  </a:lnTo>
                  <a:lnTo>
                    <a:pt x="9" y="0"/>
                  </a:lnTo>
                  <a:lnTo>
                    <a:pt x="9" y="0"/>
                  </a:lnTo>
                  <a:cubicBezTo>
                    <a:pt x="10" y="1"/>
                    <a:pt x="11" y="1"/>
                    <a:pt x="11" y="2"/>
                  </a:cubicBezTo>
                  <a:cubicBezTo>
                    <a:pt x="11" y="5"/>
                    <a:pt x="8" y="9"/>
                    <a:pt x="5" y="9"/>
                  </a:cubicBezTo>
                  <a:cubicBezTo>
                    <a:pt x="2" y="9"/>
                    <a:pt x="1" y="7"/>
                    <a:pt x="1" y="5"/>
                  </a:cubicBezTo>
                  <a:lnTo>
                    <a:pt x="1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b="1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Freeform 95"/>
            <p:cNvSpPr>
              <a:spLocks/>
            </p:cNvSpPr>
            <p:nvPr/>
          </p:nvSpPr>
          <p:spPr bwMode="auto">
            <a:xfrm>
              <a:off x="7605712" y="5235724"/>
              <a:ext cx="92075" cy="174625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10"/>
                </a:cxn>
                <a:cxn ang="0">
                  <a:pos x="3" y="15"/>
                </a:cxn>
                <a:cxn ang="0">
                  <a:pos x="0" y="10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15">
                  <a:moveTo>
                    <a:pt x="8" y="2"/>
                  </a:moveTo>
                  <a:cubicBezTo>
                    <a:pt x="8" y="6"/>
                    <a:pt x="8" y="7"/>
                    <a:pt x="8" y="10"/>
                  </a:cubicBezTo>
                  <a:cubicBezTo>
                    <a:pt x="8" y="12"/>
                    <a:pt x="6" y="15"/>
                    <a:pt x="3" y="15"/>
                  </a:cubicBezTo>
                  <a:cubicBezTo>
                    <a:pt x="1" y="15"/>
                    <a:pt x="0" y="12"/>
                    <a:pt x="0" y="10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0"/>
                    <a:pt x="5" y="2"/>
                    <a:pt x="8" y="2"/>
                  </a:cubicBezTo>
                  <a:lnTo>
                    <a:pt x="8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Freeform 96"/>
            <p:cNvSpPr>
              <a:spLocks/>
            </p:cNvSpPr>
            <p:nvPr/>
          </p:nvSpPr>
          <p:spPr bwMode="auto">
            <a:xfrm>
              <a:off x="5542014" y="6175223"/>
              <a:ext cx="128588" cy="233362"/>
            </a:xfrm>
            <a:custGeom>
              <a:avLst/>
              <a:gdLst/>
              <a:ahLst/>
              <a:cxnLst>
                <a:cxn ang="0">
                  <a:pos x="3" y="20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11" y="14"/>
                </a:cxn>
                <a:cxn ang="0">
                  <a:pos x="8" y="20"/>
                </a:cxn>
                <a:cxn ang="0">
                  <a:pos x="3" y="20"/>
                </a:cxn>
              </a:cxnLst>
              <a:rect l="0" t="0" r="r" b="b"/>
              <a:pathLst>
                <a:path w="11" h="20">
                  <a:moveTo>
                    <a:pt x="3" y="20"/>
                  </a:moveTo>
                  <a:cubicBezTo>
                    <a:pt x="2" y="17"/>
                    <a:pt x="0" y="13"/>
                    <a:pt x="0" y="11"/>
                  </a:cubicBezTo>
                  <a:cubicBezTo>
                    <a:pt x="0" y="6"/>
                    <a:pt x="1" y="3"/>
                    <a:pt x="3" y="0"/>
                  </a:cubicBezTo>
                  <a:cubicBezTo>
                    <a:pt x="7" y="4"/>
                    <a:pt x="8" y="2"/>
                    <a:pt x="11" y="14"/>
                  </a:cubicBezTo>
                  <a:cubicBezTo>
                    <a:pt x="11" y="17"/>
                    <a:pt x="10" y="19"/>
                    <a:pt x="8" y="20"/>
                  </a:cubicBezTo>
                  <a:lnTo>
                    <a:pt x="3" y="2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Freeform 97"/>
            <p:cNvSpPr>
              <a:spLocks/>
            </p:cNvSpPr>
            <p:nvPr/>
          </p:nvSpPr>
          <p:spPr bwMode="auto">
            <a:xfrm>
              <a:off x="7743824" y="3440260"/>
              <a:ext cx="428626" cy="522288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12" y="10"/>
                </a:cxn>
                <a:cxn ang="0">
                  <a:pos x="20" y="19"/>
                </a:cxn>
                <a:cxn ang="0">
                  <a:pos x="34" y="30"/>
                </a:cxn>
                <a:cxn ang="0">
                  <a:pos x="27" y="26"/>
                </a:cxn>
                <a:cxn ang="0">
                  <a:pos x="26" y="26"/>
                </a:cxn>
                <a:cxn ang="0">
                  <a:pos x="37" y="42"/>
                </a:cxn>
                <a:cxn ang="0">
                  <a:pos x="37" y="42"/>
                </a:cxn>
                <a:cxn ang="0">
                  <a:pos x="35" y="41"/>
                </a:cxn>
                <a:cxn ang="0">
                  <a:pos x="35" y="41"/>
                </a:cxn>
                <a:cxn ang="0">
                  <a:pos x="32" y="41"/>
                </a:cxn>
                <a:cxn ang="0">
                  <a:pos x="32" y="41"/>
                </a:cxn>
                <a:cxn ang="0">
                  <a:pos x="32" y="45"/>
                </a:cxn>
                <a:cxn ang="0">
                  <a:pos x="28" y="38"/>
                </a:cxn>
                <a:cxn ang="0">
                  <a:pos x="25" y="32"/>
                </a:cxn>
                <a:cxn ang="0">
                  <a:pos x="20" y="26"/>
                </a:cxn>
                <a:cxn ang="0">
                  <a:pos x="13" y="18"/>
                </a:cxn>
                <a:cxn ang="0">
                  <a:pos x="3" y="5"/>
                </a:cxn>
                <a:cxn ang="0">
                  <a:pos x="3" y="5"/>
                </a:cxn>
              </a:cxnLst>
              <a:rect l="0" t="0" r="r" b="b"/>
              <a:pathLst>
                <a:path w="37" h="45">
                  <a:moveTo>
                    <a:pt x="3" y="5"/>
                  </a:moveTo>
                  <a:cubicBezTo>
                    <a:pt x="2" y="2"/>
                    <a:pt x="1" y="2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7"/>
                    <a:pt x="9" y="8"/>
                    <a:pt x="12" y="10"/>
                  </a:cubicBezTo>
                  <a:cubicBezTo>
                    <a:pt x="15" y="13"/>
                    <a:pt x="17" y="16"/>
                    <a:pt x="20" y="19"/>
                  </a:cubicBezTo>
                  <a:cubicBezTo>
                    <a:pt x="24" y="23"/>
                    <a:pt x="31" y="26"/>
                    <a:pt x="34" y="30"/>
                  </a:cubicBezTo>
                  <a:cubicBezTo>
                    <a:pt x="32" y="29"/>
                    <a:pt x="28" y="27"/>
                    <a:pt x="27" y="26"/>
                  </a:cubicBezTo>
                  <a:cubicBezTo>
                    <a:pt x="27" y="26"/>
                    <a:pt x="26" y="26"/>
                    <a:pt x="26" y="26"/>
                  </a:cubicBezTo>
                  <a:cubicBezTo>
                    <a:pt x="26" y="35"/>
                    <a:pt x="34" y="37"/>
                    <a:pt x="37" y="42"/>
                  </a:cubicBezTo>
                  <a:lnTo>
                    <a:pt x="37" y="42"/>
                  </a:lnTo>
                  <a:cubicBezTo>
                    <a:pt x="36" y="41"/>
                    <a:pt x="35" y="41"/>
                    <a:pt x="35" y="41"/>
                  </a:cubicBezTo>
                  <a:lnTo>
                    <a:pt x="35" y="41"/>
                  </a:lnTo>
                  <a:lnTo>
                    <a:pt x="32" y="41"/>
                  </a:lnTo>
                  <a:lnTo>
                    <a:pt x="32" y="41"/>
                  </a:lnTo>
                  <a:cubicBezTo>
                    <a:pt x="32" y="42"/>
                    <a:pt x="32" y="43"/>
                    <a:pt x="32" y="45"/>
                  </a:cubicBezTo>
                  <a:cubicBezTo>
                    <a:pt x="32" y="42"/>
                    <a:pt x="28" y="40"/>
                    <a:pt x="28" y="38"/>
                  </a:cubicBezTo>
                  <a:cubicBezTo>
                    <a:pt x="28" y="37"/>
                    <a:pt x="25" y="34"/>
                    <a:pt x="25" y="32"/>
                  </a:cubicBezTo>
                  <a:cubicBezTo>
                    <a:pt x="22" y="31"/>
                    <a:pt x="20" y="27"/>
                    <a:pt x="20" y="26"/>
                  </a:cubicBezTo>
                  <a:cubicBezTo>
                    <a:pt x="20" y="25"/>
                    <a:pt x="14" y="20"/>
                    <a:pt x="13" y="18"/>
                  </a:cubicBezTo>
                  <a:cubicBezTo>
                    <a:pt x="12" y="12"/>
                    <a:pt x="3" y="12"/>
                    <a:pt x="3" y="5"/>
                  </a:cubicBezTo>
                  <a:lnTo>
                    <a:pt x="3" y="5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Freeform 98"/>
            <p:cNvSpPr>
              <a:spLocks/>
            </p:cNvSpPr>
            <p:nvPr/>
          </p:nvSpPr>
          <p:spPr bwMode="auto">
            <a:xfrm>
              <a:off x="5222875" y="4599135"/>
              <a:ext cx="115889" cy="126999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10" y="8"/>
                </a:cxn>
                <a:cxn ang="0">
                  <a:pos x="8" y="11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10" h="11">
                  <a:moveTo>
                    <a:pt x="0" y="2"/>
                  </a:moveTo>
                  <a:lnTo>
                    <a:pt x="6" y="0"/>
                  </a:lnTo>
                  <a:lnTo>
                    <a:pt x="6" y="0"/>
                  </a:lnTo>
                  <a:cubicBezTo>
                    <a:pt x="8" y="1"/>
                    <a:pt x="10" y="5"/>
                    <a:pt x="10" y="8"/>
                  </a:cubicBezTo>
                  <a:cubicBezTo>
                    <a:pt x="10" y="9"/>
                    <a:pt x="9" y="11"/>
                    <a:pt x="8" y="11"/>
                  </a:cubicBezTo>
                  <a:cubicBezTo>
                    <a:pt x="5" y="8"/>
                    <a:pt x="1" y="5"/>
                    <a:pt x="0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Freeform 99"/>
            <p:cNvSpPr>
              <a:spLocks/>
            </p:cNvSpPr>
            <p:nvPr/>
          </p:nvSpPr>
          <p:spPr bwMode="auto">
            <a:xfrm>
              <a:off x="2101850" y="3256110"/>
              <a:ext cx="368300" cy="138113"/>
            </a:xfrm>
            <a:custGeom>
              <a:avLst/>
              <a:gdLst/>
              <a:ahLst/>
              <a:cxnLst>
                <a:cxn ang="0">
                  <a:pos x="22" y="11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32" y="9"/>
                </a:cxn>
                <a:cxn ang="0">
                  <a:pos x="32" y="9"/>
                </a:cxn>
                <a:cxn ang="0">
                  <a:pos x="30" y="3"/>
                </a:cxn>
                <a:cxn ang="0">
                  <a:pos x="17" y="0"/>
                </a:cxn>
                <a:cxn ang="0">
                  <a:pos x="14" y="1"/>
                </a:cxn>
                <a:cxn ang="0">
                  <a:pos x="12" y="5"/>
                </a:cxn>
                <a:cxn ang="0">
                  <a:pos x="6" y="2"/>
                </a:cxn>
                <a:cxn ang="0">
                  <a:pos x="3" y="10"/>
                </a:cxn>
                <a:cxn ang="0">
                  <a:pos x="12" y="9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22" y="11"/>
                </a:cxn>
              </a:cxnLst>
              <a:rect l="0" t="0" r="r" b="b"/>
              <a:pathLst>
                <a:path w="32" h="12">
                  <a:moveTo>
                    <a:pt x="22" y="11"/>
                  </a:moveTo>
                  <a:cubicBezTo>
                    <a:pt x="23" y="11"/>
                    <a:pt x="27" y="12"/>
                    <a:pt x="27" y="12"/>
                  </a:cubicBezTo>
                  <a:lnTo>
                    <a:pt x="27" y="12"/>
                  </a:lnTo>
                  <a:lnTo>
                    <a:pt x="32" y="9"/>
                  </a:lnTo>
                  <a:lnTo>
                    <a:pt x="32" y="9"/>
                  </a:lnTo>
                  <a:cubicBezTo>
                    <a:pt x="31" y="7"/>
                    <a:pt x="30" y="3"/>
                    <a:pt x="30" y="3"/>
                  </a:cubicBezTo>
                  <a:cubicBezTo>
                    <a:pt x="27" y="3"/>
                    <a:pt x="19" y="0"/>
                    <a:pt x="17" y="0"/>
                  </a:cubicBezTo>
                  <a:cubicBezTo>
                    <a:pt x="16" y="0"/>
                    <a:pt x="16" y="1"/>
                    <a:pt x="14" y="1"/>
                  </a:cubicBezTo>
                  <a:cubicBezTo>
                    <a:pt x="14" y="2"/>
                    <a:pt x="13" y="5"/>
                    <a:pt x="12" y="5"/>
                  </a:cubicBezTo>
                  <a:cubicBezTo>
                    <a:pt x="11" y="5"/>
                    <a:pt x="7" y="3"/>
                    <a:pt x="6" y="2"/>
                  </a:cubicBezTo>
                  <a:cubicBezTo>
                    <a:pt x="3" y="4"/>
                    <a:pt x="0" y="6"/>
                    <a:pt x="3" y="10"/>
                  </a:cubicBezTo>
                  <a:cubicBezTo>
                    <a:pt x="4" y="9"/>
                    <a:pt x="11" y="9"/>
                    <a:pt x="12" y="9"/>
                  </a:cubicBezTo>
                  <a:cubicBezTo>
                    <a:pt x="16" y="9"/>
                    <a:pt x="16" y="11"/>
                    <a:pt x="22" y="11"/>
                  </a:cubicBez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Freeform 100"/>
            <p:cNvSpPr>
              <a:spLocks/>
            </p:cNvSpPr>
            <p:nvPr/>
          </p:nvSpPr>
          <p:spPr bwMode="auto">
            <a:xfrm>
              <a:off x="2112963" y="3359299"/>
              <a:ext cx="300037" cy="163512"/>
            </a:xfrm>
            <a:custGeom>
              <a:avLst/>
              <a:gdLst/>
              <a:ahLst/>
              <a:cxnLst>
                <a:cxn ang="0">
                  <a:pos x="16" y="14"/>
                </a:cxn>
                <a:cxn ang="0">
                  <a:pos x="21" y="10"/>
                </a:cxn>
                <a:cxn ang="0">
                  <a:pos x="23" y="7"/>
                </a:cxn>
                <a:cxn ang="0">
                  <a:pos x="23" y="7"/>
                </a:cxn>
                <a:cxn ang="0">
                  <a:pos x="26" y="4"/>
                </a:cxn>
                <a:cxn ang="0">
                  <a:pos x="26" y="4"/>
                </a:cxn>
                <a:cxn ang="0">
                  <a:pos x="21" y="2"/>
                </a:cxn>
                <a:cxn ang="0">
                  <a:pos x="11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7" y="6"/>
                </a:cxn>
                <a:cxn ang="0">
                  <a:pos x="7" y="10"/>
                </a:cxn>
                <a:cxn ang="0">
                  <a:pos x="14" y="11"/>
                </a:cxn>
                <a:cxn ang="0">
                  <a:pos x="16" y="14"/>
                </a:cxn>
              </a:cxnLst>
              <a:rect l="0" t="0" r="r" b="b"/>
              <a:pathLst>
                <a:path w="26" h="14">
                  <a:moveTo>
                    <a:pt x="16" y="14"/>
                  </a:moveTo>
                  <a:cubicBezTo>
                    <a:pt x="17" y="11"/>
                    <a:pt x="20" y="10"/>
                    <a:pt x="21" y="10"/>
                  </a:cubicBezTo>
                  <a:cubicBezTo>
                    <a:pt x="21" y="10"/>
                    <a:pt x="22" y="7"/>
                    <a:pt x="23" y="7"/>
                  </a:cubicBezTo>
                  <a:lnTo>
                    <a:pt x="23" y="7"/>
                  </a:lnTo>
                  <a:lnTo>
                    <a:pt x="26" y="4"/>
                  </a:lnTo>
                  <a:lnTo>
                    <a:pt x="26" y="4"/>
                  </a:lnTo>
                  <a:cubicBezTo>
                    <a:pt x="26" y="1"/>
                    <a:pt x="21" y="3"/>
                    <a:pt x="21" y="2"/>
                  </a:cubicBezTo>
                  <a:cubicBezTo>
                    <a:pt x="16" y="2"/>
                    <a:pt x="15" y="0"/>
                    <a:pt x="11" y="0"/>
                  </a:cubicBezTo>
                  <a:cubicBezTo>
                    <a:pt x="10" y="0"/>
                    <a:pt x="2" y="0"/>
                    <a:pt x="1" y="1"/>
                  </a:cubicBezTo>
                  <a:cubicBezTo>
                    <a:pt x="1" y="2"/>
                    <a:pt x="2" y="0"/>
                    <a:pt x="2" y="2"/>
                  </a:cubicBezTo>
                  <a:cubicBezTo>
                    <a:pt x="2" y="3"/>
                    <a:pt x="1" y="4"/>
                    <a:pt x="0" y="5"/>
                  </a:cubicBezTo>
                  <a:lnTo>
                    <a:pt x="0" y="5"/>
                  </a:lnTo>
                  <a:lnTo>
                    <a:pt x="7" y="6"/>
                  </a:lnTo>
                  <a:lnTo>
                    <a:pt x="7" y="10"/>
                  </a:lnTo>
                  <a:lnTo>
                    <a:pt x="14" y="11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9" name="Freeform 101"/>
            <p:cNvSpPr>
              <a:spLocks/>
            </p:cNvSpPr>
            <p:nvPr/>
          </p:nvSpPr>
          <p:spPr bwMode="auto">
            <a:xfrm>
              <a:off x="1847850" y="3429149"/>
              <a:ext cx="473075" cy="360363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22" y="4"/>
                </a:cxn>
                <a:cxn ang="0">
                  <a:pos x="37" y="5"/>
                </a:cxn>
                <a:cxn ang="0">
                  <a:pos x="40" y="8"/>
                </a:cxn>
                <a:cxn ang="0">
                  <a:pos x="40" y="8"/>
                </a:cxn>
                <a:cxn ang="0">
                  <a:pos x="37" y="14"/>
                </a:cxn>
                <a:cxn ang="0">
                  <a:pos x="41" y="23"/>
                </a:cxn>
                <a:cxn ang="0">
                  <a:pos x="38" y="31"/>
                </a:cxn>
                <a:cxn ang="0">
                  <a:pos x="38" y="31"/>
                </a:cxn>
                <a:cxn ang="0">
                  <a:pos x="37" y="31"/>
                </a:cxn>
                <a:cxn ang="0">
                  <a:pos x="37" y="31"/>
                </a:cxn>
                <a:cxn ang="0">
                  <a:pos x="28" y="30"/>
                </a:cxn>
                <a:cxn ang="0">
                  <a:pos x="17" y="27"/>
                </a:cxn>
                <a:cxn ang="0">
                  <a:pos x="6" y="20"/>
                </a:cxn>
                <a:cxn ang="0">
                  <a:pos x="0" y="5"/>
                </a:cxn>
                <a:cxn ang="0">
                  <a:pos x="1" y="4"/>
                </a:cxn>
                <a:cxn ang="0">
                  <a:pos x="14" y="0"/>
                </a:cxn>
                <a:cxn ang="0">
                  <a:pos x="17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1" y="3"/>
                </a:cxn>
              </a:cxnLst>
              <a:rect l="0" t="0" r="r" b="b"/>
              <a:pathLst>
                <a:path w="41" h="31">
                  <a:moveTo>
                    <a:pt x="21" y="3"/>
                  </a:moveTo>
                  <a:lnTo>
                    <a:pt x="22" y="4"/>
                  </a:lnTo>
                  <a:lnTo>
                    <a:pt x="37" y="5"/>
                  </a:lnTo>
                  <a:lnTo>
                    <a:pt x="40" y="8"/>
                  </a:lnTo>
                  <a:lnTo>
                    <a:pt x="40" y="8"/>
                  </a:lnTo>
                  <a:cubicBezTo>
                    <a:pt x="39" y="11"/>
                    <a:pt x="38" y="13"/>
                    <a:pt x="37" y="14"/>
                  </a:cubicBezTo>
                  <a:cubicBezTo>
                    <a:pt x="37" y="17"/>
                    <a:pt x="41" y="23"/>
                    <a:pt x="41" y="23"/>
                  </a:cubicBezTo>
                  <a:cubicBezTo>
                    <a:pt x="40" y="25"/>
                    <a:pt x="38" y="28"/>
                    <a:pt x="38" y="31"/>
                  </a:cubicBezTo>
                  <a:lnTo>
                    <a:pt x="38" y="31"/>
                  </a:lnTo>
                  <a:lnTo>
                    <a:pt x="37" y="31"/>
                  </a:lnTo>
                  <a:lnTo>
                    <a:pt x="37" y="31"/>
                  </a:lnTo>
                  <a:cubicBezTo>
                    <a:pt x="34" y="31"/>
                    <a:pt x="31" y="30"/>
                    <a:pt x="28" y="30"/>
                  </a:cubicBezTo>
                  <a:cubicBezTo>
                    <a:pt x="18" y="30"/>
                    <a:pt x="20" y="28"/>
                    <a:pt x="17" y="27"/>
                  </a:cubicBezTo>
                  <a:cubicBezTo>
                    <a:pt x="12" y="25"/>
                    <a:pt x="10" y="23"/>
                    <a:pt x="6" y="20"/>
                  </a:cubicBezTo>
                  <a:cubicBezTo>
                    <a:pt x="4" y="10"/>
                    <a:pt x="0" y="5"/>
                    <a:pt x="0" y="5"/>
                  </a:cubicBezTo>
                  <a:cubicBezTo>
                    <a:pt x="2" y="5"/>
                    <a:pt x="1" y="4"/>
                    <a:pt x="1" y="4"/>
                  </a:cubicBezTo>
                  <a:cubicBezTo>
                    <a:pt x="6" y="2"/>
                    <a:pt x="10" y="1"/>
                    <a:pt x="14" y="0"/>
                  </a:cubicBezTo>
                  <a:cubicBezTo>
                    <a:pt x="14" y="1"/>
                    <a:pt x="16" y="4"/>
                    <a:pt x="17" y="4"/>
                  </a:cubicBezTo>
                  <a:cubicBezTo>
                    <a:pt x="19" y="4"/>
                    <a:pt x="19" y="4"/>
                    <a:pt x="20" y="4"/>
                  </a:cubicBezTo>
                  <a:lnTo>
                    <a:pt x="20" y="4"/>
                  </a:lnTo>
                  <a:lnTo>
                    <a:pt x="21" y="3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0" name="Freeform 102"/>
            <p:cNvSpPr>
              <a:spLocks/>
            </p:cNvSpPr>
            <p:nvPr/>
          </p:nvSpPr>
          <p:spPr bwMode="auto">
            <a:xfrm>
              <a:off x="1974851" y="3833961"/>
              <a:ext cx="322263" cy="139701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0" y="7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21" y="12"/>
                </a:cxn>
                <a:cxn ang="0">
                  <a:pos x="21" y="12"/>
                </a:cxn>
                <a:cxn ang="0">
                  <a:pos x="28" y="1"/>
                </a:cxn>
                <a:cxn ang="0">
                  <a:pos x="28" y="1"/>
                </a:cxn>
                <a:cxn ang="0">
                  <a:pos x="26" y="0"/>
                </a:cxn>
              </a:cxnLst>
              <a:rect l="0" t="0" r="r" b="b"/>
              <a:pathLst>
                <a:path w="28" h="12">
                  <a:moveTo>
                    <a:pt x="26" y="0"/>
                  </a:moveTo>
                  <a:lnTo>
                    <a:pt x="15" y="0"/>
                  </a:lnTo>
                  <a:lnTo>
                    <a:pt x="15" y="0"/>
                  </a:lnTo>
                  <a:cubicBezTo>
                    <a:pt x="14" y="0"/>
                    <a:pt x="11" y="3"/>
                    <a:pt x="8" y="3"/>
                  </a:cubicBezTo>
                  <a:cubicBezTo>
                    <a:pt x="7" y="3"/>
                    <a:pt x="6" y="3"/>
                    <a:pt x="6" y="2"/>
                  </a:cubicBezTo>
                  <a:cubicBezTo>
                    <a:pt x="4" y="4"/>
                    <a:pt x="3" y="6"/>
                    <a:pt x="0" y="7"/>
                  </a:cubicBezTo>
                  <a:cubicBezTo>
                    <a:pt x="3" y="9"/>
                    <a:pt x="5" y="11"/>
                    <a:pt x="8" y="12"/>
                  </a:cubicBezTo>
                  <a:lnTo>
                    <a:pt x="8" y="12"/>
                  </a:lnTo>
                  <a:lnTo>
                    <a:pt x="21" y="12"/>
                  </a:lnTo>
                  <a:lnTo>
                    <a:pt x="21" y="12"/>
                  </a:lnTo>
                  <a:cubicBezTo>
                    <a:pt x="24" y="8"/>
                    <a:pt x="27" y="5"/>
                    <a:pt x="28" y="1"/>
                  </a:cubicBezTo>
                  <a:lnTo>
                    <a:pt x="28" y="1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1" name="Freeform 103"/>
            <p:cNvSpPr>
              <a:spLocks/>
            </p:cNvSpPr>
            <p:nvPr/>
          </p:nvSpPr>
          <p:spPr bwMode="auto">
            <a:xfrm>
              <a:off x="2193925" y="3151335"/>
              <a:ext cx="254001" cy="138113"/>
            </a:xfrm>
            <a:custGeom>
              <a:avLst/>
              <a:gdLst/>
              <a:ahLst/>
              <a:cxnLst>
                <a:cxn ang="0">
                  <a:pos x="22" y="12"/>
                </a:cxn>
                <a:cxn ang="0">
                  <a:pos x="22" y="1"/>
                </a:cxn>
                <a:cxn ang="0">
                  <a:pos x="16" y="2"/>
                </a:cxn>
                <a:cxn ang="0">
                  <a:pos x="8" y="0"/>
                </a:cxn>
                <a:cxn ang="0">
                  <a:pos x="0" y="4"/>
                </a:cxn>
                <a:cxn ang="0">
                  <a:pos x="6" y="10"/>
                </a:cxn>
                <a:cxn ang="0">
                  <a:pos x="9" y="9"/>
                </a:cxn>
                <a:cxn ang="0">
                  <a:pos x="22" y="12"/>
                </a:cxn>
                <a:cxn ang="0">
                  <a:pos x="22" y="12"/>
                </a:cxn>
              </a:cxnLst>
              <a:rect l="0" t="0" r="r" b="b"/>
              <a:pathLst>
                <a:path w="22" h="12">
                  <a:moveTo>
                    <a:pt x="22" y="12"/>
                  </a:moveTo>
                  <a:cubicBezTo>
                    <a:pt x="20" y="5"/>
                    <a:pt x="22" y="4"/>
                    <a:pt x="22" y="1"/>
                  </a:cubicBezTo>
                  <a:cubicBezTo>
                    <a:pt x="22" y="2"/>
                    <a:pt x="17" y="2"/>
                    <a:pt x="16" y="2"/>
                  </a:cubicBezTo>
                  <a:cubicBezTo>
                    <a:pt x="14" y="2"/>
                    <a:pt x="13" y="0"/>
                    <a:pt x="8" y="0"/>
                  </a:cubicBezTo>
                  <a:cubicBezTo>
                    <a:pt x="5" y="0"/>
                    <a:pt x="0" y="0"/>
                    <a:pt x="0" y="4"/>
                  </a:cubicBezTo>
                  <a:cubicBezTo>
                    <a:pt x="0" y="10"/>
                    <a:pt x="7" y="7"/>
                    <a:pt x="6" y="10"/>
                  </a:cubicBezTo>
                  <a:cubicBezTo>
                    <a:pt x="8" y="10"/>
                    <a:pt x="8" y="9"/>
                    <a:pt x="9" y="9"/>
                  </a:cubicBezTo>
                  <a:cubicBezTo>
                    <a:pt x="11" y="9"/>
                    <a:pt x="22" y="12"/>
                    <a:pt x="22" y="12"/>
                  </a:cubicBezTo>
                  <a:lnTo>
                    <a:pt x="22" y="1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2" name="Freeform 104"/>
            <p:cNvSpPr>
              <a:spLocks/>
            </p:cNvSpPr>
            <p:nvPr/>
          </p:nvSpPr>
          <p:spPr bwMode="auto">
            <a:xfrm>
              <a:off x="2216150" y="3846661"/>
              <a:ext cx="406400" cy="277814"/>
            </a:xfrm>
            <a:custGeom>
              <a:avLst/>
              <a:gdLst/>
              <a:ahLst/>
              <a:cxnLst>
                <a:cxn ang="0">
                  <a:pos x="35" y="14"/>
                </a:cxn>
                <a:cxn ang="0">
                  <a:pos x="32" y="17"/>
                </a:cxn>
                <a:cxn ang="0">
                  <a:pos x="32" y="22"/>
                </a:cxn>
                <a:cxn ang="0">
                  <a:pos x="26" y="21"/>
                </a:cxn>
                <a:cxn ang="0">
                  <a:pos x="14" y="24"/>
                </a:cxn>
                <a:cxn ang="0">
                  <a:pos x="14" y="24"/>
                </a:cxn>
                <a:cxn ang="0">
                  <a:pos x="8" y="22"/>
                </a:cxn>
                <a:cxn ang="0">
                  <a:pos x="8" y="22"/>
                </a:cxn>
                <a:cxn ang="0">
                  <a:pos x="0" y="11"/>
                </a:cxn>
                <a:cxn ang="0">
                  <a:pos x="7" y="0"/>
                </a:cxn>
                <a:cxn ang="0">
                  <a:pos x="17" y="3"/>
                </a:cxn>
                <a:cxn ang="0">
                  <a:pos x="21" y="0"/>
                </a:cxn>
                <a:cxn ang="0">
                  <a:pos x="35" y="14"/>
                </a:cxn>
                <a:cxn ang="0">
                  <a:pos x="35" y="14"/>
                </a:cxn>
              </a:cxnLst>
              <a:rect l="0" t="0" r="r" b="b"/>
              <a:pathLst>
                <a:path w="35" h="24">
                  <a:moveTo>
                    <a:pt x="35" y="14"/>
                  </a:moveTo>
                  <a:cubicBezTo>
                    <a:pt x="35" y="15"/>
                    <a:pt x="33" y="16"/>
                    <a:pt x="32" y="17"/>
                  </a:cubicBezTo>
                  <a:cubicBezTo>
                    <a:pt x="31" y="20"/>
                    <a:pt x="32" y="21"/>
                    <a:pt x="32" y="22"/>
                  </a:cubicBezTo>
                  <a:cubicBezTo>
                    <a:pt x="31" y="22"/>
                    <a:pt x="28" y="21"/>
                    <a:pt x="26" y="21"/>
                  </a:cubicBezTo>
                  <a:cubicBezTo>
                    <a:pt x="22" y="21"/>
                    <a:pt x="19" y="23"/>
                    <a:pt x="14" y="24"/>
                  </a:cubicBezTo>
                  <a:lnTo>
                    <a:pt x="14" y="24"/>
                  </a:lnTo>
                  <a:lnTo>
                    <a:pt x="8" y="22"/>
                  </a:lnTo>
                  <a:lnTo>
                    <a:pt x="8" y="22"/>
                  </a:lnTo>
                  <a:cubicBezTo>
                    <a:pt x="5" y="18"/>
                    <a:pt x="0" y="17"/>
                    <a:pt x="0" y="11"/>
                  </a:cubicBezTo>
                  <a:cubicBezTo>
                    <a:pt x="3" y="7"/>
                    <a:pt x="6" y="4"/>
                    <a:pt x="7" y="0"/>
                  </a:cubicBezTo>
                  <a:cubicBezTo>
                    <a:pt x="12" y="0"/>
                    <a:pt x="14" y="3"/>
                    <a:pt x="17" y="3"/>
                  </a:cubicBezTo>
                  <a:cubicBezTo>
                    <a:pt x="19" y="3"/>
                    <a:pt x="20" y="0"/>
                    <a:pt x="21" y="0"/>
                  </a:cubicBezTo>
                  <a:cubicBezTo>
                    <a:pt x="29" y="0"/>
                    <a:pt x="25" y="15"/>
                    <a:pt x="35" y="14"/>
                  </a:cubicBezTo>
                  <a:lnTo>
                    <a:pt x="35" y="14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105"/>
            <p:cNvSpPr>
              <a:spLocks/>
            </p:cNvSpPr>
            <p:nvPr/>
          </p:nvSpPr>
          <p:spPr bwMode="auto">
            <a:xfrm>
              <a:off x="2274888" y="3359299"/>
              <a:ext cx="463551" cy="300037"/>
            </a:xfrm>
            <a:custGeom>
              <a:avLst/>
              <a:gdLst/>
              <a:ahLst/>
              <a:cxnLst>
                <a:cxn ang="0">
                  <a:pos x="17" y="1"/>
                </a:cxn>
                <a:cxn ang="0">
                  <a:pos x="21" y="2"/>
                </a:cxn>
                <a:cxn ang="0">
                  <a:pos x="24" y="2"/>
                </a:cxn>
                <a:cxn ang="0">
                  <a:pos x="25" y="4"/>
                </a:cxn>
                <a:cxn ang="0">
                  <a:pos x="28" y="3"/>
                </a:cxn>
                <a:cxn ang="0">
                  <a:pos x="31" y="4"/>
                </a:cxn>
                <a:cxn ang="0">
                  <a:pos x="31" y="9"/>
                </a:cxn>
                <a:cxn ang="0">
                  <a:pos x="35" y="11"/>
                </a:cxn>
                <a:cxn ang="0">
                  <a:pos x="38" y="14"/>
                </a:cxn>
                <a:cxn ang="0">
                  <a:pos x="40" y="15"/>
                </a:cxn>
                <a:cxn ang="0">
                  <a:pos x="38" y="17"/>
                </a:cxn>
                <a:cxn ang="0">
                  <a:pos x="34" y="15"/>
                </a:cxn>
                <a:cxn ang="0">
                  <a:pos x="35" y="18"/>
                </a:cxn>
                <a:cxn ang="0">
                  <a:pos x="36" y="19"/>
                </a:cxn>
                <a:cxn ang="0">
                  <a:pos x="36" y="22"/>
                </a:cxn>
                <a:cxn ang="0">
                  <a:pos x="32" y="22"/>
                </a:cxn>
                <a:cxn ang="0">
                  <a:pos x="32" y="24"/>
                </a:cxn>
                <a:cxn ang="0">
                  <a:pos x="32" y="26"/>
                </a:cxn>
                <a:cxn ang="0">
                  <a:pos x="28" y="25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5" y="23"/>
                </a:cxn>
                <a:cxn ang="0">
                  <a:pos x="9" y="22"/>
                </a:cxn>
                <a:cxn ang="0">
                  <a:pos x="5" y="23"/>
                </a:cxn>
                <a:cxn ang="0">
                  <a:pos x="1" y="25"/>
                </a:cxn>
                <a:cxn ang="0">
                  <a:pos x="1" y="25"/>
                </a:cxn>
                <a:cxn ang="0">
                  <a:pos x="0" y="20"/>
                </a:cxn>
                <a:cxn ang="0">
                  <a:pos x="3" y="14"/>
                </a:cxn>
                <a:cxn ang="0">
                  <a:pos x="3" y="14"/>
                </a:cxn>
                <a:cxn ang="0">
                  <a:pos x="3" y="13"/>
                </a:cxn>
                <a:cxn ang="0">
                  <a:pos x="3" y="13"/>
                </a:cxn>
                <a:cxn ang="0">
                  <a:pos x="7" y="10"/>
                </a:cxn>
                <a:cxn ang="0">
                  <a:pos x="8" y="9"/>
                </a:cxn>
                <a:cxn ang="0">
                  <a:pos x="8" y="9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11" y="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7" y="0"/>
                </a:cxn>
                <a:cxn ang="0">
                  <a:pos x="17" y="1"/>
                </a:cxn>
              </a:cxnLst>
              <a:rect l="0" t="0" r="r" b="b"/>
              <a:pathLst>
                <a:path w="40" h="26">
                  <a:moveTo>
                    <a:pt x="17" y="1"/>
                  </a:moveTo>
                  <a:lnTo>
                    <a:pt x="21" y="2"/>
                  </a:lnTo>
                  <a:lnTo>
                    <a:pt x="24" y="2"/>
                  </a:lnTo>
                  <a:lnTo>
                    <a:pt x="25" y="4"/>
                  </a:lnTo>
                  <a:lnTo>
                    <a:pt x="28" y="3"/>
                  </a:lnTo>
                  <a:lnTo>
                    <a:pt x="31" y="4"/>
                  </a:lnTo>
                  <a:lnTo>
                    <a:pt x="31" y="9"/>
                  </a:lnTo>
                  <a:lnTo>
                    <a:pt x="35" y="11"/>
                  </a:lnTo>
                  <a:lnTo>
                    <a:pt x="38" y="14"/>
                  </a:lnTo>
                  <a:lnTo>
                    <a:pt x="40" y="15"/>
                  </a:lnTo>
                  <a:lnTo>
                    <a:pt x="38" y="17"/>
                  </a:lnTo>
                  <a:lnTo>
                    <a:pt x="34" y="15"/>
                  </a:lnTo>
                  <a:lnTo>
                    <a:pt x="35" y="18"/>
                  </a:lnTo>
                  <a:lnTo>
                    <a:pt x="36" y="19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32" y="24"/>
                  </a:lnTo>
                  <a:lnTo>
                    <a:pt x="32" y="26"/>
                  </a:lnTo>
                  <a:lnTo>
                    <a:pt x="28" y="25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15" y="23"/>
                  </a:lnTo>
                  <a:lnTo>
                    <a:pt x="9" y="22"/>
                  </a:lnTo>
                  <a:lnTo>
                    <a:pt x="5" y="23"/>
                  </a:lnTo>
                  <a:lnTo>
                    <a:pt x="1" y="25"/>
                  </a:lnTo>
                  <a:lnTo>
                    <a:pt x="1" y="25"/>
                  </a:lnTo>
                  <a:cubicBezTo>
                    <a:pt x="1" y="23"/>
                    <a:pt x="0" y="22"/>
                    <a:pt x="0" y="20"/>
                  </a:cubicBezTo>
                  <a:cubicBezTo>
                    <a:pt x="1" y="19"/>
                    <a:pt x="2" y="17"/>
                    <a:pt x="3" y="14"/>
                  </a:cubicBezTo>
                  <a:lnTo>
                    <a:pt x="3" y="14"/>
                  </a:lnTo>
                  <a:lnTo>
                    <a:pt x="3" y="13"/>
                  </a:lnTo>
                  <a:lnTo>
                    <a:pt x="3" y="13"/>
                  </a:lnTo>
                  <a:cubicBezTo>
                    <a:pt x="4" y="10"/>
                    <a:pt x="6" y="10"/>
                    <a:pt x="7" y="10"/>
                  </a:cubicBezTo>
                  <a:cubicBezTo>
                    <a:pt x="7" y="10"/>
                    <a:pt x="8" y="9"/>
                    <a:pt x="8" y="9"/>
                  </a:cubicBezTo>
                  <a:lnTo>
                    <a:pt x="8" y="9"/>
                  </a:lnTo>
                  <a:lnTo>
                    <a:pt x="8" y="7"/>
                  </a:lnTo>
                  <a:lnTo>
                    <a:pt x="8" y="7"/>
                  </a:lnTo>
                  <a:cubicBezTo>
                    <a:pt x="8" y="5"/>
                    <a:pt x="10" y="7"/>
                    <a:pt x="11" y="6"/>
                  </a:cubicBezTo>
                  <a:cubicBezTo>
                    <a:pt x="11" y="6"/>
                    <a:pt x="12" y="4"/>
                    <a:pt x="12" y="4"/>
                  </a:cubicBezTo>
                  <a:lnTo>
                    <a:pt x="12" y="4"/>
                  </a:lnTo>
                  <a:lnTo>
                    <a:pt x="17" y="0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4" name="Freeform 106"/>
            <p:cNvSpPr>
              <a:spLocks/>
            </p:cNvSpPr>
            <p:nvPr/>
          </p:nvSpPr>
          <p:spPr bwMode="auto">
            <a:xfrm>
              <a:off x="2459038" y="3822849"/>
              <a:ext cx="187325" cy="16192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1" y="3"/>
                </a:cxn>
                <a:cxn ang="0">
                  <a:pos x="12" y="6"/>
                </a:cxn>
                <a:cxn ang="0">
                  <a:pos x="14" y="9"/>
                </a:cxn>
                <a:cxn ang="0">
                  <a:pos x="16" y="11"/>
                </a:cxn>
                <a:cxn ang="0">
                  <a:pos x="13" y="12"/>
                </a:cxn>
                <a:cxn ang="0">
                  <a:pos x="11" y="12"/>
                </a:cxn>
                <a:cxn ang="0">
                  <a:pos x="11" y="14"/>
                </a:cxn>
                <a:cxn ang="0">
                  <a:pos x="10" y="14"/>
                </a:cxn>
                <a:cxn ang="0">
                  <a:pos x="10" y="14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</a:cxnLst>
              <a:rect l="0" t="0" r="r" b="b"/>
              <a:pathLst>
                <a:path w="16" h="14">
                  <a:moveTo>
                    <a:pt x="1" y="2"/>
                  </a:moveTo>
                  <a:lnTo>
                    <a:pt x="4" y="0"/>
                  </a:lnTo>
                  <a:lnTo>
                    <a:pt x="8" y="2"/>
                  </a:lnTo>
                  <a:lnTo>
                    <a:pt x="11" y="3"/>
                  </a:lnTo>
                  <a:lnTo>
                    <a:pt x="12" y="6"/>
                  </a:lnTo>
                  <a:lnTo>
                    <a:pt x="14" y="9"/>
                  </a:lnTo>
                  <a:lnTo>
                    <a:pt x="16" y="11"/>
                  </a:lnTo>
                  <a:lnTo>
                    <a:pt x="13" y="12"/>
                  </a:lnTo>
                  <a:lnTo>
                    <a:pt x="11" y="12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0" y="14"/>
                  </a:lnTo>
                  <a:cubicBezTo>
                    <a:pt x="6" y="10"/>
                    <a:pt x="6" y="2"/>
                    <a:pt x="0" y="2"/>
                  </a:cubicBezTo>
                  <a:lnTo>
                    <a:pt x="0" y="2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5" name="Freeform 107"/>
            <p:cNvSpPr>
              <a:spLocks/>
            </p:cNvSpPr>
            <p:nvPr/>
          </p:nvSpPr>
          <p:spPr bwMode="auto">
            <a:xfrm>
              <a:off x="2274888" y="3603773"/>
              <a:ext cx="831851" cy="474662"/>
            </a:xfrm>
            <a:custGeom>
              <a:avLst/>
              <a:gdLst/>
              <a:ahLst/>
              <a:cxnLst>
                <a:cxn ang="0">
                  <a:pos x="29" y="31"/>
                </a:cxn>
                <a:cxn ang="0">
                  <a:pos x="30" y="28"/>
                </a:cxn>
                <a:cxn ang="0">
                  <a:pos x="27" y="22"/>
                </a:cxn>
                <a:cxn ang="0">
                  <a:pos x="20" y="19"/>
                </a:cxn>
                <a:cxn ang="0">
                  <a:pos x="16" y="21"/>
                </a:cxn>
                <a:cxn ang="0">
                  <a:pos x="12" y="24"/>
                </a:cxn>
                <a:cxn ang="0">
                  <a:pos x="2" y="21"/>
                </a:cxn>
                <a:cxn ang="0">
                  <a:pos x="0" y="20"/>
                </a:cxn>
                <a:cxn ang="0">
                  <a:pos x="1" y="15"/>
                </a:cxn>
                <a:cxn ang="0">
                  <a:pos x="1" y="16"/>
                </a:cxn>
                <a:cxn ang="0">
                  <a:pos x="5" y="8"/>
                </a:cxn>
                <a:cxn ang="0">
                  <a:pos x="2" y="4"/>
                </a:cxn>
                <a:cxn ang="0">
                  <a:pos x="9" y="1"/>
                </a:cxn>
                <a:cxn ang="0">
                  <a:pos x="20" y="3"/>
                </a:cxn>
                <a:cxn ang="0">
                  <a:pos x="28" y="4"/>
                </a:cxn>
                <a:cxn ang="0">
                  <a:pos x="32" y="3"/>
                </a:cxn>
                <a:cxn ang="0">
                  <a:pos x="35" y="1"/>
                </a:cxn>
                <a:cxn ang="0">
                  <a:pos x="40" y="0"/>
                </a:cxn>
                <a:cxn ang="0">
                  <a:pos x="46" y="1"/>
                </a:cxn>
                <a:cxn ang="0">
                  <a:pos x="47" y="5"/>
                </a:cxn>
                <a:cxn ang="0">
                  <a:pos x="53" y="9"/>
                </a:cxn>
                <a:cxn ang="0">
                  <a:pos x="57" y="11"/>
                </a:cxn>
                <a:cxn ang="0">
                  <a:pos x="62" y="12"/>
                </a:cxn>
                <a:cxn ang="0">
                  <a:pos x="69" y="13"/>
                </a:cxn>
                <a:cxn ang="0">
                  <a:pos x="71" y="17"/>
                </a:cxn>
                <a:cxn ang="0">
                  <a:pos x="72" y="23"/>
                </a:cxn>
                <a:cxn ang="0">
                  <a:pos x="66" y="24"/>
                </a:cxn>
                <a:cxn ang="0">
                  <a:pos x="64" y="27"/>
                </a:cxn>
                <a:cxn ang="0">
                  <a:pos x="53" y="32"/>
                </a:cxn>
                <a:cxn ang="0">
                  <a:pos x="62" y="35"/>
                </a:cxn>
                <a:cxn ang="0">
                  <a:pos x="55" y="36"/>
                </a:cxn>
                <a:cxn ang="0">
                  <a:pos x="47" y="36"/>
                </a:cxn>
                <a:cxn ang="0">
                  <a:pos x="51" y="32"/>
                </a:cxn>
                <a:cxn ang="0">
                  <a:pos x="42" y="32"/>
                </a:cxn>
                <a:cxn ang="0">
                  <a:pos x="35" y="29"/>
                </a:cxn>
                <a:cxn ang="0">
                  <a:pos x="26" y="33"/>
                </a:cxn>
                <a:cxn ang="0">
                  <a:pos x="27" y="31"/>
                </a:cxn>
              </a:cxnLst>
              <a:rect l="0" t="0" r="r" b="b"/>
              <a:pathLst>
                <a:path w="72" h="41">
                  <a:moveTo>
                    <a:pt x="27" y="31"/>
                  </a:moveTo>
                  <a:lnTo>
                    <a:pt x="29" y="31"/>
                  </a:lnTo>
                  <a:lnTo>
                    <a:pt x="32" y="30"/>
                  </a:lnTo>
                  <a:lnTo>
                    <a:pt x="30" y="28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4" y="21"/>
                  </a:lnTo>
                  <a:lnTo>
                    <a:pt x="20" y="19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1"/>
                  </a:lnTo>
                  <a:cubicBezTo>
                    <a:pt x="15" y="21"/>
                    <a:pt x="14" y="24"/>
                    <a:pt x="12" y="24"/>
                  </a:cubicBezTo>
                  <a:cubicBezTo>
                    <a:pt x="9" y="24"/>
                    <a:pt x="7" y="21"/>
                    <a:pt x="2" y="21"/>
                  </a:cubicBezTo>
                  <a:lnTo>
                    <a:pt x="2" y="21"/>
                  </a:lnTo>
                  <a:lnTo>
                    <a:pt x="0" y="20"/>
                  </a:lnTo>
                  <a:lnTo>
                    <a:pt x="0" y="20"/>
                  </a:lnTo>
                  <a:cubicBezTo>
                    <a:pt x="1" y="19"/>
                    <a:pt x="1" y="17"/>
                    <a:pt x="1" y="15"/>
                  </a:cubicBezTo>
                  <a:lnTo>
                    <a:pt x="1" y="15"/>
                  </a:lnTo>
                  <a:lnTo>
                    <a:pt x="0" y="15"/>
                  </a:lnTo>
                  <a:lnTo>
                    <a:pt x="1" y="16"/>
                  </a:lnTo>
                  <a:lnTo>
                    <a:pt x="1" y="16"/>
                  </a:lnTo>
                  <a:cubicBezTo>
                    <a:pt x="1" y="13"/>
                    <a:pt x="3" y="10"/>
                    <a:pt x="5" y="8"/>
                  </a:cubicBezTo>
                  <a:cubicBezTo>
                    <a:pt x="4" y="8"/>
                    <a:pt x="3" y="6"/>
                    <a:pt x="2" y="4"/>
                  </a:cubicBezTo>
                  <a:lnTo>
                    <a:pt x="2" y="4"/>
                  </a:lnTo>
                  <a:lnTo>
                    <a:pt x="5" y="2"/>
                  </a:lnTo>
                  <a:lnTo>
                    <a:pt x="9" y="1"/>
                  </a:lnTo>
                  <a:lnTo>
                    <a:pt x="15" y="2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8" y="4"/>
                  </a:lnTo>
                  <a:lnTo>
                    <a:pt x="32" y="5"/>
                  </a:lnTo>
                  <a:lnTo>
                    <a:pt x="32" y="3"/>
                  </a:lnTo>
                  <a:lnTo>
                    <a:pt x="32" y="1"/>
                  </a:lnTo>
                  <a:lnTo>
                    <a:pt x="35" y="1"/>
                  </a:lnTo>
                  <a:lnTo>
                    <a:pt x="38" y="1"/>
                  </a:lnTo>
                  <a:lnTo>
                    <a:pt x="40" y="0"/>
                  </a:lnTo>
                  <a:lnTo>
                    <a:pt x="43" y="0"/>
                  </a:lnTo>
                  <a:lnTo>
                    <a:pt x="46" y="1"/>
                  </a:lnTo>
                  <a:lnTo>
                    <a:pt x="47" y="2"/>
                  </a:lnTo>
                  <a:lnTo>
                    <a:pt x="47" y="5"/>
                  </a:lnTo>
                  <a:lnTo>
                    <a:pt x="51" y="5"/>
                  </a:lnTo>
                  <a:lnTo>
                    <a:pt x="53" y="9"/>
                  </a:lnTo>
                  <a:lnTo>
                    <a:pt x="55" y="9"/>
                  </a:lnTo>
                  <a:lnTo>
                    <a:pt x="57" y="11"/>
                  </a:lnTo>
                  <a:lnTo>
                    <a:pt x="59" y="10"/>
                  </a:lnTo>
                  <a:lnTo>
                    <a:pt x="62" y="12"/>
                  </a:lnTo>
                  <a:lnTo>
                    <a:pt x="66" y="12"/>
                  </a:lnTo>
                  <a:lnTo>
                    <a:pt x="69" y="13"/>
                  </a:lnTo>
                  <a:lnTo>
                    <a:pt x="72" y="15"/>
                  </a:lnTo>
                  <a:lnTo>
                    <a:pt x="71" y="17"/>
                  </a:lnTo>
                  <a:lnTo>
                    <a:pt x="71" y="20"/>
                  </a:lnTo>
                  <a:lnTo>
                    <a:pt x="72" y="23"/>
                  </a:lnTo>
                  <a:lnTo>
                    <a:pt x="70" y="23"/>
                  </a:lnTo>
                  <a:lnTo>
                    <a:pt x="66" y="24"/>
                  </a:lnTo>
                  <a:lnTo>
                    <a:pt x="66" y="27"/>
                  </a:lnTo>
                  <a:lnTo>
                    <a:pt x="64" y="27"/>
                  </a:lnTo>
                  <a:lnTo>
                    <a:pt x="64" y="27"/>
                  </a:lnTo>
                  <a:cubicBezTo>
                    <a:pt x="59" y="28"/>
                    <a:pt x="53" y="29"/>
                    <a:pt x="53" y="32"/>
                  </a:cubicBezTo>
                  <a:cubicBezTo>
                    <a:pt x="53" y="33"/>
                    <a:pt x="54" y="35"/>
                    <a:pt x="55" y="35"/>
                  </a:cubicBezTo>
                  <a:cubicBezTo>
                    <a:pt x="57" y="35"/>
                    <a:pt x="59" y="34"/>
                    <a:pt x="62" y="35"/>
                  </a:cubicBezTo>
                  <a:cubicBezTo>
                    <a:pt x="59" y="35"/>
                    <a:pt x="59" y="37"/>
                    <a:pt x="58" y="39"/>
                  </a:cubicBezTo>
                  <a:cubicBezTo>
                    <a:pt x="57" y="36"/>
                    <a:pt x="56" y="36"/>
                    <a:pt x="55" y="36"/>
                  </a:cubicBezTo>
                  <a:cubicBezTo>
                    <a:pt x="55" y="38"/>
                    <a:pt x="51" y="40"/>
                    <a:pt x="50" y="41"/>
                  </a:cubicBezTo>
                  <a:cubicBezTo>
                    <a:pt x="47" y="40"/>
                    <a:pt x="47" y="38"/>
                    <a:pt x="47" y="36"/>
                  </a:cubicBezTo>
                  <a:cubicBezTo>
                    <a:pt x="46" y="36"/>
                    <a:pt x="43" y="35"/>
                    <a:pt x="43" y="34"/>
                  </a:cubicBezTo>
                  <a:cubicBezTo>
                    <a:pt x="46" y="33"/>
                    <a:pt x="48" y="33"/>
                    <a:pt x="51" y="32"/>
                  </a:cubicBezTo>
                  <a:lnTo>
                    <a:pt x="51" y="32"/>
                  </a:lnTo>
                  <a:lnTo>
                    <a:pt x="42" y="32"/>
                  </a:lnTo>
                  <a:lnTo>
                    <a:pt x="42" y="32"/>
                  </a:lnTo>
                  <a:cubicBezTo>
                    <a:pt x="40" y="30"/>
                    <a:pt x="36" y="29"/>
                    <a:pt x="35" y="29"/>
                  </a:cubicBezTo>
                  <a:cubicBezTo>
                    <a:pt x="34" y="31"/>
                    <a:pt x="32" y="33"/>
                    <a:pt x="31" y="35"/>
                  </a:cubicBezTo>
                  <a:cubicBezTo>
                    <a:pt x="28" y="35"/>
                    <a:pt x="27" y="35"/>
                    <a:pt x="26" y="33"/>
                  </a:cubicBezTo>
                  <a:lnTo>
                    <a:pt x="26" y="33"/>
                  </a:lnTo>
                  <a:lnTo>
                    <a:pt x="27" y="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6" name="Freeform 108"/>
            <p:cNvSpPr>
              <a:spLocks/>
            </p:cNvSpPr>
            <p:nvPr/>
          </p:nvSpPr>
          <p:spPr bwMode="auto">
            <a:xfrm>
              <a:off x="2332038" y="2167085"/>
              <a:ext cx="5840412" cy="2106613"/>
            </a:xfrm>
            <a:custGeom>
              <a:avLst/>
              <a:gdLst/>
              <a:ahLst/>
              <a:cxnLst>
                <a:cxn ang="0">
                  <a:pos x="42" y="126"/>
                </a:cxn>
                <a:cxn ang="0">
                  <a:pos x="57" y="136"/>
                </a:cxn>
                <a:cxn ang="0">
                  <a:pos x="65" y="147"/>
                </a:cxn>
                <a:cxn ang="0">
                  <a:pos x="57" y="159"/>
                </a:cxn>
                <a:cxn ang="0">
                  <a:pos x="84" y="171"/>
                </a:cxn>
                <a:cxn ang="0">
                  <a:pos x="105" y="180"/>
                </a:cxn>
                <a:cxn ang="0">
                  <a:pos x="104" y="171"/>
                </a:cxn>
                <a:cxn ang="0">
                  <a:pos x="107" y="155"/>
                </a:cxn>
                <a:cxn ang="0">
                  <a:pos x="99" y="145"/>
                </a:cxn>
                <a:cxn ang="0">
                  <a:pos x="104" y="136"/>
                </a:cxn>
                <a:cxn ang="0">
                  <a:pos x="117" y="127"/>
                </a:cxn>
                <a:cxn ang="0">
                  <a:pos x="141" y="130"/>
                </a:cxn>
                <a:cxn ang="0">
                  <a:pos x="150" y="127"/>
                </a:cxn>
                <a:cxn ang="0">
                  <a:pos x="165" y="114"/>
                </a:cxn>
                <a:cxn ang="0">
                  <a:pos x="189" y="110"/>
                </a:cxn>
                <a:cxn ang="0">
                  <a:pos x="201" y="118"/>
                </a:cxn>
                <a:cxn ang="0">
                  <a:pos x="219" y="119"/>
                </a:cxn>
                <a:cxn ang="0">
                  <a:pos x="238" y="131"/>
                </a:cxn>
                <a:cxn ang="0">
                  <a:pos x="262" y="139"/>
                </a:cxn>
                <a:cxn ang="0">
                  <a:pos x="286" y="132"/>
                </a:cxn>
                <a:cxn ang="0">
                  <a:pos x="306" y="135"/>
                </a:cxn>
                <a:cxn ang="0">
                  <a:pos x="330" y="134"/>
                </a:cxn>
                <a:cxn ang="0">
                  <a:pos x="394" y="132"/>
                </a:cxn>
                <a:cxn ang="0">
                  <a:pos x="398" y="116"/>
                </a:cxn>
                <a:cxn ang="0">
                  <a:pos x="466" y="147"/>
                </a:cxn>
                <a:cxn ang="0">
                  <a:pos x="467" y="170"/>
                </a:cxn>
                <a:cxn ang="0">
                  <a:pos x="484" y="143"/>
                </a:cxn>
                <a:cxn ang="0">
                  <a:pos x="445" y="109"/>
                </a:cxn>
                <a:cxn ang="0">
                  <a:pos x="449" y="86"/>
                </a:cxn>
                <a:cxn ang="0">
                  <a:pos x="483" y="88"/>
                </a:cxn>
                <a:cxn ang="0">
                  <a:pos x="505" y="36"/>
                </a:cxn>
                <a:cxn ang="0">
                  <a:pos x="487" y="41"/>
                </a:cxn>
                <a:cxn ang="0">
                  <a:pos x="438" y="30"/>
                </a:cxn>
                <a:cxn ang="0">
                  <a:pos x="413" y="31"/>
                </a:cxn>
                <a:cxn ang="0">
                  <a:pos x="394" y="25"/>
                </a:cxn>
                <a:cxn ang="0">
                  <a:pos x="368" y="25"/>
                </a:cxn>
                <a:cxn ang="0">
                  <a:pos x="345" y="28"/>
                </a:cxn>
                <a:cxn ang="0">
                  <a:pos x="328" y="27"/>
                </a:cxn>
                <a:cxn ang="0">
                  <a:pos x="315" y="25"/>
                </a:cxn>
                <a:cxn ang="0">
                  <a:pos x="264" y="15"/>
                </a:cxn>
                <a:cxn ang="0">
                  <a:pos x="261" y="13"/>
                </a:cxn>
                <a:cxn ang="0">
                  <a:pos x="224" y="1"/>
                </a:cxn>
                <a:cxn ang="0">
                  <a:pos x="217" y="13"/>
                </a:cxn>
                <a:cxn ang="0">
                  <a:pos x="180" y="17"/>
                </a:cxn>
                <a:cxn ang="0">
                  <a:pos x="166" y="20"/>
                </a:cxn>
                <a:cxn ang="0">
                  <a:pos x="159" y="23"/>
                </a:cxn>
                <a:cxn ang="0">
                  <a:pos x="149" y="25"/>
                </a:cxn>
                <a:cxn ang="0">
                  <a:pos x="156" y="40"/>
                </a:cxn>
                <a:cxn ang="0">
                  <a:pos x="162" y="48"/>
                </a:cxn>
                <a:cxn ang="0">
                  <a:pos x="145" y="32"/>
                </a:cxn>
                <a:cxn ang="0">
                  <a:pos x="127" y="27"/>
                </a:cxn>
                <a:cxn ang="0">
                  <a:pos x="134" y="39"/>
                </a:cxn>
                <a:cxn ang="0">
                  <a:pos x="108" y="43"/>
                </a:cxn>
                <a:cxn ang="0">
                  <a:pos x="64" y="52"/>
                </a:cxn>
                <a:cxn ang="0">
                  <a:pos x="52" y="43"/>
                </a:cxn>
                <a:cxn ang="0">
                  <a:pos x="55" y="55"/>
                </a:cxn>
                <a:cxn ang="0">
                  <a:pos x="37" y="66"/>
                </a:cxn>
                <a:cxn ang="0">
                  <a:pos x="42" y="46"/>
                </a:cxn>
                <a:cxn ang="0">
                  <a:pos x="0" y="43"/>
                </a:cxn>
                <a:cxn ang="0">
                  <a:pos x="10" y="95"/>
                </a:cxn>
                <a:cxn ang="0">
                  <a:pos x="26" y="107"/>
                </a:cxn>
                <a:cxn ang="0">
                  <a:pos x="30" y="121"/>
                </a:cxn>
              </a:cxnLst>
              <a:rect l="0" t="0" r="r" b="b"/>
              <a:pathLst>
                <a:path w="505" h="182">
                  <a:moveTo>
                    <a:pt x="30" y="125"/>
                  </a:moveTo>
                  <a:lnTo>
                    <a:pt x="30" y="125"/>
                  </a:lnTo>
                  <a:lnTo>
                    <a:pt x="33" y="125"/>
                  </a:lnTo>
                  <a:lnTo>
                    <a:pt x="35" y="124"/>
                  </a:lnTo>
                  <a:lnTo>
                    <a:pt x="38" y="124"/>
                  </a:lnTo>
                  <a:lnTo>
                    <a:pt x="41" y="125"/>
                  </a:lnTo>
                  <a:lnTo>
                    <a:pt x="42" y="126"/>
                  </a:lnTo>
                  <a:lnTo>
                    <a:pt x="42" y="129"/>
                  </a:lnTo>
                  <a:lnTo>
                    <a:pt x="46" y="129"/>
                  </a:lnTo>
                  <a:lnTo>
                    <a:pt x="48" y="133"/>
                  </a:lnTo>
                  <a:lnTo>
                    <a:pt x="50" y="133"/>
                  </a:lnTo>
                  <a:lnTo>
                    <a:pt x="52" y="135"/>
                  </a:lnTo>
                  <a:lnTo>
                    <a:pt x="54" y="134"/>
                  </a:lnTo>
                  <a:lnTo>
                    <a:pt x="57" y="136"/>
                  </a:lnTo>
                  <a:lnTo>
                    <a:pt x="61" y="136"/>
                  </a:lnTo>
                  <a:lnTo>
                    <a:pt x="64" y="137"/>
                  </a:lnTo>
                  <a:lnTo>
                    <a:pt x="67" y="139"/>
                  </a:lnTo>
                  <a:lnTo>
                    <a:pt x="66" y="141"/>
                  </a:lnTo>
                  <a:lnTo>
                    <a:pt x="66" y="144"/>
                  </a:lnTo>
                  <a:lnTo>
                    <a:pt x="67" y="147"/>
                  </a:lnTo>
                  <a:lnTo>
                    <a:pt x="65" y="147"/>
                  </a:lnTo>
                  <a:lnTo>
                    <a:pt x="61" y="148"/>
                  </a:lnTo>
                  <a:lnTo>
                    <a:pt x="61" y="151"/>
                  </a:lnTo>
                  <a:lnTo>
                    <a:pt x="61" y="151"/>
                  </a:lnTo>
                  <a:cubicBezTo>
                    <a:pt x="61" y="151"/>
                    <a:pt x="61" y="151"/>
                    <a:pt x="62" y="150"/>
                  </a:cubicBezTo>
                  <a:cubicBezTo>
                    <a:pt x="61" y="151"/>
                    <a:pt x="60" y="152"/>
                    <a:pt x="58" y="153"/>
                  </a:cubicBezTo>
                  <a:cubicBezTo>
                    <a:pt x="58" y="153"/>
                    <a:pt x="61" y="155"/>
                    <a:pt x="61" y="155"/>
                  </a:cubicBezTo>
                  <a:cubicBezTo>
                    <a:pt x="61" y="157"/>
                    <a:pt x="60" y="158"/>
                    <a:pt x="57" y="159"/>
                  </a:cubicBezTo>
                  <a:cubicBezTo>
                    <a:pt x="57" y="163"/>
                    <a:pt x="61" y="161"/>
                    <a:pt x="64" y="164"/>
                  </a:cubicBezTo>
                  <a:cubicBezTo>
                    <a:pt x="66" y="167"/>
                    <a:pt x="69" y="167"/>
                    <a:pt x="73" y="169"/>
                  </a:cubicBezTo>
                  <a:lnTo>
                    <a:pt x="73" y="169"/>
                  </a:lnTo>
                  <a:lnTo>
                    <a:pt x="74" y="170"/>
                  </a:lnTo>
                  <a:lnTo>
                    <a:pt x="78" y="171"/>
                  </a:lnTo>
                  <a:lnTo>
                    <a:pt x="82" y="172"/>
                  </a:lnTo>
                  <a:lnTo>
                    <a:pt x="84" y="171"/>
                  </a:lnTo>
                  <a:lnTo>
                    <a:pt x="88" y="172"/>
                  </a:lnTo>
                  <a:lnTo>
                    <a:pt x="91" y="174"/>
                  </a:lnTo>
                  <a:lnTo>
                    <a:pt x="93" y="173"/>
                  </a:lnTo>
                  <a:lnTo>
                    <a:pt x="97" y="174"/>
                  </a:lnTo>
                  <a:lnTo>
                    <a:pt x="99" y="176"/>
                  </a:lnTo>
                  <a:lnTo>
                    <a:pt x="103" y="178"/>
                  </a:lnTo>
                  <a:lnTo>
                    <a:pt x="105" y="180"/>
                  </a:lnTo>
                  <a:lnTo>
                    <a:pt x="108" y="182"/>
                  </a:lnTo>
                  <a:lnTo>
                    <a:pt x="111" y="179"/>
                  </a:lnTo>
                  <a:lnTo>
                    <a:pt x="111" y="179"/>
                  </a:lnTo>
                  <a:lnTo>
                    <a:pt x="111" y="179"/>
                  </a:lnTo>
                  <a:cubicBezTo>
                    <a:pt x="110" y="178"/>
                    <a:pt x="110" y="178"/>
                    <a:pt x="110" y="176"/>
                  </a:cubicBezTo>
                  <a:cubicBezTo>
                    <a:pt x="110" y="176"/>
                    <a:pt x="104" y="171"/>
                    <a:pt x="104" y="171"/>
                  </a:cubicBezTo>
                  <a:lnTo>
                    <a:pt x="104" y="171"/>
                  </a:lnTo>
                  <a:lnTo>
                    <a:pt x="103" y="168"/>
                  </a:lnTo>
                  <a:lnTo>
                    <a:pt x="103" y="167"/>
                  </a:lnTo>
                  <a:lnTo>
                    <a:pt x="103" y="167"/>
                  </a:lnTo>
                  <a:cubicBezTo>
                    <a:pt x="101" y="166"/>
                    <a:pt x="100" y="164"/>
                    <a:pt x="100" y="163"/>
                  </a:cubicBezTo>
                  <a:cubicBezTo>
                    <a:pt x="100" y="161"/>
                    <a:pt x="101" y="159"/>
                    <a:pt x="102" y="158"/>
                  </a:cubicBezTo>
                  <a:cubicBezTo>
                    <a:pt x="104" y="157"/>
                    <a:pt x="105" y="156"/>
                    <a:pt x="107" y="155"/>
                  </a:cubicBezTo>
                  <a:lnTo>
                    <a:pt x="107" y="155"/>
                  </a:lnTo>
                  <a:lnTo>
                    <a:pt x="107" y="154"/>
                  </a:lnTo>
                  <a:lnTo>
                    <a:pt x="105" y="153"/>
                  </a:lnTo>
                  <a:lnTo>
                    <a:pt x="107" y="152"/>
                  </a:lnTo>
                  <a:lnTo>
                    <a:pt x="105" y="149"/>
                  </a:lnTo>
                  <a:lnTo>
                    <a:pt x="104" y="147"/>
                  </a:lnTo>
                  <a:lnTo>
                    <a:pt x="100" y="147"/>
                  </a:lnTo>
                  <a:lnTo>
                    <a:pt x="99" y="145"/>
                  </a:lnTo>
                  <a:lnTo>
                    <a:pt x="97" y="144"/>
                  </a:lnTo>
                  <a:lnTo>
                    <a:pt x="97" y="141"/>
                  </a:lnTo>
                  <a:lnTo>
                    <a:pt x="97" y="138"/>
                  </a:lnTo>
                  <a:lnTo>
                    <a:pt x="98" y="136"/>
                  </a:lnTo>
                  <a:lnTo>
                    <a:pt x="98" y="134"/>
                  </a:lnTo>
                  <a:lnTo>
                    <a:pt x="101" y="135"/>
                  </a:lnTo>
                  <a:lnTo>
                    <a:pt x="104" y="136"/>
                  </a:lnTo>
                  <a:lnTo>
                    <a:pt x="105" y="136"/>
                  </a:lnTo>
                  <a:lnTo>
                    <a:pt x="103" y="133"/>
                  </a:lnTo>
                  <a:lnTo>
                    <a:pt x="106" y="131"/>
                  </a:lnTo>
                  <a:lnTo>
                    <a:pt x="109" y="128"/>
                  </a:lnTo>
                  <a:lnTo>
                    <a:pt x="112" y="128"/>
                  </a:lnTo>
                  <a:lnTo>
                    <a:pt x="115" y="128"/>
                  </a:lnTo>
                  <a:lnTo>
                    <a:pt x="117" y="127"/>
                  </a:lnTo>
                  <a:lnTo>
                    <a:pt x="120" y="128"/>
                  </a:lnTo>
                  <a:lnTo>
                    <a:pt x="124" y="130"/>
                  </a:lnTo>
                  <a:lnTo>
                    <a:pt x="128" y="133"/>
                  </a:lnTo>
                  <a:lnTo>
                    <a:pt x="132" y="132"/>
                  </a:lnTo>
                  <a:lnTo>
                    <a:pt x="135" y="131"/>
                  </a:lnTo>
                  <a:lnTo>
                    <a:pt x="138" y="130"/>
                  </a:lnTo>
                  <a:lnTo>
                    <a:pt x="141" y="130"/>
                  </a:lnTo>
                  <a:lnTo>
                    <a:pt x="145" y="132"/>
                  </a:lnTo>
                  <a:lnTo>
                    <a:pt x="149" y="133"/>
                  </a:lnTo>
                  <a:lnTo>
                    <a:pt x="152" y="132"/>
                  </a:lnTo>
                  <a:lnTo>
                    <a:pt x="156" y="131"/>
                  </a:lnTo>
                  <a:lnTo>
                    <a:pt x="156" y="128"/>
                  </a:lnTo>
                  <a:lnTo>
                    <a:pt x="153" y="128"/>
                  </a:lnTo>
                  <a:lnTo>
                    <a:pt x="150" y="127"/>
                  </a:lnTo>
                  <a:lnTo>
                    <a:pt x="148" y="125"/>
                  </a:lnTo>
                  <a:lnTo>
                    <a:pt x="151" y="125"/>
                  </a:lnTo>
                  <a:lnTo>
                    <a:pt x="150" y="121"/>
                  </a:lnTo>
                  <a:lnTo>
                    <a:pt x="155" y="121"/>
                  </a:lnTo>
                  <a:lnTo>
                    <a:pt x="150" y="117"/>
                  </a:lnTo>
                  <a:lnTo>
                    <a:pt x="158" y="115"/>
                  </a:lnTo>
                  <a:lnTo>
                    <a:pt x="165" y="114"/>
                  </a:lnTo>
                  <a:lnTo>
                    <a:pt x="166" y="112"/>
                  </a:lnTo>
                  <a:lnTo>
                    <a:pt x="172" y="112"/>
                  </a:lnTo>
                  <a:lnTo>
                    <a:pt x="176" y="110"/>
                  </a:lnTo>
                  <a:lnTo>
                    <a:pt x="178" y="109"/>
                  </a:lnTo>
                  <a:lnTo>
                    <a:pt x="184" y="110"/>
                  </a:lnTo>
                  <a:lnTo>
                    <a:pt x="187" y="109"/>
                  </a:lnTo>
                  <a:lnTo>
                    <a:pt x="189" y="110"/>
                  </a:lnTo>
                  <a:lnTo>
                    <a:pt x="189" y="114"/>
                  </a:lnTo>
                  <a:lnTo>
                    <a:pt x="193" y="115"/>
                  </a:lnTo>
                  <a:lnTo>
                    <a:pt x="194" y="113"/>
                  </a:lnTo>
                  <a:lnTo>
                    <a:pt x="196" y="115"/>
                  </a:lnTo>
                  <a:lnTo>
                    <a:pt x="198" y="116"/>
                  </a:lnTo>
                  <a:lnTo>
                    <a:pt x="201" y="115"/>
                  </a:lnTo>
                  <a:lnTo>
                    <a:pt x="201" y="118"/>
                  </a:lnTo>
                  <a:lnTo>
                    <a:pt x="204" y="118"/>
                  </a:lnTo>
                  <a:lnTo>
                    <a:pt x="207" y="116"/>
                  </a:lnTo>
                  <a:lnTo>
                    <a:pt x="210" y="114"/>
                  </a:lnTo>
                  <a:lnTo>
                    <a:pt x="212" y="113"/>
                  </a:lnTo>
                  <a:lnTo>
                    <a:pt x="212" y="116"/>
                  </a:lnTo>
                  <a:lnTo>
                    <a:pt x="216" y="117"/>
                  </a:lnTo>
                  <a:lnTo>
                    <a:pt x="219" y="119"/>
                  </a:lnTo>
                  <a:lnTo>
                    <a:pt x="223" y="122"/>
                  </a:lnTo>
                  <a:lnTo>
                    <a:pt x="227" y="126"/>
                  </a:lnTo>
                  <a:lnTo>
                    <a:pt x="231" y="129"/>
                  </a:lnTo>
                  <a:lnTo>
                    <a:pt x="233" y="132"/>
                  </a:lnTo>
                  <a:lnTo>
                    <a:pt x="234" y="129"/>
                  </a:lnTo>
                  <a:lnTo>
                    <a:pt x="236" y="129"/>
                  </a:lnTo>
                  <a:lnTo>
                    <a:pt x="238" y="131"/>
                  </a:lnTo>
                  <a:lnTo>
                    <a:pt x="241" y="132"/>
                  </a:lnTo>
                  <a:lnTo>
                    <a:pt x="244" y="132"/>
                  </a:lnTo>
                  <a:lnTo>
                    <a:pt x="247" y="130"/>
                  </a:lnTo>
                  <a:lnTo>
                    <a:pt x="250" y="133"/>
                  </a:lnTo>
                  <a:lnTo>
                    <a:pt x="254" y="136"/>
                  </a:lnTo>
                  <a:lnTo>
                    <a:pt x="258" y="138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2" y="139"/>
                  </a:lnTo>
                  <a:cubicBezTo>
                    <a:pt x="263" y="139"/>
                    <a:pt x="264" y="138"/>
                    <a:pt x="266" y="139"/>
                  </a:cubicBezTo>
                  <a:cubicBezTo>
                    <a:pt x="267" y="139"/>
                    <a:pt x="269" y="137"/>
                    <a:pt x="269" y="137"/>
                  </a:cubicBezTo>
                  <a:cubicBezTo>
                    <a:pt x="274" y="137"/>
                    <a:pt x="276" y="131"/>
                    <a:pt x="281" y="131"/>
                  </a:cubicBezTo>
                  <a:cubicBezTo>
                    <a:pt x="283" y="131"/>
                    <a:pt x="284" y="132"/>
                    <a:pt x="286" y="132"/>
                  </a:cubicBezTo>
                  <a:lnTo>
                    <a:pt x="286" y="132"/>
                  </a:lnTo>
                  <a:lnTo>
                    <a:pt x="288" y="131"/>
                  </a:lnTo>
                  <a:lnTo>
                    <a:pt x="288" y="131"/>
                  </a:lnTo>
                  <a:cubicBezTo>
                    <a:pt x="289" y="131"/>
                    <a:pt x="290" y="131"/>
                    <a:pt x="290" y="131"/>
                  </a:cubicBezTo>
                  <a:cubicBezTo>
                    <a:pt x="290" y="133"/>
                    <a:pt x="291" y="134"/>
                    <a:pt x="291" y="135"/>
                  </a:cubicBezTo>
                  <a:lnTo>
                    <a:pt x="291" y="135"/>
                  </a:lnTo>
                  <a:lnTo>
                    <a:pt x="306" y="135"/>
                  </a:lnTo>
                  <a:lnTo>
                    <a:pt x="306" y="135"/>
                  </a:lnTo>
                  <a:cubicBezTo>
                    <a:pt x="308" y="130"/>
                    <a:pt x="302" y="130"/>
                    <a:pt x="302" y="126"/>
                  </a:cubicBezTo>
                  <a:cubicBezTo>
                    <a:pt x="302" y="126"/>
                    <a:pt x="302" y="125"/>
                    <a:pt x="302" y="124"/>
                  </a:cubicBezTo>
                  <a:lnTo>
                    <a:pt x="302" y="124"/>
                  </a:lnTo>
                  <a:lnTo>
                    <a:pt x="304" y="124"/>
                  </a:lnTo>
                  <a:lnTo>
                    <a:pt x="320" y="127"/>
                  </a:lnTo>
                  <a:lnTo>
                    <a:pt x="320" y="127"/>
                  </a:lnTo>
                  <a:cubicBezTo>
                    <a:pt x="321" y="132"/>
                    <a:pt x="324" y="134"/>
                    <a:pt x="330" y="134"/>
                  </a:cubicBezTo>
                  <a:cubicBezTo>
                    <a:pt x="333" y="134"/>
                    <a:pt x="335" y="132"/>
                    <a:pt x="337" y="132"/>
                  </a:cubicBezTo>
                  <a:cubicBezTo>
                    <a:pt x="345" y="132"/>
                    <a:pt x="348" y="137"/>
                    <a:pt x="352" y="139"/>
                  </a:cubicBezTo>
                  <a:cubicBezTo>
                    <a:pt x="360" y="139"/>
                    <a:pt x="362" y="139"/>
                    <a:pt x="367" y="139"/>
                  </a:cubicBezTo>
                  <a:cubicBezTo>
                    <a:pt x="371" y="139"/>
                    <a:pt x="369" y="134"/>
                    <a:pt x="374" y="134"/>
                  </a:cubicBezTo>
                  <a:cubicBezTo>
                    <a:pt x="379" y="134"/>
                    <a:pt x="384" y="136"/>
                    <a:pt x="384" y="136"/>
                  </a:cubicBezTo>
                  <a:cubicBezTo>
                    <a:pt x="386" y="136"/>
                    <a:pt x="387" y="136"/>
                    <a:pt x="388" y="136"/>
                  </a:cubicBezTo>
                  <a:cubicBezTo>
                    <a:pt x="390" y="136"/>
                    <a:pt x="393" y="134"/>
                    <a:pt x="394" y="132"/>
                  </a:cubicBezTo>
                  <a:cubicBezTo>
                    <a:pt x="393" y="132"/>
                    <a:pt x="391" y="130"/>
                    <a:pt x="391" y="129"/>
                  </a:cubicBezTo>
                  <a:cubicBezTo>
                    <a:pt x="391" y="126"/>
                    <a:pt x="393" y="125"/>
                    <a:pt x="393" y="124"/>
                  </a:cubicBezTo>
                  <a:cubicBezTo>
                    <a:pt x="393" y="121"/>
                    <a:pt x="388" y="121"/>
                    <a:pt x="388" y="119"/>
                  </a:cubicBezTo>
                  <a:cubicBezTo>
                    <a:pt x="388" y="118"/>
                    <a:pt x="388" y="118"/>
                    <a:pt x="388" y="117"/>
                  </a:cubicBezTo>
                  <a:lnTo>
                    <a:pt x="388" y="117"/>
                  </a:lnTo>
                  <a:lnTo>
                    <a:pt x="398" y="116"/>
                  </a:lnTo>
                  <a:lnTo>
                    <a:pt x="398" y="116"/>
                  </a:lnTo>
                  <a:cubicBezTo>
                    <a:pt x="403" y="117"/>
                    <a:pt x="405" y="117"/>
                    <a:pt x="409" y="118"/>
                  </a:cubicBezTo>
                  <a:cubicBezTo>
                    <a:pt x="415" y="120"/>
                    <a:pt x="415" y="127"/>
                    <a:pt x="422" y="127"/>
                  </a:cubicBezTo>
                  <a:cubicBezTo>
                    <a:pt x="424" y="133"/>
                    <a:pt x="430" y="135"/>
                    <a:pt x="436" y="136"/>
                  </a:cubicBezTo>
                  <a:cubicBezTo>
                    <a:pt x="442" y="139"/>
                    <a:pt x="446" y="147"/>
                    <a:pt x="452" y="147"/>
                  </a:cubicBezTo>
                  <a:cubicBezTo>
                    <a:pt x="457" y="147"/>
                    <a:pt x="459" y="143"/>
                    <a:pt x="463" y="143"/>
                  </a:cubicBezTo>
                  <a:cubicBezTo>
                    <a:pt x="465" y="143"/>
                    <a:pt x="465" y="144"/>
                    <a:pt x="466" y="144"/>
                  </a:cubicBezTo>
                  <a:cubicBezTo>
                    <a:pt x="466" y="145"/>
                    <a:pt x="466" y="147"/>
                    <a:pt x="466" y="147"/>
                  </a:cubicBezTo>
                  <a:cubicBezTo>
                    <a:pt x="466" y="149"/>
                    <a:pt x="467" y="151"/>
                    <a:pt x="468" y="152"/>
                  </a:cubicBezTo>
                  <a:lnTo>
                    <a:pt x="468" y="152"/>
                  </a:lnTo>
                  <a:lnTo>
                    <a:pt x="468" y="159"/>
                  </a:lnTo>
                  <a:lnTo>
                    <a:pt x="468" y="159"/>
                  </a:lnTo>
                  <a:cubicBezTo>
                    <a:pt x="466" y="160"/>
                    <a:pt x="464" y="159"/>
                    <a:pt x="463" y="159"/>
                  </a:cubicBezTo>
                  <a:cubicBezTo>
                    <a:pt x="462" y="159"/>
                    <a:pt x="461" y="160"/>
                    <a:pt x="461" y="161"/>
                  </a:cubicBezTo>
                  <a:cubicBezTo>
                    <a:pt x="461" y="166"/>
                    <a:pt x="467" y="168"/>
                    <a:pt x="467" y="170"/>
                  </a:cubicBezTo>
                  <a:lnTo>
                    <a:pt x="467" y="170"/>
                  </a:lnTo>
                  <a:lnTo>
                    <a:pt x="473" y="171"/>
                  </a:lnTo>
                  <a:lnTo>
                    <a:pt x="473" y="171"/>
                  </a:lnTo>
                  <a:cubicBezTo>
                    <a:pt x="480" y="171"/>
                    <a:pt x="483" y="156"/>
                    <a:pt x="483" y="152"/>
                  </a:cubicBezTo>
                  <a:cubicBezTo>
                    <a:pt x="483" y="151"/>
                    <a:pt x="483" y="149"/>
                    <a:pt x="483" y="146"/>
                  </a:cubicBezTo>
                  <a:cubicBezTo>
                    <a:pt x="483" y="144"/>
                    <a:pt x="482" y="143"/>
                    <a:pt x="484" y="143"/>
                  </a:cubicBezTo>
                  <a:lnTo>
                    <a:pt x="484" y="143"/>
                  </a:lnTo>
                  <a:lnTo>
                    <a:pt x="484" y="140"/>
                  </a:lnTo>
                  <a:lnTo>
                    <a:pt x="484" y="140"/>
                  </a:lnTo>
                  <a:cubicBezTo>
                    <a:pt x="483" y="139"/>
                    <a:pt x="480" y="136"/>
                    <a:pt x="480" y="134"/>
                  </a:cubicBezTo>
                  <a:cubicBezTo>
                    <a:pt x="476" y="131"/>
                    <a:pt x="473" y="124"/>
                    <a:pt x="471" y="118"/>
                  </a:cubicBezTo>
                  <a:cubicBezTo>
                    <a:pt x="468" y="113"/>
                    <a:pt x="461" y="113"/>
                    <a:pt x="454" y="110"/>
                  </a:cubicBezTo>
                  <a:cubicBezTo>
                    <a:pt x="454" y="112"/>
                    <a:pt x="453" y="114"/>
                    <a:pt x="452" y="115"/>
                  </a:cubicBezTo>
                  <a:cubicBezTo>
                    <a:pt x="450" y="112"/>
                    <a:pt x="445" y="114"/>
                    <a:pt x="445" y="109"/>
                  </a:cubicBezTo>
                  <a:cubicBezTo>
                    <a:pt x="445" y="109"/>
                    <a:pt x="436" y="108"/>
                    <a:pt x="436" y="108"/>
                  </a:cubicBezTo>
                  <a:cubicBezTo>
                    <a:pt x="436" y="105"/>
                    <a:pt x="438" y="105"/>
                    <a:pt x="440" y="102"/>
                  </a:cubicBezTo>
                  <a:cubicBezTo>
                    <a:pt x="438" y="99"/>
                    <a:pt x="442" y="94"/>
                    <a:pt x="444" y="93"/>
                  </a:cubicBezTo>
                  <a:lnTo>
                    <a:pt x="444" y="93"/>
                  </a:lnTo>
                  <a:lnTo>
                    <a:pt x="444" y="86"/>
                  </a:lnTo>
                  <a:lnTo>
                    <a:pt x="444" y="86"/>
                  </a:lnTo>
                  <a:cubicBezTo>
                    <a:pt x="445" y="85"/>
                    <a:pt x="446" y="86"/>
                    <a:pt x="449" y="86"/>
                  </a:cubicBezTo>
                  <a:cubicBezTo>
                    <a:pt x="453" y="86"/>
                    <a:pt x="462" y="87"/>
                    <a:pt x="467" y="87"/>
                  </a:cubicBezTo>
                  <a:cubicBezTo>
                    <a:pt x="468" y="87"/>
                    <a:pt x="469" y="86"/>
                    <a:pt x="469" y="86"/>
                  </a:cubicBezTo>
                  <a:lnTo>
                    <a:pt x="469" y="86"/>
                  </a:lnTo>
                  <a:lnTo>
                    <a:pt x="468" y="85"/>
                  </a:lnTo>
                  <a:lnTo>
                    <a:pt x="479" y="85"/>
                  </a:lnTo>
                  <a:lnTo>
                    <a:pt x="479" y="85"/>
                  </a:lnTo>
                  <a:cubicBezTo>
                    <a:pt x="479" y="85"/>
                    <a:pt x="483" y="88"/>
                    <a:pt x="483" y="88"/>
                  </a:cubicBezTo>
                  <a:cubicBezTo>
                    <a:pt x="486" y="88"/>
                    <a:pt x="485" y="86"/>
                    <a:pt x="488" y="85"/>
                  </a:cubicBezTo>
                  <a:cubicBezTo>
                    <a:pt x="486" y="84"/>
                    <a:pt x="485" y="84"/>
                    <a:pt x="485" y="80"/>
                  </a:cubicBezTo>
                  <a:cubicBezTo>
                    <a:pt x="485" y="77"/>
                    <a:pt x="487" y="73"/>
                    <a:pt x="489" y="73"/>
                  </a:cubicBezTo>
                  <a:cubicBezTo>
                    <a:pt x="490" y="73"/>
                    <a:pt x="495" y="73"/>
                    <a:pt x="498" y="73"/>
                  </a:cubicBezTo>
                  <a:cubicBezTo>
                    <a:pt x="498" y="74"/>
                    <a:pt x="502" y="79"/>
                    <a:pt x="503" y="79"/>
                  </a:cubicBezTo>
                  <a:cubicBezTo>
                    <a:pt x="504" y="77"/>
                    <a:pt x="504" y="77"/>
                    <a:pt x="505" y="74"/>
                  </a:cubicBezTo>
                  <a:lnTo>
                    <a:pt x="505" y="36"/>
                  </a:lnTo>
                  <a:cubicBezTo>
                    <a:pt x="504" y="36"/>
                    <a:pt x="504" y="36"/>
                    <a:pt x="502" y="36"/>
                  </a:cubicBezTo>
                  <a:cubicBezTo>
                    <a:pt x="499" y="36"/>
                    <a:pt x="496" y="37"/>
                    <a:pt x="493" y="37"/>
                  </a:cubicBezTo>
                  <a:cubicBezTo>
                    <a:pt x="492" y="37"/>
                    <a:pt x="485" y="36"/>
                    <a:pt x="484" y="35"/>
                  </a:cubicBezTo>
                  <a:lnTo>
                    <a:pt x="484" y="35"/>
                  </a:lnTo>
                  <a:lnTo>
                    <a:pt x="481" y="35"/>
                  </a:lnTo>
                  <a:lnTo>
                    <a:pt x="481" y="35"/>
                  </a:lnTo>
                  <a:cubicBezTo>
                    <a:pt x="481" y="39"/>
                    <a:pt x="487" y="41"/>
                    <a:pt x="487" y="41"/>
                  </a:cubicBezTo>
                  <a:cubicBezTo>
                    <a:pt x="484" y="40"/>
                    <a:pt x="483" y="37"/>
                    <a:pt x="478" y="37"/>
                  </a:cubicBezTo>
                  <a:cubicBezTo>
                    <a:pt x="479" y="37"/>
                    <a:pt x="479" y="36"/>
                    <a:pt x="479" y="36"/>
                  </a:cubicBezTo>
                  <a:cubicBezTo>
                    <a:pt x="477" y="35"/>
                    <a:pt x="476" y="35"/>
                    <a:pt x="475" y="35"/>
                  </a:cubicBezTo>
                  <a:cubicBezTo>
                    <a:pt x="475" y="37"/>
                    <a:pt x="472" y="37"/>
                    <a:pt x="469" y="37"/>
                  </a:cubicBezTo>
                  <a:cubicBezTo>
                    <a:pt x="464" y="37"/>
                    <a:pt x="460" y="36"/>
                    <a:pt x="455" y="37"/>
                  </a:cubicBezTo>
                  <a:cubicBezTo>
                    <a:pt x="456" y="39"/>
                    <a:pt x="457" y="39"/>
                    <a:pt x="459" y="41"/>
                  </a:cubicBezTo>
                  <a:cubicBezTo>
                    <a:pt x="451" y="37"/>
                    <a:pt x="445" y="37"/>
                    <a:pt x="438" y="30"/>
                  </a:cubicBezTo>
                  <a:lnTo>
                    <a:pt x="438" y="30"/>
                  </a:lnTo>
                  <a:lnTo>
                    <a:pt x="421" y="30"/>
                  </a:lnTo>
                  <a:lnTo>
                    <a:pt x="421" y="30"/>
                  </a:lnTo>
                  <a:cubicBezTo>
                    <a:pt x="421" y="30"/>
                    <a:pt x="420" y="31"/>
                    <a:pt x="419" y="31"/>
                  </a:cubicBezTo>
                  <a:lnTo>
                    <a:pt x="419" y="31"/>
                  </a:lnTo>
                  <a:lnTo>
                    <a:pt x="413" y="31"/>
                  </a:lnTo>
                  <a:lnTo>
                    <a:pt x="413" y="31"/>
                  </a:lnTo>
                  <a:cubicBezTo>
                    <a:pt x="410" y="31"/>
                    <a:pt x="410" y="29"/>
                    <a:pt x="406" y="29"/>
                  </a:cubicBezTo>
                  <a:cubicBezTo>
                    <a:pt x="405" y="29"/>
                    <a:pt x="405" y="30"/>
                    <a:pt x="403" y="30"/>
                  </a:cubicBezTo>
                  <a:cubicBezTo>
                    <a:pt x="401" y="30"/>
                    <a:pt x="399" y="28"/>
                    <a:pt x="397" y="27"/>
                  </a:cubicBezTo>
                  <a:lnTo>
                    <a:pt x="397" y="27"/>
                  </a:lnTo>
                  <a:lnTo>
                    <a:pt x="398" y="26"/>
                  </a:lnTo>
                  <a:lnTo>
                    <a:pt x="398" y="26"/>
                  </a:lnTo>
                  <a:cubicBezTo>
                    <a:pt x="398" y="26"/>
                    <a:pt x="397" y="25"/>
                    <a:pt x="394" y="25"/>
                  </a:cubicBezTo>
                  <a:cubicBezTo>
                    <a:pt x="389" y="25"/>
                    <a:pt x="388" y="28"/>
                    <a:pt x="386" y="28"/>
                  </a:cubicBezTo>
                  <a:cubicBezTo>
                    <a:pt x="386" y="28"/>
                    <a:pt x="384" y="28"/>
                    <a:pt x="384" y="28"/>
                  </a:cubicBezTo>
                  <a:lnTo>
                    <a:pt x="384" y="28"/>
                  </a:lnTo>
                  <a:lnTo>
                    <a:pt x="384" y="25"/>
                  </a:lnTo>
                  <a:lnTo>
                    <a:pt x="384" y="25"/>
                  </a:lnTo>
                  <a:cubicBezTo>
                    <a:pt x="383" y="24"/>
                    <a:pt x="382" y="24"/>
                    <a:pt x="379" y="25"/>
                  </a:cubicBezTo>
                  <a:cubicBezTo>
                    <a:pt x="379" y="23"/>
                    <a:pt x="368" y="25"/>
                    <a:pt x="368" y="25"/>
                  </a:cubicBezTo>
                  <a:lnTo>
                    <a:pt x="368" y="25"/>
                  </a:lnTo>
                  <a:lnTo>
                    <a:pt x="362" y="25"/>
                  </a:lnTo>
                  <a:lnTo>
                    <a:pt x="362" y="25"/>
                  </a:lnTo>
                  <a:cubicBezTo>
                    <a:pt x="362" y="25"/>
                    <a:pt x="363" y="26"/>
                    <a:pt x="364" y="26"/>
                  </a:cubicBezTo>
                  <a:cubicBezTo>
                    <a:pt x="364" y="27"/>
                    <a:pt x="366" y="28"/>
                    <a:pt x="366" y="29"/>
                  </a:cubicBezTo>
                  <a:cubicBezTo>
                    <a:pt x="363" y="29"/>
                    <a:pt x="362" y="30"/>
                    <a:pt x="359" y="30"/>
                  </a:cubicBezTo>
                  <a:cubicBezTo>
                    <a:pt x="355" y="30"/>
                    <a:pt x="349" y="28"/>
                    <a:pt x="345" y="28"/>
                  </a:cubicBezTo>
                  <a:cubicBezTo>
                    <a:pt x="345" y="28"/>
                    <a:pt x="344" y="28"/>
                    <a:pt x="344" y="28"/>
                  </a:cubicBezTo>
                  <a:lnTo>
                    <a:pt x="344" y="28"/>
                  </a:lnTo>
                  <a:lnTo>
                    <a:pt x="344" y="31"/>
                  </a:lnTo>
                  <a:lnTo>
                    <a:pt x="341" y="31"/>
                  </a:lnTo>
                  <a:lnTo>
                    <a:pt x="341" y="31"/>
                  </a:lnTo>
                  <a:cubicBezTo>
                    <a:pt x="338" y="29"/>
                    <a:pt x="331" y="30"/>
                    <a:pt x="328" y="27"/>
                  </a:cubicBezTo>
                  <a:lnTo>
                    <a:pt x="328" y="27"/>
                  </a:lnTo>
                  <a:lnTo>
                    <a:pt x="325" y="27"/>
                  </a:lnTo>
                  <a:lnTo>
                    <a:pt x="325" y="27"/>
                  </a:lnTo>
                  <a:cubicBezTo>
                    <a:pt x="325" y="28"/>
                    <a:pt x="326" y="29"/>
                    <a:pt x="326" y="29"/>
                  </a:cubicBezTo>
                  <a:cubicBezTo>
                    <a:pt x="325" y="28"/>
                    <a:pt x="322" y="26"/>
                    <a:pt x="320" y="25"/>
                  </a:cubicBezTo>
                  <a:lnTo>
                    <a:pt x="320" y="25"/>
                  </a:lnTo>
                  <a:lnTo>
                    <a:pt x="315" y="25"/>
                  </a:lnTo>
                  <a:lnTo>
                    <a:pt x="315" y="25"/>
                  </a:lnTo>
                  <a:cubicBezTo>
                    <a:pt x="316" y="27"/>
                    <a:pt x="303" y="21"/>
                    <a:pt x="305" y="22"/>
                  </a:cubicBezTo>
                  <a:cubicBezTo>
                    <a:pt x="301" y="22"/>
                    <a:pt x="299" y="23"/>
                    <a:pt x="294" y="23"/>
                  </a:cubicBezTo>
                  <a:cubicBezTo>
                    <a:pt x="287" y="23"/>
                    <a:pt x="283" y="20"/>
                    <a:pt x="276" y="20"/>
                  </a:cubicBezTo>
                  <a:cubicBezTo>
                    <a:pt x="275" y="20"/>
                    <a:pt x="271" y="19"/>
                    <a:pt x="271" y="19"/>
                  </a:cubicBezTo>
                  <a:cubicBezTo>
                    <a:pt x="271" y="21"/>
                    <a:pt x="274" y="23"/>
                    <a:pt x="275" y="24"/>
                  </a:cubicBezTo>
                  <a:cubicBezTo>
                    <a:pt x="271" y="23"/>
                    <a:pt x="269" y="19"/>
                    <a:pt x="263" y="17"/>
                  </a:cubicBezTo>
                  <a:cubicBezTo>
                    <a:pt x="263" y="17"/>
                    <a:pt x="264" y="15"/>
                    <a:pt x="264" y="15"/>
                  </a:cubicBezTo>
                  <a:lnTo>
                    <a:pt x="264" y="15"/>
                  </a:lnTo>
                  <a:lnTo>
                    <a:pt x="261" y="15"/>
                  </a:lnTo>
                  <a:lnTo>
                    <a:pt x="261" y="15"/>
                  </a:lnTo>
                  <a:cubicBezTo>
                    <a:pt x="261" y="15"/>
                    <a:pt x="260" y="16"/>
                    <a:pt x="259" y="16"/>
                  </a:cubicBezTo>
                  <a:cubicBezTo>
                    <a:pt x="259" y="16"/>
                    <a:pt x="260" y="17"/>
                    <a:pt x="260" y="17"/>
                  </a:cubicBezTo>
                  <a:cubicBezTo>
                    <a:pt x="255" y="19"/>
                    <a:pt x="252" y="22"/>
                    <a:pt x="247" y="24"/>
                  </a:cubicBezTo>
                  <a:cubicBezTo>
                    <a:pt x="247" y="19"/>
                    <a:pt x="258" y="15"/>
                    <a:pt x="261" y="13"/>
                  </a:cubicBezTo>
                  <a:cubicBezTo>
                    <a:pt x="256" y="9"/>
                    <a:pt x="246" y="6"/>
                    <a:pt x="238" y="6"/>
                  </a:cubicBezTo>
                  <a:cubicBezTo>
                    <a:pt x="236" y="6"/>
                    <a:pt x="235" y="8"/>
                    <a:pt x="233" y="8"/>
                  </a:cubicBezTo>
                  <a:lnTo>
                    <a:pt x="233" y="8"/>
                  </a:lnTo>
                  <a:lnTo>
                    <a:pt x="225" y="5"/>
                  </a:lnTo>
                  <a:lnTo>
                    <a:pt x="225" y="5"/>
                  </a:lnTo>
                  <a:cubicBezTo>
                    <a:pt x="225" y="4"/>
                    <a:pt x="226" y="4"/>
                    <a:pt x="227" y="2"/>
                  </a:cubicBezTo>
                  <a:cubicBezTo>
                    <a:pt x="226" y="1"/>
                    <a:pt x="225" y="1"/>
                    <a:pt x="224" y="1"/>
                  </a:cubicBezTo>
                  <a:cubicBezTo>
                    <a:pt x="223" y="0"/>
                    <a:pt x="221" y="0"/>
                    <a:pt x="221" y="2"/>
                  </a:cubicBezTo>
                  <a:cubicBezTo>
                    <a:pt x="217" y="2"/>
                    <a:pt x="216" y="5"/>
                    <a:pt x="213" y="6"/>
                  </a:cubicBezTo>
                  <a:lnTo>
                    <a:pt x="213" y="6"/>
                  </a:lnTo>
                  <a:lnTo>
                    <a:pt x="216" y="7"/>
                  </a:lnTo>
                  <a:lnTo>
                    <a:pt x="216" y="7"/>
                  </a:lnTo>
                  <a:cubicBezTo>
                    <a:pt x="216" y="7"/>
                    <a:pt x="213" y="7"/>
                    <a:pt x="211" y="7"/>
                  </a:cubicBezTo>
                  <a:cubicBezTo>
                    <a:pt x="212" y="8"/>
                    <a:pt x="214" y="13"/>
                    <a:pt x="217" y="13"/>
                  </a:cubicBezTo>
                  <a:cubicBezTo>
                    <a:pt x="214" y="13"/>
                    <a:pt x="213" y="9"/>
                    <a:pt x="209" y="8"/>
                  </a:cubicBezTo>
                  <a:lnTo>
                    <a:pt x="209" y="8"/>
                  </a:lnTo>
                  <a:lnTo>
                    <a:pt x="203" y="10"/>
                  </a:lnTo>
                  <a:lnTo>
                    <a:pt x="203" y="10"/>
                  </a:lnTo>
                  <a:cubicBezTo>
                    <a:pt x="203" y="10"/>
                    <a:pt x="202" y="8"/>
                    <a:pt x="200" y="8"/>
                  </a:cubicBezTo>
                  <a:cubicBezTo>
                    <a:pt x="191" y="8"/>
                    <a:pt x="185" y="14"/>
                    <a:pt x="176" y="14"/>
                  </a:cubicBezTo>
                  <a:cubicBezTo>
                    <a:pt x="176" y="16"/>
                    <a:pt x="178" y="17"/>
                    <a:pt x="180" y="17"/>
                  </a:cubicBezTo>
                  <a:cubicBezTo>
                    <a:pt x="180" y="19"/>
                    <a:pt x="183" y="23"/>
                    <a:pt x="185" y="23"/>
                  </a:cubicBezTo>
                  <a:cubicBezTo>
                    <a:pt x="182" y="23"/>
                    <a:pt x="181" y="21"/>
                    <a:pt x="181" y="18"/>
                  </a:cubicBezTo>
                  <a:cubicBezTo>
                    <a:pt x="180" y="18"/>
                    <a:pt x="179" y="18"/>
                    <a:pt x="178" y="18"/>
                  </a:cubicBezTo>
                  <a:cubicBezTo>
                    <a:pt x="176" y="18"/>
                    <a:pt x="174" y="20"/>
                    <a:pt x="172" y="20"/>
                  </a:cubicBezTo>
                  <a:cubicBezTo>
                    <a:pt x="172" y="20"/>
                    <a:pt x="170" y="19"/>
                    <a:pt x="170" y="19"/>
                  </a:cubicBezTo>
                  <a:lnTo>
                    <a:pt x="170" y="19"/>
                  </a:lnTo>
                  <a:lnTo>
                    <a:pt x="166" y="20"/>
                  </a:lnTo>
                  <a:lnTo>
                    <a:pt x="166" y="20"/>
                  </a:lnTo>
                  <a:cubicBezTo>
                    <a:pt x="166" y="20"/>
                    <a:pt x="163" y="20"/>
                    <a:pt x="163" y="21"/>
                  </a:cubicBezTo>
                  <a:cubicBezTo>
                    <a:pt x="163" y="24"/>
                    <a:pt x="178" y="29"/>
                    <a:pt x="181" y="30"/>
                  </a:cubicBezTo>
                  <a:cubicBezTo>
                    <a:pt x="181" y="33"/>
                    <a:pt x="182" y="34"/>
                    <a:pt x="184" y="36"/>
                  </a:cubicBezTo>
                  <a:cubicBezTo>
                    <a:pt x="178" y="37"/>
                    <a:pt x="177" y="31"/>
                    <a:pt x="173" y="29"/>
                  </a:cubicBezTo>
                  <a:cubicBezTo>
                    <a:pt x="170" y="28"/>
                    <a:pt x="162" y="28"/>
                    <a:pt x="162" y="23"/>
                  </a:cubicBezTo>
                  <a:cubicBezTo>
                    <a:pt x="161" y="23"/>
                    <a:pt x="160" y="23"/>
                    <a:pt x="159" y="23"/>
                  </a:cubicBezTo>
                  <a:cubicBezTo>
                    <a:pt x="158" y="23"/>
                    <a:pt x="158" y="25"/>
                    <a:pt x="155" y="25"/>
                  </a:cubicBezTo>
                  <a:cubicBezTo>
                    <a:pt x="155" y="26"/>
                    <a:pt x="155" y="27"/>
                    <a:pt x="154" y="28"/>
                  </a:cubicBezTo>
                  <a:cubicBezTo>
                    <a:pt x="155" y="30"/>
                    <a:pt x="161" y="30"/>
                    <a:pt x="165" y="32"/>
                  </a:cubicBezTo>
                  <a:lnTo>
                    <a:pt x="165" y="32"/>
                  </a:lnTo>
                  <a:lnTo>
                    <a:pt x="161" y="32"/>
                  </a:lnTo>
                  <a:lnTo>
                    <a:pt x="161" y="32"/>
                  </a:lnTo>
                  <a:cubicBezTo>
                    <a:pt x="155" y="30"/>
                    <a:pt x="151" y="31"/>
                    <a:pt x="149" y="25"/>
                  </a:cubicBezTo>
                  <a:lnTo>
                    <a:pt x="149" y="25"/>
                  </a:lnTo>
                  <a:lnTo>
                    <a:pt x="147" y="25"/>
                  </a:lnTo>
                  <a:lnTo>
                    <a:pt x="147" y="25"/>
                  </a:lnTo>
                  <a:cubicBezTo>
                    <a:pt x="147" y="27"/>
                    <a:pt x="147" y="27"/>
                    <a:pt x="145" y="28"/>
                  </a:cubicBezTo>
                  <a:cubicBezTo>
                    <a:pt x="147" y="31"/>
                    <a:pt x="150" y="30"/>
                    <a:pt x="151" y="34"/>
                  </a:cubicBezTo>
                  <a:cubicBezTo>
                    <a:pt x="152" y="35"/>
                    <a:pt x="151" y="37"/>
                    <a:pt x="153" y="38"/>
                  </a:cubicBezTo>
                  <a:cubicBezTo>
                    <a:pt x="154" y="39"/>
                    <a:pt x="154" y="40"/>
                    <a:pt x="156" y="40"/>
                  </a:cubicBezTo>
                  <a:cubicBezTo>
                    <a:pt x="158" y="40"/>
                    <a:pt x="158" y="39"/>
                    <a:pt x="161" y="39"/>
                  </a:cubicBezTo>
                  <a:cubicBezTo>
                    <a:pt x="165" y="39"/>
                    <a:pt x="167" y="42"/>
                    <a:pt x="170" y="42"/>
                  </a:cubicBezTo>
                  <a:cubicBezTo>
                    <a:pt x="171" y="44"/>
                    <a:pt x="172" y="47"/>
                    <a:pt x="175" y="48"/>
                  </a:cubicBezTo>
                  <a:cubicBezTo>
                    <a:pt x="174" y="48"/>
                    <a:pt x="174" y="48"/>
                    <a:pt x="173" y="48"/>
                  </a:cubicBezTo>
                  <a:cubicBezTo>
                    <a:pt x="167" y="48"/>
                    <a:pt x="169" y="40"/>
                    <a:pt x="162" y="40"/>
                  </a:cubicBezTo>
                  <a:cubicBezTo>
                    <a:pt x="161" y="40"/>
                    <a:pt x="159" y="41"/>
                    <a:pt x="158" y="41"/>
                  </a:cubicBezTo>
                  <a:cubicBezTo>
                    <a:pt x="158" y="42"/>
                    <a:pt x="161" y="47"/>
                    <a:pt x="162" y="48"/>
                  </a:cubicBezTo>
                  <a:cubicBezTo>
                    <a:pt x="159" y="50"/>
                    <a:pt x="159" y="53"/>
                    <a:pt x="154" y="53"/>
                  </a:cubicBezTo>
                  <a:cubicBezTo>
                    <a:pt x="150" y="53"/>
                    <a:pt x="148" y="55"/>
                    <a:pt x="145" y="52"/>
                  </a:cubicBezTo>
                  <a:cubicBezTo>
                    <a:pt x="147" y="52"/>
                    <a:pt x="148" y="52"/>
                    <a:pt x="150" y="52"/>
                  </a:cubicBezTo>
                  <a:cubicBezTo>
                    <a:pt x="153" y="52"/>
                    <a:pt x="154" y="50"/>
                    <a:pt x="154" y="47"/>
                  </a:cubicBezTo>
                  <a:cubicBezTo>
                    <a:pt x="154" y="46"/>
                    <a:pt x="154" y="45"/>
                    <a:pt x="154" y="43"/>
                  </a:cubicBezTo>
                  <a:cubicBezTo>
                    <a:pt x="149" y="41"/>
                    <a:pt x="149" y="35"/>
                    <a:pt x="145" y="32"/>
                  </a:cubicBezTo>
                  <a:lnTo>
                    <a:pt x="145" y="32"/>
                  </a:lnTo>
                  <a:lnTo>
                    <a:pt x="141" y="31"/>
                  </a:lnTo>
                  <a:lnTo>
                    <a:pt x="141" y="31"/>
                  </a:lnTo>
                  <a:cubicBezTo>
                    <a:pt x="140" y="30"/>
                    <a:pt x="142" y="27"/>
                    <a:pt x="140" y="25"/>
                  </a:cubicBezTo>
                  <a:cubicBezTo>
                    <a:pt x="139" y="24"/>
                    <a:pt x="134" y="23"/>
                    <a:pt x="130" y="23"/>
                  </a:cubicBezTo>
                  <a:cubicBezTo>
                    <a:pt x="132" y="23"/>
                    <a:pt x="134" y="23"/>
                    <a:pt x="134" y="21"/>
                  </a:cubicBezTo>
                  <a:cubicBezTo>
                    <a:pt x="132" y="20"/>
                    <a:pt x="131" y="21"/>
                    <a:pt x="129" y="21"/>
                  </a:cubicBezTo>
                  <a:cubicBezTo>
                    <a:pt x="129" y="23"/>
                    <a:pt x="127" y="25"/>
                    <a:pt x="127" y="27"/>
                  </a:cubicBezTo>
                  <a:cubicBezTo>
                    <a:pt x="127" y="27"/>
                    <a:pt x="128" y="27"/>
                    <a:pt x="129" y="27"/>
                  </a:cubicBezTo>
                  <a:lnTo>
                    <a:pt x="129" y="27"/>
                  </a:lnTo>
                  <a:lnTo>
                    <a:pt x="129" y="29"/>
                  </a:lnTo>
                  <a:lnTo>
                    <a:pt x="129" y="29"/>
                  </a:lnTo>
                  <a:cubicBezTo>
                    <a:pt x="128" y="29"/>
                    <a:pt x="127" y="30"/>
                    <a:pt x="125" y="30"/>
                  </a:cubicBezTo>
                  <a:cubicBezTo>
                    <a:pt x="125" y="30"/>
                    <a:pt x="125" y="31"/>
                    <a:pt x="125" y="31"/>
                  </a:cubicBezTo>
                  <a:cubicBezTo>
                    <a:pt x="127" y="33"/>
                    <a:pt x="130" y="39"/>
                    <a:pt x="134" y="39"/>
                  </a:cubicBezTo>
                  <a:cubicBezTo>
                    <a:pt x="134" y="41"/>
                    <a:pt x="138" y="41"/>
                    <a:pt x="138" y="45"/>
                  </a:cubicBezTo>
                  <a:cubicBezTo>
                    <a:pt x="138" y="45"/>
                    <a:pt x="137" y="45"/>
                    <a:pt x="136" y="45"/>
                  </a:cubicBezTo>
                  <a:cubicBezTo>
                    <a:pt x="136" y="45"/>
                    <a:pt x="123" y="41"/>
                    <a:pt x="123" y="39"/>
                  </a:cubicBezTo>
                  <a:cubicBezTo>
                    <a:pt x="120" y="39"/>
                    <a:pt x="101" y="37"/>
                    <a:pt x="101" y="34"/>
                  </a:cubicBezTo>
                  <a:cubicBezTo>
                    <a:pt x="100" y="34"/>
                    <a:pt x="99" y="34"/>
                    <a:pt x="99" y="35"/>
                  </a:cubicBezTo>
                  <a:cubicBezTo>
                    <a:pt x="99" y="39"/>
                    <a:pt x="107" y="38"/>
                    <a:pt x="110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7" y="43"/>
                    <a:pt x="104" y="42"/>
                    <a:pt x="103" y="42"/>
                  </a:cubicBezTo>
                  <a:cubicBezTo>
                    <a:pt x="98" y="42"/>
                    <a:pt x="92" y="45"/>
                    <a:pt x="86" y="45"/>
                  </a:cubicBezTo>
                  <a:cubicBezTo>
                    <a:pt x="85" y="45"/>
                    <a:pt x="85" y="44"/>
                    <a:pt x="86" y="43"/>
                  </a:cubicBezTo>
                  <a:cubicBezTo>
                    <a:pt x="85" y="42"/>
                    <a:pt x="84" y="42"/>
                    <a:pt x="83" y="41"/>
                  </a:cubicBezTo>
                  <a:cubicBezTo>
                    <a:pt x="82" y="44"/>
                    <a:pt x="79" y="41"/>
                    <a:pt x="77" y="43"/>
                  </a:cubicBezTo>
                  <a:cubicBezTo>
                    <a:pt x="74" y="46"/>
                    <a:pt x="68" y="46"/>
                    <a:pt x="68" y="52"/>
                  </a:cubicBezTo>
                  <a:cubicBezTo>
                    <a:pt x="66" y="52"/>
                    <a:pt x="65" y="51"/>
                    <a:pt x="64" y="52"/>
                  </a:cubicBezTo>
                  <a:cubicBezTo>
                    <a:pt x="62" y="52"/>
                    <a:pt x="60" y="51"/>
                    <a:pt x="58" y="50"/>
                  </a:cubicBezTo>
                  <a:lnTo>
                    <a:pt x="58" y="50"/>
                  </a:lnTo>
                  <a:lnTo>
                    <a:pt x="58" y="47"/>
                  </a:lnTo>
                  <a:lnTo>
                    <a:pt x="58" y="47"/>
                  </a:lnTo>
                  <a:cubicBezTo>
                    <a:pt x="60" y="47"/>
                    <a:pt x="61" y="47"/>
                    <a:pt x="61" y="47"/>
                  </a:cubicBezTo>
                  <a:cubicBezTo>
                    <a:pt x="61" y="44"/>
                    <a:pt x="59" y="43"/>
                    <a:pt x="56" y="43"/>
                  </a:cubicBezTo>
                  <a:cubicBezTo>
                    <a:pt x="54" y="43"/>
                    <a:pt x="53" y="43"/>
                    <a:pt x="52" y="43"/>
                  </a:cubicBezTo>
                  <a:cubicBezTo>
                    <a:pt x="52" y="44"/>
                    <a:pt x="54" y="44"/>
                    <a:pt x="54" y="45"/>
                  </a:cubicBezTo>
                  <a:cubicBezTo>
                    <a:pt x="54" y="47"/>
                    <a:pt x="53" y="47"/>
                    <a:pt x="53" y="48"/>
                  </a:cubicBezTo>
                  <a:cubicBezTo>
                    <a:pt x="53" y="48"/>
                    <a:pt x="54" y="50"/>
                    <a:pt x="56" y="50"/>
                  </a:cubicBezTo>
                  <a:lnTo>
                    <a:pt x="56" y="50"/>
                  </a:lnTo>
                  <a:lnTo>
                    <a:pt x="56" y="55"/>
                  </a:lnTo>
                  <a:lnTo>
                    <a:pt x="56" y="55"/>
                  </a:lnTo>
                  <a:cubicBezTo>
                    <a:pt x="56" y="55"/>
                    <a:pt x="55" y="55"/>
                    <a:pt x="55" y="55"/>
                  </a:cubicBezTo>
                  <a:cubicBezTo>
                    <a:pt x="53" y="53"/>
                    <a:pt x="52" y="53"/>
                    <a:pt x="50" y="52"/>
                  </a:cubicBezTo>
                  <a:cubicBezTo>
                    <a:pt x="49" y="54"/>
                    <a:pt x="43" y="56"/>
                    <a:pt x="43" y="58"/>
                  </a:cubicBezTo>
                  <a:cubicBezTo>
                    <a:pt x="43" y="59"/>
                    <a:pt x="45" y="60"/>
                    <a:pt x="46" y="62"/>
                  </a:cubicBezTo>
                  <a:lnTo>
                    <a:pt x="46" y="62"/>
                  </a:lnTo>
                  <a:lnTo>
                    <a:pt x="39" y="62"/>
                  </a:lnTo>
                  <a:lnTo>
                    <a:pt x="39" y="62"/>
                  </a:lnTo>
                  <a:cubicBezTo>
                    <a:pt x="38" y="63"/>
                    <a:pt x="38" y="66"/>
                    <a:pt x="37" y="66"/>
                  </a:cubicBezTo>
                  <a:cubicBezTo>
                    <a:pt x="31" y="66"/>
                    <a:pt x="24" y="63"/>
                    <a:pt x="24" y="58"/>
                  </a:cubicBezTo>
                  <a:cubicBezTo>
                    <a:pt x="24" y="57"/>
                    <a:pt x="23" y="56"/>
                    <a:pt x="23" y="56"/>
                  </a:cubicBezTo>
                  <a:cubicBezTo>
                    <a:pt x="21" y="55"/>
                    <a:pt x="12" y="52"/>
                    <a:pt x="12" y="50"/>
                  </a:cubicBezTo>
                  <a:cubicBezTo>
                    <a:pt x="13" y="51"/>
                    <a:pt x="27" y="55"/>
                    <a:pt x="29" y="55"/>
                  </a:cubicBezTo>
                  <a:cubicBezTo>
                    <a:pt x="31" y="55"/>
                    <a:pt x="33" y="55"/>
                    <a:pt x="37" y="55"/>
                  </a:cubicBezTo>
                  <a:cubicBezTo>
                    <a:pt x="40" y="55"/>
                    <a:pt x="42" y="52"/>
                    <a:pt x="45" y="50"/>
                  </a:cubicBezTo>
                  <a:cubicBezTo>
                    <a:pt x="43" y="49"/>
                    <a:pt x="43" y="47"/>
                    <a:pt x="42" y="46"/>
                  </a:cubicBezTo>
                  <a:cubicBezTo>
                    <a:pt x="42" y="46"/>
                    <a:pt x="33" y="40"/>
                    <a:pt x="15" y="40"/>
                  </a:cubicBezTo>
                  <a:cubicBezTo>
                    <a:pt x="13" y="40"/>
                    <a:pt x="11" y="40"/>
                    <a:pt x="11" y="37"/>
                  </a:cubicBezTo>
                  <a:cubicBezTo>
                    <a:pt x="9" y="37"/>
                    <a:pt x="7" y="38"/>
                    <a:pt x="4" y="39"/>
                  </a:cubicBezTo>
                  <a:cubicBezTo>
                    <a:pt x="4" y="39"/>
                    <a:pt x="2" y="40"/>
                    <a:pt x="2" y="40"/>
                  </a:cubicBezTo>
                  <a:lnTo>
                    <a:pt x="2" y="40"/>
                  </a:lnTo>
                  <a:lnTo>
                    <a:pt x="0" y="43"/>
                  </a:lnTo>
                  <a:lnTo>
                    <a:pt x="0" y="43"/>
                  </a:lnTo>
                  <a:cubicBezTo>
                    <a:pt x="2" y="46"/>
                    <a:pt x="5" y="47"/>
                    <a:pt x="7" y="47"/>
                  </a:cubicBezTo>
                  <a:cubicBezTo>
                    <a:pt x="6" y="50"/>
                    <a:pt x="4" y="50"/>
                    <a:pt x="4" y="52"/>
                  </a:cubicBezTo>
                  <a:cubicBezTo>
                    <a:pt x="4" y="54"/>
                    <a:pt x="7" y="56"/>
                    <a:pt x="8" y="56"/>
                  </a:cubicBezTo>
                  <a:cubicBezTo>
                    <a:pt x="8" y="64"/>
                    <a:pt x="14" y="66"/>
                    <a:pt x="18" y="69"/>
                  </a:cubicBezTo>
                  <a:cubicBezTo>
                    <a:pt x="14" y="73"/>
                    <a:pt x="10" y="79"/>
                    <a:pt x="6" y="82"/>
                  </a:cubicBezTo>
                  <a:cubicBezTo>
                    <a:pt x="6" y="82"/>
                    <a:pt x="10" y="86"/>
                    <a:pt x="10" y="86"/>
                  </a:cubicBezTo>
                  <a:cubicBezTo>
                    <a:pt x="7" y="89"/>
                    <a:pt x="11" y="92"/>
                    <a:pt x="10" y="95"/>
                  </a:cubicBezTo>
                  <a:cubicBezTo>
                    <a:pt x="10" y="97"/>
                    <a:pt x="11" y="101"/>
                    <a:pt x="12" y="103"/>
                  </a:cubicBezTo>
                  <a:lnTo>
                    <a:pt x="12" y="103"/>
                  </a:lnTo>
                  <a:lnTo>
                    <a:pt x="16" y="105"/>
                  </a:lnTo>
                  <a:lnTo>
                    <a:pt x="19" y="105"/>
                  </a:lnTo>
                  <a:lnTo>
                    <a:pt x="20" y="107"/>
                  </a:lnTo>
                  <a:lnTo>
                    <a:pt x="23" y="106"/>
                  </a:lnTo>
                  <a:lnTo>
                    <a:pt x="26" y="107"/>
                  </a:lnTo>
                  <a:lnTo>
                    <a:pt x="26" y="112"/>
                  </a:lnTo>
                  <a:lnTo>
                    <a:pt x="30" y="114"/>
                  </a:lnTo>
                  <a:lnTo>
                    <a:pt x="33" y="117"/>
                  </a:lnTo>
                  <a:lnTo>
                    <a:pt x="35" y="118"/>
                  </a:lnTo>
                  <a:lnTo>
                    <a:pt x="33" y="120"/>
                  </a:lnTo>
                  <a:lnTo>
                    <a:pt x="29" y="118"/>
                  </a:lnTo>
                  <a:lnTo>
                    <a:pt x="30" y="121"/>
                  </a:lnTo>
                  <a:lnTo>
                    <a:pt x="31" y="122"/>
                  </a:lnTo>
                  <a:lnTo>
                    <a:pt x="31" y="125"/>
                  </a:lnTo>
                  <a:lnTo>
                    <a:pt x="30" y="1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7" name="Freeform 109"/>
            <p:cNvSpPr>
              <a:spLocks/>
            </p:cNvSpPr>
            <p:nvPr/>
          </p:nvSpPr>
          <p:spPr bwMode="auto">
            <a:xfrm>
              <a:off x="3176588" y="4124473"/>
              <a:ext cx="347662" cy="163512"/>
            </a:xfrm>
            <a:custGeom>
              <a:avLst/>
              <a:gdLst/>
              <a:ahLst/>
              <a:cxnLst>
                <a:cxn ang="0">
                  <a:pos x="28" y="8"/>
                </a:cxn>
                <a:cxn ang="0">
                  <a:pos x="30" y="14"/>
                </a:cxn>
                <a:cxn ang="0">
                  <a:pos x="27" y="13"/>
                </a:cxn>
                <a:cxn ang="0">
                  <a:pos x="25" y="11"/>
                </a:cxn>
                <a:cxn ang="0">
                  <a:pos x="22" y="13"/>
                </a:cxn>
                <a:cxn ang="0">
                  <a:pos x="19" y="13"/>
                </a:cxn>
                <a:cxn ang="0">
                  <a:pos x="19" y="13"/>
                </a:cxn>
                <a:cxn ang="0">
                  <a:pos x="19" y="12"/>
                </a:cxn>
                <a:cxn ang="0">
                  <a:pos x="7" y="1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1"/>
                </a:cxn>
                <a:cxn ang="0">
                  <a:pos x="5" y="2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5" y="3"/>
                </a:cxn>
                <a:cxn ang="0">
                  <a:pos x="18" y="5"/>
                </a:cxn>
                <a:cxn ang="0">
                  <a:pos x="20" y="4"/>
                </a:cxn>
                <a:cxn ang="0">
                  <a:pos x="24" y="5"/>
                </a:cxn>
                <a:cxn ang="0">
                  <a:pos x="26" y="7"/>
                </a:cxn>
                <a:cxn ang="0">
                  <a:pos x="28" y="8"/>
                </a:cxn>
              </a:cxnLst>
              <a:rect l="0" t="0" r="r" b="b"/>
              <a:pathLst>
                <a:path w="30" h="14">
                  <a:moveTo>
                    <a:pt x="28" y="8"/>
                  </a:moveTo>
                  <a:lnTo>
                    <a:pt x="30" y="14"/>
                  </a:lnTo>
                  <a:lnTo>
                    <a:pt x="27" y="13"/>
                  </a:lnTo>
                  <a:lnTo>
                    <a:pt x="25" y="11"/>
                  </a:lnTo>
                  <a:lnTo>
                    <a:pt x="22" y="13"/>
                  </a:lnTo>
                  <a:lnTo>
                    <a:pt x="19" y="13"/>
                  </a:lnTo>
                  <a:lnTo>
                    <a:pt x="19" y="13"/>
                  </a:lnTo>
                  <a:cubicBezTo>
                    <a:pt x="19" y="12"/>
                    <a:pt x="19" y="12"/>
                    <a:pt x="19" y="12"/>
                  </a:cubicBezTo>
                  <a:cubicBezTo>
                    <a:pt x="16" y="10"/>
                    <a:pt x="12" y="10"/>
                    <a:pt x="7" y="10"/>
                  </a:cubicBezTo>
                  <a:cubicBezTo>
                    <a:pt x="7" y="5"/>
                    <a:pt x="4" y="2"/>
                    <a:pt x="0" y="0"/>
                  </a:cubicBezTo>
                  <a:lnTo>
                    <a:pt x="0" y="0"/>
                  </a:lnTo>
                  <a:lnTo>
                    <a:pt x="1" y="1"/>
                  </a:lnTo>
                  <a:lnTo>
                    <a:pt x="5" y="2"/>
                  </a:lnTo>
                  <a:lnTo>
                    <a:pt x="9" y="3"/>
                  </a:lnTo>
                  <a:lnTo>
                    <a:pt x="11" y="2"/>
                  </a:lnTo>
                  <a:lnTo>
                    <a:pt x="15" y="3"/>
                  </a:lnTo>
                  <a:lnTo>
                    <a:pt x="18" y="5"/>
                  </a:lnTo>
                  <a:lnTo>
                    <a:pt x="20" y="4"/>
                  </a:lnTo>
                  <a:lnTo>
                    <a:pt x="24" y="5"/>
                  </a:lnTo>
                  <a:lnTo>
                    <a:pt x="26" y="7"/>
                  </a:lnTo>
                  <a:lnTo>
                    <a:pt x="28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8" name="Freeform 110"/>
            <p:cNvSpPr>
              <a:spLocks/>
            </p:cNvSpPr>
            <p:nvPr/>
          </p:nvSpPr>
          <p:spPr bwMode="auto">
            <a:xfrm>
              <a:off x="3443287" y="4207023"/>
              <a:ext cx="265112" cy="207962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3" y="8"/>
                </a:cxn>
                <a:cxn ang="0">
                  <a:pos x="4" y="11"/>
                </a:cxn>
                <a:cxn ang="0">
                  <a:pos x="5" y="13"/>
                </a:cxn>
                <a:cxn ang="0">
                  <a:pos x="5" y="15"/>
                </a:cxn>
                <a:cxn ang="0">
                  <a:pos x="5" y="16"/>
                </a:cxn>
                <a:cxn ang="0">
                  <a:pos x="5" y="16"/>
                </a:cxn>
                <a:cxn ang="0">
                  <a:pos x="12" y="18"/>
                </a:cxn>
                <a:cxn ang="0">
                  <a:pos x="16" y="12"/>
                </a:cxn>
                <a:cxn ang="0">
                  <a:pos x="19" y="15"/>
                </a:cxn>
                <a:cxn ang="0">
                  <a:pos x="20" y="11"/>
                </a:cxn>
                <a:cxn ang="0">
                  <a:pos x="23" y="9"/>
                </a:cxn>
                <a:cxn ang="0">
                  <a:pos x="15" y="3"/>
                </a:cxn>
                <a:cxn ang="0">
                  <a:pos x="15" y="3"/>
                </a:cxn>
                <a:cxn ang="0">
                  <a:pos x="15" y="3"/>
                </a:cxn>
                <a:cxn ang="0">
                  <a:pos x="12" y="6"/>
                </a:cxn>
                <a:cxn ang="0">
                  <a:pos x="9" y="4"/>
                </a:cxn>
                <a:cxn ang="0">
                  <a:pos x="7" y="2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5" y="1"/>
                </a:cxn>
                <a:cxn ang="0">
                  <a:pos x="7" y="7"/>
                </a:cxn>
                <a:cxn ang="0">
                  <a:pos x="4" y="6"/>
                </a:cxn>
                <a:cxn ang="0">
                  <a:pos x="2" y="4"/>
                </a:cxn>
                <a:cxn ang="0">
                  <a:pos x="0" y="5"/>
                </a:cxn>
              </a:cxnLst>
              <a:rect l="0" t="0" r="r" b="b"/>
              <a:pathLst>
                <a:path w="23" h="18">
                  <a:moveTo>
                    <a:pt x="0" y="5"/>
                  </a:moveTo>
                  <a:lnTo>
                    <a:pt x="3" y="8"/>
                  </a:lnTo>
                  <a:lnTo>
                    <a:pt x="4" y="11"/>
                  </a:lnTo>
                  <a:lnTo>
                    <a:pt x="5" y="13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6"/>
                  </a:lnTo>
                  <a:cubicBezTo>
                    <a:pt x="8" y="17"/>
                    <a:pt x="10" y="18"/>
                    <a:pt x="12" y="18"/>
                  </a:cubicBezTo>
                  <a:cubicBezTo>
                    <a:pt x="14" y="18"/>
                    <a:pt x="14" y="12"/>
                    <a:pt x="16" y="12"/>
                  </a:cubicBezTo>
                  <a:cubicBezTo>
                    <a:pt x="21" y="12"/>
                    <a:pt x="19" y="15"/>
                    <a:pt x="19" y="15"/>
                  </a:cubicBezTo>
                  <a:cubicBezTo>
                    <a:pt x="19" y="14"/>
                    <a:pt x="20" y="11"/>
                    <a:pt x="20" y="11"/>
                  </a:cubicBezTo>
                  <a:cubicBezTo>
                    <a:pt x="22" y="11"/>
                    <a:pt x="23" y="10"/>
                    <a:pt x="23" y="9"/>
                  </a:cubicBezTo>
                  <a:cubicBezTo>
                    <a:pt x="21" y="6"/>
                    <a:pt x="18" y="4"/>
                    <a:pt x="15" y="3"/>
                  </a:cubicBezTo>
                  <a:lnTo>
                    <a:pt x="15" y="3"/>
                  </a:lnTo>
                  <a:lnTo>
                    <a:pt x="15" y="3"/>
                  </a:lnTo>
                  <a:lnTo>
                    <a:pt x="12" y="6"/>
                  </a:lnTo>
                  <a:lnTo>
                    <a:pt x="9" y="4"/>
                  </a:lnTo>
                  <a:lnTo>
                    <a:pt x="7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1"/>
                  </a:lnTo>
                  <a:lnTo>
                    <a:pt x="7" y="7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9" name="Freeform 111"/>
            <p:cNvSpPr>
              <a:spLocks/>
            </p:cNvSpPr>
            <p:nvPr/>
          </p:nvSpPr>
          <p:spPr bwMode="auto">
            <a:xfrm>
              <a:off x="3397250" y="4262586"/>
              <a:ext cx="103188" cy="12858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7" y="3"/>
                </a:cxn>
                <a:cxn ang="0">
                  <a:pos x="8" y="6"/>
                </a:cxn>
                <a:cxn ang="0">
                  <a:pos x="9" y="8"/>
                </a:cxn>
                <a:cxn ang="0">
                  <a:pos x="9" y="10"/>
                </a:cxn>
                <a:cxn ang="0">
                  <a:pos x="9" y="11"/>
                </a:cxn>
                <a:cxn ang="0">
                  <a:pos x="9" y="11"/>
                </a:cxn>
                <a:cxn ang="0">
                  <a:pos x="5" y="8"/>
                </a:cxn>
                <a:cxn ang="0">
                  <a:pos x="4" y="6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3" y="1"/>
                </a:cxn>
                <a:cxn ang="0">
                  <a:pos x="4" y="0"/>
                </a:cxn>
              </a:cxnLst>
              <a:rect l="0" t="0" r="r" b="b"/>
              <a:pathLst>
                <a:path w="9" h="11">
                  <a:moveTo>
                    <a:pt x="4" y="0"/>
                  </a:moveTo>
                  <a:lnTo>
                    <a:pt x="7" y="3"/>
                  </a:lnTo>
                  <a:lnTo>
                    <a:pt x="8" y="6"/>
                  </a:lnTo>
                  <a:lnTo>
                    <a:pt x="9" y="8"/>
                  </a:lnTo>
                  <a:lnTo>
                    <a:pt x="9" y="10"/>
                  </a:lnTo>
                  <a:lnTo>
                    <a:pt x="9" y="11"/>
                  </a:lnTo>
                  <a:lnTo>
                    <a:pt x="9" y="11"/>
                  </a:lnTo>
                  <a:cubicBezTo>
                    <a:pt x="7" y="10"/>
                    <a:pt x="5" y="9"/>
                    <a:pt x="5" y="8"/>
                  </a:cubicBezTo>
                  <a:cubicBezTo>
                    <a:pt x="5" y="8"/>
                    <a:pt x="4" y="7"/>
                    <a:pt x="4" y="6"/>
                  </a:cubicBezTo>
                  <a:cubicBezTo>
                    <a:pt x="0" y="7"/>
                    <a:pt x="1" y="3"/>
                    <a:pt x="0" y="1"/>
                  </a:cubicBezTo>
                  <a:lnTo>
                    <a:pt x="0" y="1"/>
                  </a:lnTo>
                  <a:lnTo>
                    <a:pt x="3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0B5B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0" name="Freeform 112"/>
            <p:cNvSpPr>
              <a:spLocks/>
            </p:cNvSpPr>
            <p:nvPr/>
          </p:nvSpPr>
          <p:spPr bwMode="auto">
            <a:xfrm>
              <a:off x="3951287" y="4006998"/>
              <a:ext cx="914400" cy="500062"/>
            </a:xfrm>
            <a:custGeom>
              <a:avLst/>
              <a:gdLst/>
              <a:ahLst/>
              <a:cxnLst>
                <a:cxn ang="0">
                  <a:pos x="53" y="40"/>
                </a:cxn>
                <a:cxn ang="0">
                  <a:pos x="46" y="38"/>
                </a:cxn>
                <a:cxn ang="0">
                  <a:pos x="40" y="34"/>
                </a:cxn>
                <a:cxn ang="0">
                  <a:pos x="32" y="28"/>
                </a:cxn>
                <a:cxn ang="0">
                  <a:pos x="25" y="24"/>
                </a:cxn>
                <a:cxn ang="0">
                  <a:pos x="21" y="20"/>
                </a:cxn>
                <a:cxn ang="0">
                  <a:pos x="15" y="16"/>
                </a:cxn>
                <a:cxn ang="0">
                  <a:pos x="11" y="18"/>
                </a:cxn>
                <a:cxn ang="0">
                  <a:pos x="9" y="23"/>
                </a:cxn>
                <a:cxn ang="0">
                  <a:pos x="4" y="23"/>
                </a:cxn>
                <a:cxn ang="0">
                  <a:pos x="0" y="3"/>
                </a:cxn>
                <a:cxn ang="0">
                  <a:pos x="17" y="4"/>
                </a:cxn>
                <a:cxn ang="0">
                  <a:pos x="33" y="11"/>
                </a:cxn>
                <a:cxn ang="0">
                  <a:pos x="40" y="11"/>
                </a:cxn>
                <a:cxn ang="0">
                  <a:pos x="46" y="16"/>
                </a:cxn>
                <a:cxn ang="0">
                  <a:pos x="52" y="24"/>
                </a:cxn>
                <a:cxn ang="0">
                  <a:pos x="58" y="26"/>
                </a:cxn>
                <a:cxn ang="0">
                  <a:pos x="62" y="21"/>
                </a:cxn>
                <a:cxn ang="0">
                  <a:pos x="67" y="18"/>
                </a:cxn>
                <a:cxn ang="0">
                  <a:pos x="67" y="21"/>
                </a:cxn>
                <a:cxn ang="0">
                  <a:pos x="70" y="24"/>
                </a:cxn>
                <a:cxn ang="0">
                  <a:pos x="75" y="24"/>
                </a:cxn>
                <a:cxn ang="0">
                  <a:pos x="76" y="29"/>
                </a:cxn>
                <a:cxn ang="0">
                  <a:pos x="69" y="29"/>
                </a:cxn>
                <a:cxn ang="0">
                  <a:pos x="67" y="25"/>
                </a:cxn>
                <a:cxn ang="0">
                  <a:pos x="62" y="28"/>
                </a:cxn>
                <a:cxn ang="0">
                  <a:pos x="60" y="32"/>
                </a:cxn>
                <a:cxn ang="0">
                  <a:pos x="56" y="33"/>
                </a:cxn>
                <a:cxn ang="0">
                  <a:pos x="61" y="37"/>
                </a:cxn>
                <a:cxn ang="0">
                  <a:pos x="60" y="43"/>
                </a:cxn>
                <a:cxn ang="0">
                  <a:pos x="60" y="43"/>
                </a:cxn>
                <a:cxn ang="0">
                  <a:pos x="54" y="42"/>
                </a:cxn>
                <a:cxn ang="0">
                  <a:pos x="55" y="41"/>
                </a:cxn>
              </a:cxnLst>
              <a:rect l="0" t="0" r="r" b="b"/>
              <a:pathLst>
                <a:path w="79" h="43">
                  <a:moveTo>
                    <a:pt x="55" y="41"/>
                  </a:moveTo>
                  <a:lnTo>
                    <a:pt x="53" y="40"/>
                  </a:lnTo>
                  <a:lnTo>
                    <a:pt x="50" y="39"/>
                  </a:lnTo>
                  <a:lnTo>
                    <a:pt x="46" y="38"/>
                  </a:lnTo>
                  <a:lnTo>
                    <a:pt x="42" y="36"/>
                  </a:lnTo>
                  <a:lnTo>
                    <a:pt x="40" y="34"/>
                  </a:lnTo>
                  <a:lnTo>
                    <a:pt x="35" y="31"/>
                  </a:lnTo>
                  <a:lnTo>
                    <a:pt x="32" y="28"/>
                  </a:lnTo>
                  <a:lnTo>
                    <a:pt x="29" y="24"/>
                  </a:lnTo>
                  <a:lnTo>
                    <a:pt x="25" y="24"/>
                  </a:lnTo>
                  <a:lnTo>
                    <a:pt x="22" y="23"/>
                  </a:lnTo>
                  <a:lnTo>
                    <a:pt x="21" y="20"/>
                  </a:lnTo>
                  <a:lnTo>
                    <a:pt x="18" y="18"/>
                  </a:lnTo>
                  <a:lnTo>
                    <a:pt x="15" y="16"/>
                  </a:lnTo>
                  <a:lnTo>
                    <a:pt x="13" y="15"/>
                  </a:lnTo>
                  <a:lnTo>
                    <a:pt x="11" y="18"/>
                  </a:lnTo>
                  <a:lnTo>
                    <a:pt x="8" y="19"/>
                  </a:lnTo>
                  <a:lnTo>
                    <a:pt x="9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0" y="3"/>
                  </a:lnTo>
                  <a:lnTo>
                    <a:pt x="9" y="0"/>
                  </a:lnTo>
                  <a:lnTo>
                    <a:pt x="17" y="4"/>
                  </a:lnTo>
                  <a:lnTo>
                    <a:pt x="27" y="11"/>
                  </a:lnTo>
                  <a:lnTo>
                    <a:pt x="33" y="11"/>
                  </a:lnTo>
                  <a:lnTo>
                    <a:pt x="37" y="11"/>
                  </a:lnTo>
                  <a:lnTo>
                    <a:pt x="40" y="11"/>
                  </a:lnTo>
                  <a:lnTo>
                    <a:pt x="43" y="13"/>
                  </a:lnTo>
                  <a:lnTo>
                    <a:pt x="46" y="16"/>
                  </a:lnTo>
                  <a:lnTo>
                    <a:pt x="49" y="21"/>
                  </a:lnTo>
                  <a:lnTo>
                    <a:pt x="52" y="24"/>
                  </a:lnTo>
                  <a:lnTo>
                    <a:pt x="56" y="23"/>
                  </a:lnTo>
                  <a:lnTo>
                    <a:pt x="58" y="26"/>
                  </a:lnTo>
                  <a:lnTo>
                    <a:pt x="60" y="24"/>
                  </a:lnTo>
                  <a:lnTo>
                    <a:pt x="62" y="21"/>
                  </a:lnTo>
                  <a:lnTo>
                    <a:pt x="65" y="20"/>
                  </a:lnTo>
                  <a:lnTo>
                    <a:pt x="67" y="18"/>
                  </a:lnTo>
                  <a:lnTo>
                    <a:pt x="69" y="19"/>
                  </a:lnTo>
                  <a:lnTo>
                    <a:pt x="67" y="21"/>
                  </a:lnTo>
                  <a:lnTo>
                    <a:pt x="68" y="23"/>
                  </a:lnTo>
                  <a:lnTo>
                    <a:pt x="70" y="24"/>
                  </a:lnTo>
                  <a:lnTo>
                    <a:pt x="72" y="23"/>
                  </a:lnTo>
                  <a:lnTo>
                    <a:pt x="75" y="24"/>
                  </a:lnTo>
                  <a:lnTo>
                    <a:pt x="79" y="26"/>
                  </a:lnTo>
                  <a:lnTo>
                    <a:pt x="76" y="29"/>
                  </a:lnTo>
                  <a:lnTo>
                    <a:pt x="73" y="29"/>
                  </a:lnTo>
                  <a:lnTo>
                    <a:pt x="69" y="29"/>
                  </a:lnTo>
                  <a:lnTo>
                    <a:pt x="68" y="26"/>
                  </a:lnTo>
                  <a:lnTo>
                    <a:pt x="67" y="25"/>
                  </a:lnTo>
                  <a:lnTo>
                    <a:pt x="63" y="25"/>
                  </a:lnTo>
                  <a:lnTo>
                    <a:pt x="62" y="28"/>
                  </a:lnTo>
                  <a:lnTo>
                    <a:pt x="61" y="29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3"/>
                  </a:lnTo>
                  <a:lnTo>
                    <a:pt x="58" y="35"/>
                  </a:lnTo>
                  <a:lnTo>
                    <a:pt x="61" y="37"/>
                  </a:lnTo>
                  <a:lnTo>
                    <a:pt x="62" y="40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cubicBezTo>
                    <a:pt x="58" y="42"/>
                    <a:pt x="58" y="42"/>
                    <a:pt x="57" y="42"/>
                  </a:cubicBezTo>
                  <a:cubicBezTo>
                    <a:pt x="56" y="42"/>
                    <a:pt x="55" y="42"/>
                    <a:pt x="54" y="42"/>
                  </a:cubicBezTo>
                  <a:lnTo>
                    <a:pt x="54" y="42"/>
                  </a:lnTo>
                  <a:lnTo>
                    <a:pt x="55" y="4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1" name="Freeform 113"/>
            <p:cNvSpPr>
              <a:spLocks/>
            </p:cNvSpPr>
            <p:nvPr/>
          </p:nvSpPr>
          <p:spPr bwMode="auto">
            <a:xfrm>
              <a:off x="4598989" y="4299098"/>
              <a:ext cx="439737" cy="241300"/>
            </a:xfrm>
            <a:custGeom>
              <a:avLst/>
              <a:gdLst/>
              <a:ahLst/>
              <a:cxnLst>
                <a:cxn ang="0">
                  <a:pos x="12" y="3"/>
                </a:cxn>
                <a:cxn ang="0">
                  <a:pos x="8" y="6"/>
                </a:cxn>
                <a:cxn ang="0">
                  <a:pos x="10" y="7"/>
                </a:cxn>
                <a:cxn ang="0">
                  <a:pos x="13" y="8"/>
                </a:cxn>
                <a:cxn ang="0">
                  <a:pos x="17" y="8"/>
                </a:cxn>
                <a:cxn ang="0">
                  <a:pos x="21" y="9"/>
                </a:cxn>
                <a:cxn ang="0">
                  <a:pos x="27" y="8"/>
                </a:cxn>
                <a:cxn ang="0">
                  <a:pos x="30" y="8"/>
                </a:cxn>
                <a:cxn ang="0">
                  <a:pos x="31" y="8"/>
                </a:cxn>
                <a:cxn ang="0">
                  <a:pos x="31" y="8"/>
                </a:cxn>
                <a:cxn ang="0">
                  <a:pos x="32" y="11"/>
                </a:cxn>
                <a:cxn ang="0">
                  <a:pos x="37" y="17"/>
                </a:cxn>
                <a:cxn ang="0">
                  <a:pos x="37" y="17"/>
                </a:cxn>
                <a:cxn ang="0">
                  <a:pos x="38" y="17"/>
                </a:cxn>
                <a:cxn ang="0">
                  <a:pos x="29" y="17"/>
                </a:cxn>
                <a:cxn ang="0">
                  <a:pos x="29" y="17"/>
                </a:cxn>
                <a:cxn ang="0">
                  <a:pos x="25" y="21"/>
                </a:cxn>
                <a:cxn ang="0">
                  <a:pos x="22" y="14"/>
                </a:cxn>
                <a:cxn ang="0">
                  <a:pos x="19" y="11"/>
                </a:cxn>
                <a:cxn ang="0">
                  <a:pos x="16" y="17"/>
                </a:cxn>
                <a:cxn ang="0">
                  <a:pos x="8" y="20"/>
                </a:cxn>
                <a:cxn ang="0">
                  <a:pos x="4" y="18"/>
                </a:cxn>
                <a:cxn ang="0">
                  <a:pos x="4" y="18"/>
                </a:cxn>
                <a:cxn ang="0">
                  <a:pos x="4" y="18"/>
                </a:cxn>
                <a:cxn ang="0">
                  <a:pos x="6" y="15"/>
                </a:cxn>
                <a:cxn ang="0">
                  <a:pos x="5" y="12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7" y="0"/>
                </a:cxn>
                <a:cxn ang="0">
                  <a:pos x="11" y="0"/>
                </a:cxn>
                <a:cxn ang="0">
                  <a:pos x="12" y="1"/>
                </a:cxn>
                <a:cxn ang="0">
                  <a:pos x="13" y="4"/>
                </a:cxn>
                <a:cxn ang="0">
                  <a:pos x="13" y="4"/>
                </a:cxn>
                <a:cxn ang="0">
                  <a:pos x="12" y="3"/>
                </a:cxn>
              </a:cxnLst>
              <a:rect l="0" t="0" r="r" b="b"/>
              <a:pathLst>
                <a:path w="38" h="21">
                  <a:moveTo>
                    <a:pt x="12" y="3"/>
                  </a:moveTo>
                  <a:lnTo>
                    <a:pt x="8" y="6"/>
                  </a:lnTo>
                  <a:lnTo>
                    <a:pt x="10" y="7"/>
                  </a:lnTo>
                  <a:lnTo>
                    <a:pt x="13" y="8"/>
                  </a:lnTo>
                  <a:lnTo>
                    <a:pt x="17" y="8"/>
                  </a:lnTo>
                  <a:lnTo>
                    <a:pt x="21" y="9"/>
                  </a:lnTo>
                  <a:lnTo>
                    <a:pt x="27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cubicBezTo>
                    <a:pt x="31" y="8"/>
                    <a:pt x="32" y="10"/>
                    <a:pt x="32" y="11"/>
                  </a:cubicBezTo>
                  <a:cubicBezTo>
                    <a:pt x="35" y="11"/>
                    <a:pt x="36" y="13"/>
                    <a:pt x="37" y="17"/>
                  </a:cubicBezTo>
                  <a:lnTo>
                    <a:pt x="37" y="17"/>
                  </a:lnTo>
                  <a:lnTo>
                    <a:pt x="38" y="17"/>
                  </a:lnTo>
                  <a:lnTo>
                    <a:pt x="29" y="17"/>
                  </a:lnTo>
                  <a:lnTo>
                    <a:pt x="29" y="17"/>
                  </a:lnTo>
                  <a:cubicBezTo>
                    <a:pt x="28" y="18"/>
                    <a:pt x="26" y="21"/>
                    <a:pt x="25" y="21"/>
                  </a:cubicBezTo>
                  <a:cubicBezTo>
                    <a:pt x="23" y="21"/>
                    <a:pt x="23" y="17"/>
                    <a:pt x="22" y="14"/>
                  </a:cubicBezTo>
                  <a:cubicBezTo>
                    <a:pt x="21" y="13"/>
                    <a:pt x="19" y="13"/>
                    <a:pt x="19" y="11"/>
                  </a:cubicBezTo>
                  <a:cubicBezTo>
                    <a:pt x="18" y="13"/>
                    <a:pt x="16" y="15"/>
                    <a:pt x="16" y="17"/>
                  </a:cubicBezTo>
                  <a:cubicBezTo>
                    <a:pt x="13" y="17"/>
                    <a:pt x="12" y="20"/>
                    <a:pt x="8" y="20"/>
                  </a:cubicBezTo>
                  <a:cubicBezTo>
                    <a:pt x="6" y="20"/>
                    <a:pt x="5" y="18"/>
                    <a:pt x="4" y="18"/>
                  </a:cubicBezTo>
                  <a:lnTo>
                    <a:pt x="4" y="18"/>
                  </a:lnTo>
                  <a:lnTo>
                    <a:pt x="4" y="18"/>
                  </a:lnTo>
                  <a:lnTo>
                    <a:pt x="6" y="15"/>
                  </a:lnTo>
                  <a:lnTo>
                    <a:pt x="5" y="12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7"/>
                  </a:lnTo>
                  <a:lnTo>
                    <a:pt x="4" y="7"/>
                  </a:lnTo>
                  <a:lnTo>
                    <a:pt x="5" y="4"/>
                  </a:lnTo>
                  <a:lnTo>
                    <a:pt x="6" y="3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2" y="1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2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2" name="Freeform 114"/>
            <p:cNvSpPr>
              <a:spLocks/>
            </p:cNvSpPr>
            <p:nvPr/>
          </p:nvSpPr>
          <p:spPr bwMode="auto">
            <a:xfrm>
              <a:off x="4691063" y="4159399"/>
              <a:ext cx="509587" cy="242887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9" y="16"/>
                </a:cxn>
                <a:cxn ang="0">
                  <a:pos x="12" y="16"/>
                </a:cxn>
                <a:cxn ang="0">
                  <a:pos x="15" y="13"/>
                </a:cxn>
                <a:cxn ang="0">
                  <a:pos x="11" y="11"/>
                </a:cxn>
                <a:cxn ang="0">
                  <a:pos x="8" y="10"/>
                </a:cxn>
                <a:cxn ang="0">
                  <a:pos x="6" y="11"/>
                </a:cxn>
                <a:cxn ang="0">
                  <a:pos x="4" y="10"/>
                </a:cxn>
                <a:cxn ang="0">
                  <a:pos x="3" y="8"/>
                </a:cxn>
                <a:cxn ang="0">
                  <a:pos x="5" y="6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4" y="4"/>
                </a:cxn>
                <a:cxn ang="0">
                  <a:pos x="6" y="1"/>
                </a:cxn>
                <a:cxn ang="0">
                  <a:pos x="9" y="2"/>
                </a:cxn>
                <a:cxn ang="0">
                  <a:pos x="15" y="4"/>
                </a:cxn>
                <a:cxn ang="0">
                  <a:pos x="16" y="0"/>
                </a:cxn>
                <a:cxn ang="0">
                  <a:pos x="20" y="1"/>
                </a:cxn>
                <a:cxn ang="0">
                  <a:pos x="25" y="1"/>
                </a:cxn>
                <a:cxn ang="0">
                  <a:pos x="31" y="2"/>
                </a:cxn>
                <a:cxn ang="0">
                  <a:pos x="36" y="2"/>
                </a:cxn>
                <a:cxn ang="0">
                  <a:pos x="43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0" y="9"/>
                </a:cxn>
                <a:cxn ang="0">
                  <a:pos x="33" y="10"/>
                </a:cxn>
                <a:cxn ang="0">
                  <a:pos x="30" y="14"/>
                </a:cxn>
                <a:cxn ang="0">
                  <a:pos x="22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2" y="20"/>
                </a:cxn>
                <a:cxn ang="0">
                  <a:pos x="19" y="20"/>
                </a:cxn>
                <a:cxn ang="0">
                  <a:pos x="13" y="21"/>
                </a:cxn>
                <a:cxn ang="0">
                  <a:pos x="9" y="20"/>
                </a:cxn>
                <a:cxn ang="0">
                  <a:pos x="5" y="20"/>
                </a:cxn>
                <a:cxn ang="0">
                  <a:pos x="2" y="19"/>
                </a:cxn>
                <a:cxn ang="0">
                  <a:pos x="0" y="18"/>
                </a:cxn>
                <a:cxn ang="0">
                  <a:pos x="4" y="15"/>
                </a:cxn>
                <a:cxn ang="0">
                  <a:pos x="5" y="16"/>
                </a:cxn>
              </a:cxnLst>
              <a:rect l="0" t="0" r="r" b="b"/>
              <a:pathLst>
                <a:path w="44" h="21">
                  <a:moveTo>
                    <a:pt x="5" y="16"/>
                  </a:moveTo>
                  <a:lnTo>
                    <a:pt x="9" y="16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1" y="11"/>
                  </a:lnTo>
                  <a:lnTo>
                    <a:pt x="8" y="10"/>
                  </a:lnTo>
                  <a:lnTo>
                    <a:pt x="6" y="11"/>
                  </a:lnTo>
                  <a:lnTo>
                    <a:pt x="4" y="10"/>
                  </a:lnTo>
                  <a:lnTo>
                    <a:pt x="3" y="8"/>
                  </a:lnTo>
                  <a:lnTo>
                    <a:pt x="5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4"/>
                  </a:lnTo>
                  <a:lnTo>
                    <a:pt x="6" y="1"/>
                  </a:lnTo>
                  <a:lnTo>
                    <a:pt x="9" y="2"/>
                  </a:lnTo>
                  <a:lnTo>
                    <a:pt x="15" y="4"/>
                  </a:lnTo>
                  <a:lnTo>
                    <a:pt x="16" y="0"/>
                  </a:lnTo>
                  <a:lnTo>
                    <a:pt x="20" y="1"/>
                  </a:lnTo>
                  <a:lnTo>
                    <a:pt x="25" y="1"/>
                  </a:lnTo>
                  <a:lnTo>
                    <a:pt x="31" y="2"/>
                  </a:lnTo>
                  <a:lnTo>
                    <a:pt x="36" y="2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4"/>
                  </a:lnTo>
                  <a:cubicBezTo>
                    <a:pt x="43" y="7"/>
                    <a:pt x="42" y="8"/>
                    <a:pt x="40" y="9"/>
                  </a:cubicBezTo>
                  <a:cubicBezTo>
                    <a:pt x="39" y="10"/>
                    <a:pt x="35" y="8"/>
                    <a:pt x="33" y="10"/>
                  </a:cubicBezTo>
                  <a:cubicBezTo>
                    <a:pt x="32" y="11"/>
                    <a:pt x="32" y="13"/>
                    <a:pt x="30" y="14"/>
                  </a:cubicBezTo>
                  <a:cubicBezTo>
                    <a:pt x="28" y="14"/>
                    <a:pt x="22" y="15"/>
                    <a:pt x="22" y="16"/>
                  </a:cubicBezTo>
                  <a:cubicBezTo>
                    <a:pt x="22" y="18"/>
                    <a:pt x="23" y="19"/>
                    <a:pt x="23" y="20"/>
                  </a:cubicBezTo>
                  <a:lnTo>
                    <a:pt x="23" y="20"/>
                  </a:lnTo>
                  <a:lnTo>
                    <a:pt x="22" y="20"/>
                  </a:lnTo>
                  <a:lnTo>
                    <a:pt x="19" y="20"/>
                  </a:lnTo>
                  <a:lnTo>
                    <a:pt x="13" y="21"/>
                  </a:lnTo>
                  <a:lnTo>
                    <a:pt x="9" y="20"/>
                  </a:lnTo>
                  <a:lnTo>
                    <a:pt x="5" y="20"/>
                  </a:lnTo>
                  <a:lnTo>
                    <a:pt x="2" y="19"/>
                  </a:lnTo>
                  <a:lnTo>
                    <a:pt x="0" y="18"/>
                  </a:lnTo>
                  <a:lnTo>
                    <a:pt x="4" y="15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3" name="Freeform 115"/>
            <p:cNvSpPr>
              <a:spLocks/>
            </p:cNvSpPr>
            <p:nvPr/>
          </p:nvSpPr>
          <p:spPr bwMode="auto">
            <a:xfrm>
              <a:off x="3846512" y="4181624"/>
              <a:ext cx="741361" cy="452438"/>
            </a:xfrm>
            <a:custGeom>
              <a:avLst/>
              <a:gdLst/>
              <a:ahLst/>
              <a:cxnLst>
                <a:cxn ang="0">
                  <a:pos x="63" y="27"/>
                </a:cxn>
                <a:cxn ang="0">
                  <a:pos x="59" y="27"/>
                </a:cxn>
                <a:cxn ang="0">
                  <a:pos x="58" y="34"/>
                </a:cxn>
                <a:cxn ang="0">
                  <a:pos x="49" y="39"/>
                </a:cxn>
                <a:cxn ang="0">
                  <a:pos x="45" y="39"/>
                </a:cxn>
                <a:cxn ang="0">
                  <a:pos x="43" y="32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17" y="24"/>
                </a:cxn>
                <a:cxn ang="0">
                  <a:pos x="17" y="24"/>
                </a:cxn>
                <a:cxn ang="0">
                  <a:pos x="11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5" y="23"/>
                </a:cxn>
                <a:cxn ang="0">
                  <a:pos x="5" y="23"/>
                </a:cxn>
                <a:cxn ang="0">
                  <a:pos x="5" y="17"/>
                </a:cxn>
                <a:cxn ang="0">
                  <a:pos x="3" y="17"/>
                </a:cxn>
                <a:cxn ang="0">
                  <a:pos x="1" y="21"/>
                </a:cxn>
                <a:cxn ang="0">
                  <a:pos x="1" y="17"/>
                </a:cxn>
                <a:cxn ang="0">
                  <a:pos x="3" y="13"/>
                </a:cxn>
                <a:cxn ang="0">
                  <a:pos x="1" y="12"/>
                </a:cxn>
                <a:cxn ang="0">
                  <a:pos x="0" y="11"/>
                </a:cxn>
                <a:cxn ang="0">
                  <a:pos x="1" y="9"/>
                </a:cxn>
                <a:cxn ang="0">
                  <a:pos x="5" y="10"/>
                </a:cxn>
                <a:cxn ang="0">
                  <a:pos x="7" y="6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8" y="5"/>
                </a:cxn>
                <a:cxn ang="0">
                  <a:pos x="10" y="8"/>
                </a:cxn>
                <a:cxn ang="0">
                  <a:pos x="14" y="8"/>
                </a:cxn>
                <a:cxn ang="0">
                  <a:pos x="18" y="8"/>
                </a:cxn>
                <a:cxn ang="0">
                  <a:pos x="17" y="4"/>
                </a:cxn>
                <a:cxn ang="0">
                  <a:pos x="20" y="3"/>
                </a:cxn>
                <a:cxn ang="0">
                  <a:pos x="22" y="0"/>
                </a:cxn>
                <a:cxn ang="0">
                  <a:pos x="24" y="1"/>
                </a:cxn>
                <a:cxn ang="0">
                  <a:pos x="27" y="3"/>
                </a:cxn>
                <a:cxn ang="0">
                  <a:pos x="30" y="5"/>
                </a:cxn>
                <a:cxn ang="0">
                  <a:pos x="31" y="8"/>
                </a:cxn>
                <a:cxn ang="0">
                  <a:pos x="34" y="9"/>
                </a:cxn>
                <a:cxn ang="0">
                  <a:pos x="38" y="9"/>
                </a:cxn>
                <a:cxn ang="0">
                  <a:pos x="41" y="13"/>
                </a:cxn>
                <a:cxn ang="0">
                  <a:pos x="44" y="16"/>
                </a:cxn>
                <a:cxn ang="0">
                  <a:pos x="49" y="19"/>
                </a:cxn>
                <a:cxn ang="0">
                  <a:pos x="51" y="21"/>
                </a:cxn>
                <a:cxn ang="0">
                  <a:pos x="55" y="23"/>
                </a:cxn>
                <a:cxn ang="0">
                  <a:pos x="59" y="24"/>
                </a:cxn>
                <a:cxn ang="0">
                  <a:pos x="62" y="25"/>
                </a:cxn>
                <a:cxn ang="0">
                  <a:pos x="64" y="26"/>
                </a:cxn>
                <a:cxn ang="0">
                  <a:pos x="63" y="27"/>
                </a:cxn>
              </a:cxnLst>
              <a:rect l="0" t="0" r="r" b="b"/>
              <a:pathLst>
                <a:path w="64" h="39">
                  <a:moveTo>
                    <a:pt x="63" y="27"/>
                  </a:moveTo>
                  <a:cubicBezTo>
                    <a:pt x="62" y="27"/>
                    <a:pt x="61" y="27"/>
                    <a:pt x="59" y="27"/>
                  </a:cubicBezTo>
                  <a:cubicBezTo>
                    <a:pt x="58" y="28"/>
                    <a:pt x="59" y="32"/>
                    <a:pt x="58" y="34"/>
                  </a:cubicBezTo>
                  <a:cubicBezTo>
                    <a:pt x="55" y="36"/>
                    <a:pt x="53" y="39"/>
                    <a:pt x="49" y="39"/>
                  </a:cubicBezTo>
                  <a:cubicBezTo>
                    <a:pt x="48" y="39"/>
                    <a:pt x="47" y="39"/>
                    <a:pt x="45" y="39"/>
                  </a:cubicBezTo>
                  <a:cubicBezTo>
                    <a:pt x="45" y="36"/>
                    <a:pt x="44" y="34"/>
                    <a:pt x="43" y="32"/>
                  </a:cubicBezTo>
                  <a:cubicBezTo>
                    <a:pt x="35" y="32"/>
                    <a:pt x="36" y="25"/>
                    <a:pt x="24" y="24"/>
                  </a:cubicBezTo>
                  <a:lnTo>
                    <a:pt x="24" y="24"/>
                  </a:lnTo>
                  <a:lnTo>
                    <a:pt x="17" y="24"/>
                  </a:lnTo>
                  <a:lnTo>
                    <a:pt x="17" y="24"/>
                  </a:lnTo>
                  <a:cubicBezTo>
                    <a:pt x="16" y="24"/>
                    <a:pt x="12" y="28"/>
                    <a:pt x="11" y="28"/>
                  </a:cubicBezTo>
                  <a:cubicBezTo>
                    <a:pt x="10" y="28"/>
                    <a:pt x="9" y="28"/>
                    <a:pt x="8" y="28"/>
                  </a:cubicBezTo>
                  <a:lnTo>
                    <a:pt x="8" y="28"/>
                  </a:lnTo>
                  <a:lnTo>
                    <a:pt x="5" y="23"/>
                  </a:lnTo>
                  <a:lnTo>
                    <a:pt x="5" y="23"/>
                  </a:lnTo>
                  <a:cubicBezTo>
                    <a:pt x="5" y="21"/>
                    <a:pt x="5" y="20"/>
                    <a:pt x="5" y="17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3" y="18"/>
                    <a:pt x="3" y="20"/>
                    <a:pt x="1" y="21"/>
                  </a:cubicBezTo>
                  <a:cubicBezTo>
                    <a:pt x="3" y="19"/>
                    <a:pt x="1" y="18"/>
                    <a:pt x="1" y="17"/>
                  </a:cubicBezTo>
                  <a:cubicBezTo>
                    <a:pt x="1" y="16"/>
                    <a:pt x="3" y="14"/>
                    <a:pt x="3" y="13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1" y="12"/>
                    <a:pt x="0" y="12"/>
                    <a:pt x="0" y="11"/>
                  </a:cubicBezTo>
                  <a:cubicBezTo>
                    <a:pt x="0" y="10"/>
                    <a:pt x="0" y="9"/>
                    <a:pt x="1" y="9"/>
                  </a:cubicBezTo>
                  <a:cubicBezTo>
                    <a:pt x="3" y="9"/>
                    <a:pt x="3" y="10"/>
                    <a:pt x="5" y="10"/>
                  </a:cubicBezTo>
                  <a:cubicBezTo>
                    <a:pt x="5" y="8"/>
                    <a:pt x="7" y="8"/>
                    <a:pt x="7" y="6"/>
                  </a:cubicBezTo>
                  <a:cubicBezTo>
                    <a:pt x="5" y="6"/>
                    <a:pt x="3" y="5"/>
                    <a:pt x="3" y="2"/>
                  </a:cubicBezTo>
                  <a:lnTo>
                    <a:pt x="3" y="2"/>
                  </a:lnTo>
                  <a:lnTo>
                    <a:pt x="8" y="5"/>
                  </a:lnTo>
                  <a:lnTo>
                    <a:pt x="10" y="8"/>
                  </a:lnTo>
                  <a:lnTo>
                    <a:pt x="14" y="8"/>
                  </a:lnTo>
                  <a:lnTo>
                    <a:pt x="18" y="8"/>
                  </a:lnTo>
                  <a:lnTo>
                    <a:pt x="17" y="4"/>
                  </a:lnTo>
                  <a:lnTo>
                    <a:pt x="20" y="3"/>
                  </a:lnTo>
                  <a:lnTo>
                    <a:pt x="22" y="0"/>
                  </a:lnTo>
                  <a:lnTo>
                    <a:pt x="24" y="1"/>
                  </a:lnTo>
                  <a:lnTo>
                    <a:pt x="27" y="3"/>
                  </a:lnTo>
                  <a:lnTo>
                    <a:pt x="30" y="5"/>
                  </a:lnTo>
                  <a:lnTo>
                    <a:pt x="31" y="8"/>
                  </a:lnTo>
                  <a:lnTo>
                    <a:pt x="34" y="9"/>
                  </a:lnTo>
                  <a:lnTo>
                    <a:pt x="38" y="9"/>
                  </a:lnTo>
                  <a:lnTo>
                    <a:pt x="41" y="13"/>
                  </a:lnTo>
                  <a:lnTo>
                    <a:pt x="44" y="16"/>
                  </a:lnTo>
                  <a:lnTo>
                    <a:pt x="49" y="19"/>
                  </a:lnTo>
                  <a:lnTo>
                    <a:pt x="51" y="21"/>
                  </a:lnTo>
                  <a:lnTo>
                    <a:pt x="55" y="23"/>
                  </a:lnTo>
                  <a:lnTo>
                    <a:pt x="59" y="24"/>
                  </a:lnTo>
                  <a:lnTo>
                    <a:pt x="62" y="25"/>
                  </a:lnTo>
                  <a:lnTo>
                    <a:pt x="64" y="26"/>
                  </a:lnTo>
                  <a:lnTo>
                    <a:pt x="63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4" name="Freeform 116"/>
            <p:cNvSpPr>
              <a:spLocks/>
            </p:cNvSpPr>
            <p:nvPr/>
          </p:nvSpPr>
          <p:spPr bwMode="auto">
            <a:xfrm>
              <a:off x="3454400" y="3429149"/>
              <a:ext cx="1930400" cy="881062"/>
            </a:xfrm>
            <a:custGeom>
              <a:avLst/>
              <a:gdLst/>
              <a:ahLst/>
              <a:cxnLst>
                <a:cxn ang="0">
                  <a:pos x="42" y="70"/>
                </a:cxn>
                <a:cxn ang="0">
                  <a:pos x="34" y="67"/>
                </a:cxn>
                <a:cxn ang="0">
                  <a:pos x="26" y="62"/>
                </a:cxn>
                <a:cxn ang="0">
                  <a:pos x="21" y="52"/>
                </a:cxn>
                <a:cxn ang="0">
                  <a:pos x="18" y="41"/>
                </a:cxn>
                <a:cxn ang="0">
                  <a:pos x="10" y="45"/>
                </a:cxn>
                <a:cxn ang="0">
                  <a:pos x="8" y="40"/>
                </a:cxn>
                <a:cxn ang="0">
                  <a:pos x="2" y="36"/>
                </a:cxn>
                <a:cxn ang="0">
                  <a:pos x="0" y="29"/>
                </a:cxn>
                <a:cxn ang="0">
                  <a:pos x="4" y="26"/>
                </a:cxn>
                <a:cxn ang="0">
                  <a:pos x="6" y="24"/>
                </a:cxn>
                <a:cxn ang="0">
                  <a:pos x="15" y="19"/>
                </a:cxn>
                <a:cxn ang="0">
                  <a:pos x="23" y="19"/>
                </a:cxn>
                <a:cxn ang="0">
                  <a:pos x="35" y="23"/>
                </a:cxn>
                <a:cxn ang="0">
                  <a:pos x="44" y="21"/>
                </a:cxn>
                <a:cxn ang="0">
                  <a:pos x="55" y="23"/>
                </a:cxn>
                <a:cxn ang="0">
                  <a:pos x="56" y="19"/>
                </a:cxn>
                <a:cxn ang="0">
                  <a:pos x="54" y="16"/>
                </a:cxn>
                <a:cxn ang="0">
                  <a:pos x="53" y="8"/>
                </a:cxn>
                <a:cxn ang="0">
                  <a:pos x="69" y="3"/>
                </a:cxn>
                <a:cxn ang="0">
                  <a:pos x="81" y="0"/>
                </a:cxn>
                <a:cxn ang="0">
                  <a:pos x="92" y="1"/>
                </a:cxn>
                <a:cxn ang="0">
                  <a:pos x="97" y="4"/>
                </a:cxn>
                <a:cxn ang="0">
                  <a:pos x="104" y="6"/>
                </a:cxn>
                <a:cxn ang="0">
                  <a:pos x="110" y="7"/>
                </a:cxn>
                <a:cxn ang="0">
                  <a:pos x="115" y="7"/>
                </a:cxn>
                <a:cxn ang="0">
                  <a:pos x="126" y="13"/>
                </a:cxn>
                <a:cxn ang="0">
                  <a:pos x="136" y="23"/>
                </a:cxn>
                <a:cxn ang="0">
                  <a:pos x="141" y="22"/>
                </a:cxn>
                <a:cxn ang="0">
                  <a:pos x="150" y="21"/>
                </a:cxn>
                <a:cxn ang="0">
                  <a:pos x="161" y="29"/>
                </a:cxn>
                <a:cxn ang="0">
                  <a:pos x="165" y="30"/>
                </a:cxn>
                <a:cxn ang="0">
                  <a:pos x="160" y="42"/>
                </a:cxn>
                <a:cxn ang="0">
                  <a:pos x="146" y="54"/>
                </a:cxn>
                <a:cxn ang="0">
                  <a:pos x="151" y="67"/>
                </a:cxn>
                <a:cxn ang="0">
                  <a:pos x="143" y="65"/>
                </a:cxn>
                <a:cxn ang="0">
                  <a:pos x="127" y="64"/>
                </a:cxn>
                <a:cxn ang="0">
                  <a:pos x="116" y="65"/>
                </a:cxn>
                <a:cxn ang="0">
                  <a:pos x="110" y="68"/>
                </a:cxn>
                <a:cxn ang="0">
                  <a:pos x="105" y="71"/>
                </a:cxn>
                <a:cxn ang="0">
                  <a:pos x="99" y="73"/>
                </a:cxn>
                <a:cxn ang="0">
                  <a:pos x="89" y="66"/>
                </a:cxn>
                <a:cxn ang="0">
                  <a:pos x="80" y="61"/>
                </a:cxn>
                <a:cxn ang="0">
                  <a:pos x="60" y="54"/>
                </a:cxn>
                <a:cxn ang="0">
                  <a:pos x="47" y="73"/>
                </a:cxn>
                <a:cxn ang="0">
                  <a:pos x="47" y="73"/>
                </a:cxn>
              </a:cxnLst>
              <a:rect l="0" t="0" r="r" b="b"/>
              <a:pathLst>
                <a:path w="167" h="76">
                  <a:moveTo>
                    <a:pt x="47" y="73"/>
                  </a:moveTo>
                  <a:lnTo>
                    <a:pt x="44" y="73"/>
                  </a:lnTo>
                  <a:lnTo>
                    <a:pt x="42" y="70"/>
                  </a:lnTo>
                  <a:lnTo>
                    <a:pt x="36" y="67"/>
                  </a:lnTo>
                  <a:lnTo>
                    <a:pt x="36" y="67"/>
                  </a:lnTo>
                  <a:cubicBezTo>
                    <a:pt x="35" y="67"/>
                    <a:pt x="35" y="67"/>
                    <a:pt x="34" y="67"/>
                  </a:cubicBezTo>
                  <a:cubicBezTo>
                    <a:pt x="33" y="69"/>
                    <a:pt x="31" y="69"/>
                    <a:pt x="32" y="71"/>
                  </a:cubicBezTo>
                  <a:cubicBezTo>
                    <a:pt x="30" y="70"/>
                    <a:pt x="30" y="67"/>
                    <a:pt x="30" y="64"/>
                  </a:cubicBezTo>
                  <a:cubicBezTo>
                    <a:pt x="28" y="64"/>
                    <a:pt x="26" y="65"/>
                    <a:pt x="26" y="62"/>
                  </a:cubicBezTo>
                  <a:cubicBezTo>
                    <a:pt x="22" y="62"/>
                    <a:pt x="22" y="56"/>
                    <a:pt x="19" y="56"/>
                  </a:cubicBezTo>
                  <a:cubicBezTo>
                    <a:pt x="19" y="55"/>
                    <a:pt x="19" y="54"/>
                    <a:pt x="19" y="53"/>
                  </a:cubicBezTo>
                  <a:cubicBezTo>
                    <a:pt x="19" y="53"/>
                    <a:pt x="21" y="52"/>
                    <a:pt x="21" y="52"/>
                  </a:cubicBezTo>
                  <a:cubicBezTo>
                    <a:pt x="21" y="51"/>
                    <a:pt x="24" y="49"/>
                    <a:pt x="28" y="49"/>
                  </a:cubicBezTo>
                  <a:cubicBezTo>
                    <a:pt x="27" y="47"/>
                    <a:pt x="26" y="46"/>
                    <a:pt x="26" y="43"/>
                  </a:cubicBezTo>
                  <a:cubicBezTo>
                    <a:pt x="23" y="43"/>
                    <a:pt x="21" y="41"/>
                    <a:pt x="18" y="41"/>
                  </a:cubicBezTo>
                  <a:cubicBezTo>
                    <a:pt x="15" y="41"/>
                    <a:pt x="13" y="43"/>
                    <a:pt x="10" y="46"/>
                  </a:cubicBezTo>
                  <a:lnTo>
                    <a:pt x="10" y="46"/>
                  </a:lnTo>
                  <a:lnTo>
                    <a:pt x="10" y="45"/>
                  </a:lnTo>
                  <a:lnTo>
                    <a:pt x="8" y="44"/>
                  </a:lnTo>
                  <a:lnTo>
                    <a:pt x="10" y="43"/>
                  </a:lnTo>
                  <a:lnTo>
                    <a:pt x="8" y="40"/>
                  </a:lnTo>
                  <a:lnTo>
                    <a:pt x="7" y="38"/>
                  </a:lnTo>
                  <a:lnTo>
                    <a:pt x="3" y="38"/>
                  </a:lnTo>
                  <a:lnTo>
                    <a:pt x="2" y="36"/>
                  </a:lnTo>
                  <a:lnTo>
                    <a:pt x="0" y="35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6" y="24"/>
                  </a:lnTo>
                  <a:lnTo>
                    <a:pt x="9" y="22"/>
                  </a:lnTo>
                  <a:lnTo>
                    <a:pt x="12" y="19"/>
                  </a:lnTo>
                  <a:lnTo>
                    <a:pt x="15" y="19"/>
                  </a:lnTo>
                  <a:lnTo>
                    <a:pt x="18" y="19"/>
                  </a:lnTo>
                  <a:lnTo>
                    <a:pt x="20" y="18"/>
                  </a:lnTo>
                  <a:lnTo>
                    <a:pt x="23" y="19"/>
                  </a:lnTo>
                  <a:lnTo>
                    <a:pt x="27" y="21"/>
                  </a:lnTo>
                  <a:lnTo>
                    <a:pt x="31" y="24"/>
                  </a:lnTo>
                  <a:lnTo>
                    <a:pt x="35" y="23"/>
                  </a:lnTo>
                  <a:lnTo>
                    <a:pt x="38" y="22"/>
                  </a:lnTo>
                  <a:lnTo>
                    <a:pt x="41" y="21"/>
                  </a:lnTo>
                  <a:lnTo>
                    <a:pt x="44" y="21"/>
                  </a:lnTo>
                  <a:lnTo>
                    <a:pt x="48" y="23"/>
                  </a:lnTo>
                  <a:lnTo>
                    <a:pt x="52" y="24"/>
                  </a:lnTo>
                  <a:lnTo>
                    <a:pt x="55" y="23"/>
                  </a:lnTo>
                  <a:lnTo>
                    <a:pt x="59" y="22"/>
                  </a:lnTo>
                  <a:lnTo>
                    <a:pt x="59" y="19"/>
                  </a:lnTo>
                  <a:lnTo>
                    <a:pt x="56" y="19"/>
                  </a:lnTo>
                  <a:lnTo>
                    <a:pt x="53" y="18"/>
                  </a:lnTo>
                  <a:lnTo>
                    <a:pt x="51" y="16"/>
                  </a:lnTo>
                  <a:lnTo>
                    <a:pt x="54" y="16"/>
                  </a:lnTo>
                  <a:lnTo>
                    <a:pt x="53" y="12"/>
                  </a:lnTo>
                  <a:lnTo>
                    <a:pt x="58" y="12"/>
                  </a:lnTo>
                  <a:lnTo>
                    <a:pt x="53" y="8"/>
                  </a:lnTo>
                  <a:lnTo>
                    <a:pt x="61" y="6"/>
                  </a:lnTo>
                  <a:lnTo>
                    <a:pt x="68" y="5"/>
                  </a:lnTo>
                  <a:lnTo>
                    <a:pt x="69" y="3"/>
                  </a:lnTo>
                  <a:lnTo>
                    <a:pt x="75" y="3"/>
                  </a:lnTo>
                  <a:lnTo>
                    <a:pt x="79" y="1"/>
                  </a:lnTo>
                  <a:lnTo>
                    <a:pt x="81" y="0"/>
                  </a:lnTo>
                  <a:lnTo>
                    <a:pt x="87" y="1"/>
                  </a:lnTo>
                  <a:lnTo>
                    <a:pt x="90" y="0"/>
                  </a:lnTo>
                  <a:lnTo>
                    <a:pt x="92" y="1"/>
                  </a:lnTo>
                  <a:lnTo>
                    <a:pt x="92" y="5"/>
                  </a:lnTo>
                  <a:lnTo>
                    <a:pt x="96" y="6"/>
                  </a:lnTo>
                  <a:lnTo>
                    <a:pt x="97" y="4"/>
                  </a:lnTo>
                  <a:lnTo>
                    <a:pt x="99" y="6"/>
                  </a:lnTo>
                  <a:lnTo>
                    <a:pt x="101" y="7"/>
                  </a:lnTo>
                  <a:lnTo>
                    <a:pt x="104" y="6"/>
                  </a:lnTo>
                  <a:lnTo>
                    <a:pt x="104" y="9"/>
                  </a:lnTo>
                  <a:lnTo>
                    <a:pt x="107" y="9"/>
                  </a:lnTo>
                  <a:lnTo>
                    <a:pt x="110" y="7"/>
                  </a:lnTo>
                  <a:lnTo>
                    <a:pt x="113" y="5"/>
                  </a:lnTo>
                  <a:lnTo>
                    <a:pt x="115" y="4"/>
                  </a:lnTo>
                  <a:lnTo>
                    <a:pt x="115" y="7"/>
                  </a:lnTo>
                  <a:lnTo>
                    <a:pt x="119" y="8"/>
                  </a:lnTo>
                  <a:lnTo>
                    <a:pt x="122" y="10"/>
                  </a:lnTo>
                  <a:lnTo>
                    <a:pt x="126" y="13"/>
                  </a:lnTo>
                  <a:lnTo>
                    <a:pt x="130" y="17"/>
                  </a:lnTo>
                  <a:lnTo>
                    <a:pt x="134" y="20"/>
                  </a:lnTo>
                  <a:lnTo>
                    <a:pt x="136" y="23"/>
                  </a:lnTo>
                  <a:lnTo>
                    <a:pt x="137" y="20"/>
                  </a:lnTo>
                  <a:lnTo>
                    <a:pt x="139" y="20"/>
                  </a:lnTo>
                  <a:lnTo>
                    <a:pt x="141" y="22"/>
                  </a:lnTo>
                  <a:lnTo>
                    <a:pt x="144" y="23"/>
                  </a:lnTo>
                  <a:lnTo>
                    <a:pt x="147" y="23"/>
                  </a:lnTo>
                  <a:lnTo>
                    <a:pt x="150" y="21"/>
                  </a:lnTo>
                  <a:lnTo>
                    <a:pt x="153" y="24"/>
                  </a:lnTo>
                  <a:lnTo>
                    <a:pt x="157" y="27"/>
                  </a:lnTo>
                  <a:lnTo>
                    <a:pt x="161" y="29"/>
                  </a:lnTo>
                  <a:lnTo>
                    <a:pt x="165" y="30"/>
                  </a:lnTo>
                  <a:lnTo>
                    <a:pt x="165" y="30"/>
                  </a:lnTo>
                  <a:lnTo>
                    <a:pt x="165" y="30"/>
                  </a:lnTo>
                  <a:cubicBezTo>
                    <a:pt x="165" y="31"/>
                    <a:pt x="166" y="34"/>
                    <a:pt x="162" y="35"/>
                  </a:cubicBezTo>
                  <a:cubicBezTo>
                    <a:pt x="158" y="35"/>
                    <a:pt x="167" y="42"/>
                    <a:pt x="162" y="42"/>
                  </a:cubicBezTo>
                  <a:cubicBezTo>
                    <a:pt x="161" y="42"/>
                    <a:pt x="161" y="42"/>
                    <a:pt x="160" y="42"/>
                  </a:cubicBezTo>
                  <a:cubicBezTo>
                    <a:pt x="158" y="42"/>
                    <a:pt x="155" y="41"/>
                    <a:pt x="154" y="40"/>
                  </a:cubicBezTo>
                  <a:cubicBezTo>
                    <a:pt x="153" y="43"/>
                    <a:pt x="156" y="50"/>
                    <a:pt x="155" y="51"/>
                  </a:cubicBezTo>
                  <a:cubicBezTo>
                    <a:pt x="153" y="51"/>
                    <a:pt x="146" y="50"/>
                    <a:pt x="146" y="54"/>
                  </a:cubicBezTo>
                  <a:cubicBezTo>
                    <a:pt x="151" y="54"/>
                    <a:pt x="149" y="60"/>
                    <a:pt x="151" y="61"/>
                  </a:cubicBezTo>
                  <a:cubicBezTo>
                    <a:pt x="151" y="62"/>
                    <a:pt x="151" y="62"/>
                    <a:pt x="151" y="63"/>
                  </a:cubicBezTo>
                  <a:cubicBezTo>
                    <a:pt x="151" y="65"/>
                    <a:pt x="151" y="66"/>
                    <a:pt x="151" y="67"/>
                  </a:cubicBezTo>
                  <a:lnTo>
                    <a:pt x="151" y="67"/>
                  </a:lnTo>
                  <a:lnTo>
                    <a:pt x="150" y="67"/>
                  </a:lnTo>
                  <a:lnTo>
                    <a:pt x="143" y="65"/>
                  </a:lnTo>
                  <a:lnTo>
                    <a:pt x="138" y="65"/>
                  </a:lnTo>
                  <a:lnTo>
                    <a:pt x="132" y="64"/>
                  </a:lnTo>
                  <a:lnTo>
                    <a:pt x="127" y="64"/>
                  </a:lnTo>
                  <a:lnTo>
                    <a:pt x="123" y="63"/>
                  </a:lnTo>
                  <a:lnTo>
                    <a:pt x="122" y="67"/>
                  </a:lnTo>
                  <a:lnTo>
                    <a:pt x="116" y="65"/>
                  </a:lnTo>
                  <a:lnTo>
                    <a:pt x="113" y="64"/>
                  </a:lnTo>
                  <a:lnTo>
                    <a:pt x="111" y="67"/>
                  </a:lnTo>
                  <a:lnTo>
                    <a:pt x="110" y="68"/>
                  </a:lnTo>
                  <a:lnTo>
                    <a:pt x="110" y="68"/>
                  </a:lnTo>
                  <a:lnTo>
                    <a:pt x="108" y="70"/>
                  </a:lnTo>
                  <a:lnTo>
                    <a:pt x="105" y="71"/>
                  </a:lnTo>
                  <a:lnTo>
                    <a:pt x="103" y="74"/>
                  </a:lnTo>
                  <a:lnTo>
                    <a:pt x="101" y="76"/>
                  </a:lnTo>
                  <a:lnTo>
                    <a:pt x="99" y="73"/>
                  </a:lnTo>
                  <a:lnTo>
                    <a:pt x="95" y="74"/>
                  </a:lnTo>
                  <a:lnTo>
                    <a:pt x="92" y="71"/>
                  </a:lnTo>
                  <a:lnTo>
                    <a:pt x="89" y="66"/>
                  </a:lnTo>
                  <a:lnTo>
                    <a:pt x="86" y="63"/>
                  </a:lnTo>
                  <a:lnTo>
                    <a:pt x="83" y="61"/>
                  </a:lnTo>
                  <a:lnTo>
                    <a:pt x="80" y="61"/>
                  </a:lnTo>
                  <a:lnTo>
                    <a:pt x="76" y="61"/>
                  </a:lnTo>
                  <a:lnTo>
                    <a:pt x="70" y="61"/>
                  </a:lnTo>
                  <a:lnTo>
                    <a:pt x="60" y="54"/>
                  </a:lnTo>
                  <a:lnTo>
                    <a:pt x="52" y="50"/>
                  </a:lnTo>
                  <a:lnTo>
                    <a:pt x="43" y="53"/>
                  </a:lnTo>
                  <a:lnTo>
                    <a:pt x="47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7" y="73"/>
                  </a:lnTo>
                  <a:close/>
                </a:path>
              </a:pathLst>
            </a:custGeom>
            <a:solidFill>
              <a:srgbClr val="0F497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5" name="Freeform 117"/>
            <p:cNvSpPr>
              <a:spLocks/>
            </p:cNvSpPr>
            <p:nvPr/>
          </p:nvSpPr>
          <p:spPr bwMode="auto">
            <a:xfrm>
              <a:off x="1871664" y="3914924"/>
              <a:ext cx="138112" cy="10636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0" y="7"/>
                </a:cxn>
                <a:cxn ang="0">
                  <a:pos x="0" y="2"/>
                </a:cxn>
                <a:cxn ang="0">
                  <a:pos x="3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2" y="2"/>
                </a:cxn>
                <a:cxn ang="0">
                  <a:pos x="12" y="2"/>
                </a:cxn>
              </a:cxnLst>
              <a:rect l="0" t="0" r="r" b="b"/>
              <a:pathLst>
                <a:path w="12" h="9">
                  <a:moveTo>
                    <a:pt x="12" y="2"/>
                  </a:moveTo>
                  <a:cubicBezTo>
                    <a:pt x="8" y="4"/>
                    <a:pt x="10" y="9"/>
                    <a:pt x="0" y="7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6" y="2"/>
                    <a:pt x="7" y="1"/>
                    <a:pt x="10" y="0"/>
                  </a:cubicBezTo>
                  <a:cubicBezTo>
                    <a:pt x="11" y="1"/>
                    <a:pt x="11" y="1"/>
                    <a:pt x="12" y="2"/>
                  </a:cubicBezTo>
                  <a:lnTo>
                    <a:pt x="12" y="2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6" name="Freeform 118"/>
            <p:cNvSpPr>
              <a:spLocks/>
            </p:cNvSpPr>
            <p:nvPr/>
          </p:nvSpPr>
          <p:spPr bwMode="auto">
            <a:xfrm>
              <a:off x="1858963" y="3940323"/>
              <a:ext cx="277812" cy="230187"/>
            </a:xfrm>
            <a:custGeom>
              <a:avLst/>
              <a:gdLst/>
              <a:ahLst/>
              <a:cxnLst>
                <a:cxn ang="0">
                  <a:pos x="24" y="6"/>
                </a:cxn>
                <a:cxn ang="0">
                  <a:pos x="21" y="8"/>
                </a:cxn>
                <a:cxn ang="0">
                  <a:pos x="14" y="7"/>
                </a:cxn>
                <a:cxn ang="0">
                  <a:pos x="14" y="7"/>
                </a:cxn>
                <a:cxn ang="0">
                  <a:pos x="10" y="7"/>
                </a:cxn>
                <a:cxn ang="0">
                  <a:pos x="10" y="7"/>
                </a:cxn>
                <a:cxn ang="0">
                  <a:pos x="10" y="8"/>
                </a:cxn>
                <a:cxn ang="0">
                  <a:pos x="10" y="8"/>
                </a:cxn>
                <a:cxn ang="0">
                  <a:pos x="17" y="20"/>
                </a:cxn>
                <a:cxn ang="0">
                  <a:pos x="12" y="19"/>
                </a:cxn>
                <a:cxn ang="0">
                  <a:pos x="10" y="16"/>
                </a:cxn>
                <a:cxn ang="0">
                  <a:pos x="1" y="8"/>
                </a:cxn>
                <a:cxn ang="0">
                  <a:pos x="0" y="4"/>
                </a:cxn>
                <a:cxn ang="0">
                  <a:pos x="13" y="0"/>
                </a:cxn>
                <a:cxn ang="0">
                  <a:pos x="20" y="3"/>
                </a:cxn>
                <a:cxn ang="0">
                  <a:pos x="22" y="3"/>
                </a:cxn>
                <a:cxn ang="0">
                  <a:pos x="24" y="6"/>
                </a:cxn>
                <a:cxn ang="0">
                  <a:pos x="24" y="6"/>
                </a:cxn>
              </a:cxnLst>
              <a:rect l="0" t="0" r="r" b="b"/>
              <a:pathLst>
                <a:path w="24" h="20">
                  <a:moveTo>
                    <a:pt x="24" y="6"/>
                  </a:moveTo>
                  <a:lnTo>
                    <a:pt x="21" y="8"/>
                  </a:lnTo>
                  <a:lnTo>
                    <a:pt x="14" y="7"/>
                  </a:lnTo>
                  <a:lnTo>
                    <a:pt x="14" y="7"/>
                  </a:lnTo>
                  <a:cubicBezTo>
                    <a:pt x="13" y="7"/>
                    <a:pt x="12" y="7"/>
                    <a:pt x="10" y="7"/>
                  </a:cubicBezTo>
                  <a:lnTo>
                    <a:pt x="10" y="7"/>
                  </a:lnTo>
                  <a:lnTo>
                    <a:pt x="10" y="8"/>
                  </a:lnTo>
                  <a:lnTo>
                    <a:pt x="10" y="8"/>
                  </a:lnTo>
                  <a:cubicBezTo>
                    <a:pt x="13" y="14"/>
                    <a:pt x="16" y="15"/>
                    <a:pt x="17" y="20"/>
                  </a:cubicBezTo>
                  <a:cubicBezTo>
                    <a:pt x="16" y="20"/>
                    <a:pt x="14" y="20"/>
                    <a:pt x="12" y="19"/>
                  </a:cubicBezTo>
                  <a:cubicBezTo>
                    <a:pt x="11" y="19"/>
                    <a:pt x="10" y="17"/>
                    <a:pt x="10" y="16"/>
                  </a:cubicBezTo>
                  <a:cubicBezTo>
                    <a:pt x="8" y="13"/>
                    <a:pt x="5" y="8"/>
                    <a:pt x="1" y="8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10" y="7"/>
                    <a:pt x="9" y="2"/>
                    <a:pt x="13" y="0"/>
                  </a:cubicBezTo>
                  <a:cubicBezTo>
                    <a:pt x="15" y="2"/>
                    <a:pt x="17" y="3"/>
                    <a:pt x="20" y="3"/>
                  </a:cubicBezTo>
                  <a:cubicBezTo>
                    <a:pt x="21" y="3"/>
                    <a:pt x="22" y="3"/>
                    <a:pt x="22" y="3"/>
                  </a:cubicBezTo>
                  <a:cubicBezTo>
                    <a:pt x="24" y="6"/>
                    <a:pt x="24" y="3"/>
                    <a:pt x="24" y="6"/>
                  </a:cubicBezTo>
                  <a:lnTo>
                    <a:pt x="24" y="6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7" name="Freeform 119"/>
            <p:cNvSpPr>
              <a:spLocks/>
            </p:cNvSpPr>
            <p:nvPr/>
          </p:nvSpPr>
          <p:spPr bwMode="auto">
            <a:xfrm>
              <a:off x="1974851" y="4021286"/>
              <a:ext cx="173038" cy="171450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1" y="1"/>
                </a:cxn>
                <a:cxn ang="0">
                  <a:pos x="15" y="8"/>
                </a:cxn>
                <a:cxn ang="0">
                  <a:pos x="15" y="8"/>
                </a:cxn>
                <a:cxn ang="0">
                  <a:pos x="11" y="15"/>
                </a:cxn>
                <a:cxn ang="0">
                  <a:pos x="11" y="15"/>
                </a:cxn>
                <a:cxn ang="0">
                  <a:pos x="7" y="13"/>
                </a:cxn>
              </a:cxnLst>
              <a:rect l="0" t="0" r="r" b="b"/>
              <a:pathLst>
                <a:path w="15" h="15">
                  <a:moveTo>
                    <a:pt x="7" y="13"/>
                  </a:moveTo>
                  <a:cubicBezTo>
                    <a:pt x="6" y="8"/>
                    <a:pt x="3" y="7"/>
                    <a:pt x="0" y="1"/>
                  </a:cubicBez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cubicBezTo>
                    <a:pt x="2" y="0"/>
                    <a:pt x="3" y="0"/>
                    <a:pt x="4" y="0"/>
                  </a:cubicBezTo>
                  <a:lnTo>
                    <a:pt x="4" y="0"/>
                  </a:lnTo>
                  <a:lnTo>
                    <a:pt x="11" y="1"/>
                  </a:lnTo>
                  <a:lnTo>
                    <a:pt x="15" y="8"/>
                  </a:lnTo>
                  <a:lnTo>
                    <a:pt x="15" y="8"/>
                  </a:lnTo>
                  <a:cubicBezTo>
                    <a:pt x="14" y="11"/>
                    <a:pt x="11" y="12"/>
                    <a:pt x="11" y="15"/>
                  </a:cubicBezTo>
                  <a:lnTo>
                    <a:pt x="11" y="15"/>
                  </a:lnTo>
                  <a:lnTo>
                    <a:pt x="7" y="13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8" name="Freeform 120"/>
            <p:cNvSpPr>
              <a:spLocks/>
            </p:cNvSpPr>
            <p:nvPr/>
          </p:nvSpPr>
          <p:spPr bwMode="auto">
            <a:xfrm>
              <a:off x="2101850" y="3973660"/>
              <a:ext cx="230188" cy="288925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1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18" y="10"/>
                </a:cxn>
                <a:cxn ang="0">
                  <a:pos x="19" y="10"/>
                </a:cxn>
                <a:cxn ang="0">
                  <a:pos x="20" y="15"/>
                </a:cxn>
                <a:cxn ang="0">
                  <a:pos x="18" y="18"/>
                </a:cxn>
                <a:cxn ang="0">
                  <a:pos x="9" y="23"/>
                </a:cxn>
                <a:cxn ang="0">
                  <a:pos x="6" y="19"/>
                </a:cxn>
                <a:cxn ang="0">
                  <a:pos x="3" y="25"/>
                </a:cxn>
                <a:cxn ang="0">
                  <a:pos x="0" y="1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5"/>
                </a:cxn>
                <a:cxn ang="0">
                  <a:pos x="3" y="3"/>
                </a:cxn>
              </a:cxnLst>
              <a:rect l="0" t="0" r="r" b="b"/>
              <a:pathLst>
                <a:path w="20" h="25">
                  <a:moveTo>
                    <a:pt x="3" y="3"/>
                  </a:moveTo>
                  <a:cubicBezTo>
                    <a:pt x="3" y="0"/>
                    <a:pt x="3" y="3"/>
                    <a:pt x="1" y="0"/>
                  </a:cubicBezTo>
                  <a:cubicBezTo>
                    <a:pt x="4" y="0"/>
                    <a:pt x="5" y="0"/>
                    <a:pt x="7" y="0"/>
                  </a:cubicBezTo>
                  <a:lnTo>
                    <a:pt x="7" y="0"/>
                  </a:lnTo>
                  <a:lnTo>
                    <a:pt x="10" y="0"/>
                  </a:lnTo>
                  <a:lnTo>
                    <a:pt x="10" y="0"/>
                  </a:lnTo>
                  <a:cubicBezTo>
                    <a:pt x="11" y="5"/>
                    <a:pt x="16" y="5"/>
                    <a:pt x="18" y="10"/>
                  </a:cubicBezTo>
                  <a:cubicBezTo>
                    <a:pt x="18" y="10"/>
                    <a:pt x="19" y="10"/>
                    <a:pt x="19" y="10"/>
                  </a:cubicBezTo>
                  <a:cubicBezTo>
                    <a:pt x="17" y="12"/>
                    <a:pt x="20" y="12"/>
                    <a:pt x="20" y="15"/>
                  </a:cubicBezTo>
                  <a:cubicBezTo>
                    <a:pt x="20" y="16"/>
                    <a:pt x="18" y="17"/>
                    <a:pt x="18" y="18"/>
                  </a:cubicBezTo>
                  <a:cubicBezTo>
                    <a:pt x="15" y="19"/>
                    <a:pt x="13" y="21"/>
                    <a:pt x="9" y="23"/>
                  </a:cubicBezTo>
                  <a:cubicBezTo>
                    <a:pt x="8" y="20"/>
                    <a:pt x="7" y="19"/>
                    <a:pt x="6" y="19"/>
                  </a:cubicBezTo>
                  <a:cubicBezTo>
                    <a:pt x="3" y="19"/>
                    <a:pt x="6" y="21"/>
                    <a:pt x="3" y="25"/>
                  </a:cubicBezTo>
                  <a:cubicBezTo>
                    <a:pt x="2" y="22"/>
                    <a:pt x="3" y="20"/>
                    <a:pt x="0" y="18"/>
                  </a:cubicBezTo>
                  <a:cubicBezTo>
                    <a:pt x="0" y="15"/>
                    <a:pt x="3" y="15"/>
                    <a:pt x="4" y="12"/>
                  </a:cubicBezTo>
                  <a:lnTo>
                    <a:pt x="4" y="12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9" name="Freeform 121"/>
            <p:cNvSpPr>
              <a:spLocks/>
            </p:cNvSpPr>
            <p:nvPr/>
          </p:nvSpPr>
          <p:spPr bwMode="auto">
            <a:xfrm>
              <a:off x="2205038" y="4181624"/>
              <a:ext cx="150812" cy="11747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2" y="2"/>
                </a:cxn>
                <a:cxn ang="0">
                  <a:pos x="13" y="6"/>
                </a:cxn>
                <a:cxn ang="0">
                  <a:pos x="4" y="10"/>
                </a:cxn>
                <a:cxn ang="0">
                  <a:pos x="0" y="4"/>
                </a:cxn>
                <a:cxn ang="0">
                  <a:pos x="9" y="0"/>
                </a:cxn>
                <a:cxn ang="0">
                  <a:pos x="9" y="0"/>
                </a:cxn>
              </a:cxnLst>
              <a:rect l="0" t="0" r="r" b="b"/>
              <a:pathLst>
                <a:path w="13" h="10">
                  <a:moveTo>
                    <a:pt x="9" y="0"/>
                  </a:moveTo>
                  <a:cubicBezTo>
                    <a:pt x="9" y="2"/>
                    <a:pt x="10" y="4"/>
                    <a:pt x="12" y="2"/>
                  </a:cubicBezTo>
                  <a:cubicBezTo>
                    <a:pt x="12" y="4"/>
                    <a:pt x="13" y="5"/>
                    <a:pt x="13" y="6"/>
                  </a:cubicBezTo>
                  <a:cubicBezTo>
                    <a:pt x="10" y="8"/>
                    <a:pt x="7" y="10"/>
                    <a:pt x="4" y="10"/>
                  </a:cubicBezTo>
                  <a:cubicBezTo>
                    <a:pt x="2" y="8"/>
                    <a:pt x="1" y="6"/>
                    <a:pt x="0" y="4"/>
                  </a:cubicBezTo>
                  <a:cubicBezTo>
                    <a:pt x="0" y="4"/>
                    <a:pt x="6" y="1"/>
                    <a:pt x="9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C1C0B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821800">
                <a:defRPr/>
              </a:pPr>
              <a:endParaRPr lang="ru-RU" sz="1258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174" name="Таблица 173"/>
          <p:cNvGraphicFramePr>
            <a:graphicFrameLocks noGrp="1"/>
          </p:cNvGraphicFramePr>
          <p:nvPr/>
        </p:nvGraphicFramePr>
        <p:xfrm>
          <a:off x="802759" y="4755711"/>
          <a:ext cx="10382895" cy="1452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609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609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6096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78808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+mj-lt"/>
                          <a:cs typeface="Arial" panose="020B0604020202020204" pitchFamily="34" charset="0"/>
                        </a:rPr>
                        <a:t>I </a:t>
                      </a:r>
                      <a:r>
                        <a:rPr lang="ru-RU" sz="1300" dirty="0">
                          <a:latin typeface="+mj-lt"/>
                          <a:cs typeface="Arial" panose="020B0604020202020204" pitchFamily="34" charset="0"/>
                        </a:rPr>
                        <a:t>уровень</a:t>
                      </a:r>
                    </a:p>
                  </a:txBody>
                  <a:tcPr marL="82176" marR="82176" marT="41089" marB="41089">
                    <a:solidFill>
                      <a:srgbClr val="0F49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571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+mj-lt"/>
                          <a:cs typeface="Arial" panose="020B0604020202020204" pitchFamily="34" charset="0"/>
                        </a:rPr>
                        <a:t>II </a:t>
                      </a:r>
                      <a:r>
                        <a:rPr lang="ru-RU" sz="1300" dirty="0">
                          <a:latin typeface="+mj-lt"/>
                          <a:cs typeface="Arial" panose="020B0604020202020204" pitchFamily="34" charset="0"/>
                        </a:rPr>
                        <a:t>уровень</a:t>
                      </a:r>
                    </a:p>
                  </a:txBody>
                  <a:tcPr marL="82176" marR="82176" marT="41089" marB="41089">
                    <a:solidFill>
                      <a:srgbClr val="347F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571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+mj-lt"/>
                          <a:cs typeface="Arial" panose="020B0604020202020204" pitchFamily="34" charset="0"/>
                        </a:rPr>
                        <a:t>III </a:t>
                      </a:r>
                      <a:r>
                        <a:rPr lang="ru-RU" sz="1300" dirty="0">
                          <a:latin typeface="+mj-lt"/>
                          <a:cs typeface="Arial" panose="020B0604020202020204" pitchFamily="34" charset="0"/>
                        </a:rPr>
                        <a:t>уровень</a:t>
                      </a:r>
                    </a:p>
                  </a:txBody>
                  <a:tcPr marL="82176" marR="82176" marT="41089" marB="41089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5440">
                <a:tc>
                  <a:txBody>
                    <a:bodyPr/>
                    <a:lstStyle/>
                    <a:p>
                      <a:pPr marL="0" marR="0" indent="0" algn="l" defTabSz="9571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Казахстан</a:t>
                      </a:r>
                    </a:p>
                  </a:txBody>
                  <a:tcPr marL="82176" marR="82176" marT="41089" marB="41089">
                    <a:solidFill>
                      <a:srgbClr val="0F497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571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РФ, РБ, Украина, Азербайджан,</a:t>
                      </a:r>
                      <a:r>
                        <a:rPr lang="ru-RU" sz="1300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0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страны ЦА (4), страны Кавказа (3) </a:t>
                      </a:r>
                    </a:p>
                  </a:txBody>
                  <a:tcPr marL="82176" marR="82176" marT="41089" marB="41089">
                    <a:solidFill>
                      <a:srgbClr val="347F8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571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Мир,</a:t>
                      </a:r>
                      <a:r>
                        <a:rPr lang="ru-RU" sz="1300" baseline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300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исключая страны </a:t>
                      </a:r>
                      <a:r>
                        <a:rPr lang="de-DE" sz="1300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I</a:t>
                      </a:r>
                      <a:r>
                        <a:rPr lang="ru-RU" sz="1300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и </a:t>
                      </a:r>
                      <a:r>
                        <a:rPr lang="de-DE" sz="1300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II</a:t>
                      </a:r>
                      <a:r>
                        <a:rPr lang="ru-RU" sz="1300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уровней</a:t>
                      </a:r>
                      <a:endParaRPr lang="ru-RU" sz="130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2176" marR="82176" marT="41089" marB="41089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93468"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Товары, направленные на </a:t>
                      </a:r>
                      <a:r>
                        <a:rPr lang="ru-RU" sz="1300" dirty="0" err="1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импортозамещение</a:t>
                      </a:r>
                      <a:endParaRPr lang="ru-RU" sz="130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2176" marR="82176" marT="41089" marB="41089">
                    <a:solidFill>
                      <a:srgbClr val="0F49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Товары,</a:t>
                      </a:r>
                      <a:r>
                        <a:rPr lang="ru-RU" sz="1300" baseline="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 имеющие ограничения по транспортировке. В основном товары Базовой химии.</a:t>
                      </a:r>
                      <a:endParaRPr lang="ru-RU" sz="130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82176" marR="82176" marT="41089" marB="41089">
                    <a:solidFill>
                      <a:srgbClr val="347F8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Крупнотоннажные товары. В основном товары, относящиеся к агрохимии и нефтегазохимии.</a:t>
                      </a:r>
                    </a:p>
                  </a:txBody>
                  <a:tcPr marL="82176" marR="82176" marT="41089" marB="41089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73" name="Retângulo 40">
            <a:extLst>
              <a:ext uri="{FF2B5EF4-FFF2-40B4-BE49-F238E27FC236}">
                <a16:creationId xmlns="" xmlns:a16="http://schemas.microsoft.com/office/drawing/2014/main" id="{F1A936DA-DB1B-CE44-B2B6-91EAB1E2152E}"/>
              </a:ext>
            </a:extLst>
          </p:cNvPr>
          <p:cNvSpPr/>
          <p:nvPr/>
        </p:nvSpPr>
        <p:spPr>
          <a:xfrm>
            <a:off x="7530461" y="3079623"/>
            <a:ext cx="3747249" cy="11961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65501" defTabSz="821800">
              <a:defRPr/>
            </a:pPr>
            <a:r>
              <a:rPr lang="ru-RU" sz="1100" b="1" dirty="0">
                <a:solidFill>
                  <a:srgbClr val="347F8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линный список</a:t>
            </a:r>
            <a:r>
              <a:rPr lang="pt-BR" sz="1100" b="1" dirty="0">
                <a:solidFill>
                  <a:srgbClr val="347F8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</a:t>
            </a:r>
            <a:r>
              <a:rPr lang="ru-RU" sz="1100" b="1" dirty="0">
                <a:solidFill>
                  <a:srgbClr val="347F8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130 товаров/товарных групп</a:t>
            </a:r>
            <a:endParaRPr lang="pt-BR" sz="1100" b="1" dirty="0">
              <a:solidFill>
                <a:srgbClr val="347F8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56813" indent="-256813" defTabSz="82180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грохимия		– 9</a:t>
            </a:r>
          </a:p>
          <a:p>
            <a:pPr marL="256813" indent="-256813" defTabSz="82180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ефтегазохимия 	                          – 64</a:t>
            </a:r>
          </a:p>
          <a:p>
            <a:pPr marL="256813" indent="-256813" defTabSz="82180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Базовая химия		– 33</a:t>
            </a:r>
          </a:p>
          <a:p>
            <a:pPr marL="256813" indent="-256813" defTabSz="82180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>
                    <a:lumMod val="85000"/>
                    <a:lumOff val="1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пец. химия		– 24</a:t>
            </a:r>
          </a:p>
        </p:txBody>
      </p:sp>
      <p:sp>
        <p:nvSpPr>
          <p:cNvPr id="171" name="Retângulo 7">
            <a:extLst>
              <a:ext uri="{FF2B5EF4-FFF2-40B4-BE49-F238E27FC236}">
                <a16:creationId xmlns="" xmlns:a16="http://schemas.microsoft.com/office/drawing/2014/main" id="{63E25F1A-609D-844A-AA85-6DCFFA1B21DF}"/>
              </a:ext>
            </a:extLst>
          </p:cNvPr>
          <p:cNvSpPr/>
          <p:nvPr/>
        </p:nvSpPr>
        <p:spPr>
          <a:xfrm>
            <a:off x="914729" y="2418265"/>
            <a:ext cx="2070025" cy="96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2841" defTabSz="821800">
              <a:defRPr/>
            </a:pPr>
            <a:r>
              <a:rPr lang="ru-RU" sz="1100" b="1" dirty="0">
                <a:solidFill>
                  <a:srgbClr val="347F8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араметры отбора данных</a:t>
            </a:r>
          </a:p>
          <a:p>
            <a:pPr marL="256813" indent="-256813" defTabSz="82180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 региона: Казахстан, СНГ и мир</a:t>
            </a:r>
          </a:p>
          <a:p>
            <a:pPr marL="256813" indent="-256813" defTabSz="82180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мпортные данные базы данных </a:t>
            </a:r>
            <a:r>
              <a:rPr lang="en-GB" sz="11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 </a:t>
            </a:r>
            <a:r>
              <a:rPr lang="en-GB" sz="1100" dirty="0" err="1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Trade</a:t>
            </a:r>
            <a:r>
              <a:rPr lang="en-GB" sz="11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1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 6 знаках ТН ВЭД</a:t>
            </a:r>
          </a:p>
        </p:txBody>
      </p:sp>
      <p:sp>
        <p:nvSpPr>
          <p:cNvPr id="176" name="Retângulo 7">
            <a:extLst>
              <a:ext uri="{FF2B5EF4-FFF2-40B4-BE49-F238E27FC236}">
                <a16:creationId xmlns="" xmlns:a16="http://schemas.microsoft.com/office/drawing/2014/main" id="{77DFF07E-3BFC-D541-AA7D-0AAC920DEF01}"/>
              </a:ext>
            </a:extLst>
          </p:cNvPr>
          <p:cNvSpPr/>
          <p:nvPr/>
        </p:nvSpPr>
        <p:spPr>
          <a:xfrm>
            <a:off x="7585504" y="1691907"/>
            <a:ext cx="3069980" cy="9680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2841" defTabSz="821800">
              <a:defRPr/>
            </a:pPr>
            <a:r>
              <a:rPr lang="ru-RU" sz="1100" b="1" dirty="0">
                <a:solidFill>
                  <a:srgbClr val="347F8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ритерий отсечения продуктов</a:t>
            </a:r>
          </a:p>
          <a:p>
            <a:pPr marL="256813" indent="-256813" defTabSz="82180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мпорт выше среднего по каждому сегменту и в каждом регионе (мир, СНГ и Казахстан) </a:t>
            </a:r>
          </a:p>
        </p:txBody>
      </p:sp>
      <p:sp>
        <p:nvSpPr>
          <p:cNvPr id="177" name="TextBox 10">
            <a:extLst>
              <a:ext uri="{FF2B5EF4-FFF2-40B4-BE49-F238E27FC236}">
                <a16:creationId xmlns="" xmlns:a16="http://schemas.microsoft.com/office/drawing/2014/main" id="{767A0B84-6E77-0C47-B937-98899623D7F8}"/>
              </a:ext>
            </a:extLst>
          </p:cNvPr>
          <p:cNvSpPr txBox="1"/>
          <p:nvPr/>
        </p:nvSpPr>
        <p:spPr>
          <a:xfrm>
            <a:off x="802758" y="1708435"/>
            <a:ext cx="6727703" cy="462696"/>
          </a:xfrm>
          <a:prstGeom prst="rect">
            <a:avLst/>
          </a:prstGeom>
          <a:noFill/>
        </p:spPr>
        <p:txBody>
          <a:bodyPr wrap="square" tIns="42059" bIns="80882" anchor="b">
            <a:spAutoFit/>
          </a:bodyPr>
          <a:lstStyle/>
          <a:p>
            <a:pPr defTabSz="821800">
              <a:buClr>
                <a:srgbClr val="376092"/>
              </a:buClr>
              <a:defRPr/>
            </a:pPr>
            <a:r>
              <a:rPr lang="ru-RU" sz="1100" dirty="0">
                <a:solidFill>
                  <a:srgbClr val="004E5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иоритетные регионы в Методологии были разделены на 3 уровня: </a:t>
            </a:r>
          </a:p>
          <a:p>
            <a:pPr defTabSz="821800">
              <a:buClr>
                <a:srgbClr val="376092"/>
              </a:buClr>
              <a:defRPr/>
            </a:pPr>
            <a:r>
              <a:rPr lang="ru-RU" sz="1100" dirty="0">
                <a:solidFill>
                  <a:srgbClr val="004E5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азахстан, СНГ и Мир </a:t>
            </a:r>
          </a:p>
        </p:txBody>
      </p:sp>
      <p:cxnSp>
        <p:nvCxnSpPr>
          <p:cNvPr id="178" name="Straight Connector 11">
            <a:extLst>
              <a:ext uri="{FF2B5EF4-FFF2-40B4-BE49-F238E27FC236}">
                <a16:creationId xmlns="" xmlns:a16="http://schemas.microsoft.com/office/drawing/2014/main" id="{2B55C8A1-5821-534A-B63E-8A104A1CF68A}"/>
              </a:ext>
            </a:extLst>
          </p:cNvPr>
          <p:cNvCxnSpPr>
            <a:cxnSpLocks/>
          </p:cNvCxnSpPr>
          <p:nvPr/>
        </p:nvCxnSpPr>
        <p:spPr>
          <a:xfrm>
            <a:off x="850307" y="2163012"/>
            <a:ext cx="6569651" cy="2828"/>
          </a:xfrm>
          <a:prstGeom prst="line">
            <a:avLst/>
          </a:prstGeom>
          <a:ln>
            <a:solidFill>
              <a:srgbClr val="3284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Заголовок 1">
            <a:extLst>
              <a:ext uri="{FF2B5EF4-FFF2-40B4-BE49-F238E27FC236}">
                <a16:creationId xmlns="" xmlns:a16="http://schemas.microsoft.com/office/drawing/2014/main" id="{276FF438-4A1E-B046-A584-ADF4394064AB}"/>
              </a:ext>
            </a:extLst>
          </p:cNvPr>
          <p:cNvSpPr txBox="1">
            <a:spLocks/>
          </p:cNvSpPr>
          <p:nvPr/>
        </p:nvSpPr>
        <p:spPr>
          <a:xfrm>
            <a:off x="743354" y="979387"/>
            <a:ext cx="9767219" cy="63021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ru-RU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Исходя из наличия спроса сформирован «длинный список» химической продукции, включающий 130 наименований</a:t>
            </a:r>
          </a:p>
        </p:txBody>
      </p:sp>
      <p:sp>
        <p:nvSpPr>
          <p:cNvPr id="172" name="ee4pFootnotes">
            <a:extLst>
              <a:ext uri="{FF2B5EF4-FFF2-40B4-BE49-F238E27FC236}">
                <a16:creationId xmlns="" xmlns:a16="http://schemas.microsoft.com/office/drawing/2014/main" id="{86BFC473-06EC-4923-BEEC-71359912C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958" y="6522203"/>
            <a:ext cx="3386595" cy="16158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821800">
              <a:defRPr/>
            </a:pPr>
            <a:r>
              <a:rPr lang="ru-RU" sz="1050" i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Trebuchet MS" panose="020B0603020202020204" pitchFamily="34" charset="0"/>
              </a:rPr>
              <a:t>Источник</a:t>
            </a:r>
            <a:r>
              <a:rPr lang="en-US" sz="1050" i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Trebuchet MS" panose="020B0603020202020204" pitchFamily="34" charset="0"/>
              </a:rPr>
              <a:t>:</a:t>
            </a:r>
            <a:r>
              <a:rPr lang="ru-RU" sz="1050" i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Trebuchet MS" panose="020B0603020202020204" pitchFamily="34" charset="0"/>
              </a:rPr>
              <a:t> анализ </a:t>
            </a:r>
            <a:r>
              <a:rPr lang="en-US" sz="1050" i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Trebuchet MS" panose="020B0603020202020204" pitchFamily="34" charset="0"/>
              </a:rPr>
              <a:t>Dasco Consulting Group</a:t>
            </a:r>
            <a:r>
              <a:rPr lang="ru-RU" sz="1050" i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Trebuchet MS" panose="020B0603020202020204" pitchFamily="34" charset="0"/>
              </a:rPr>
              <a:t>, </a:t>
            </a:r>
            <a:r>
              <a:rPr lang="en-GB" sz="1050" i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Trebuchet MS" panose="020B0603020202020204" pitchFamily="34" charset="0"/>
              </a:rPr>
              <a:t>UN </a:t>
            </a:r>
            <a:r>
              <a:rPr lang="en-GB" sz="1050" i="1" dirty="0" err="1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Trebuchet MS" panose="020B0603020202020204" pitchFamily="34" charset="0"/>
              </a:rPr>
              <a:t>ComTrade</a:t>
            </a:r>
            <a:endParaRPr lang="en-US" sz="1050" i="1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1DA6D550-0609-6E80-F59C-F4AEB43BD0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1209" y="206548"/>
            <a:ext cx="839399" cy="67486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86E63B14-BBAD-40F0-6E08-D990C3172E5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231392" y="517100"/>
            <a:ext cx="11011272" cy="467475"/>
          </a:xfrm>
          <a:prstGeom prst="rect">
            <a:avLst/>
          </a:prstGeom>
        </p:spPr>
      </p:pic>
      <p:sp>
        <p:nvSpPr>
          <p:cNvPr id="8" name="SlideTitle">
            <a:extLst>
              <a:ext uri="{FF2B5EF4-FFF2-40B4-BE49-F238E27FC236}">
                <a16:creationId xmlns="" xmlns:a16="http://schemas.microsoft.com/office/drawing/2014/main" id="{4A9E9728-8D59-3B1F-F2E8-6D1E6D156B21}"/>
              </a:ext>
            </a:extLst>
          </p:cNvPr>
          <p:cNvSpPr txBox="1">
            <a:spLocks/>
          </p:cNvSpPr>
          <p:nvPr/>
        </p:nvSpPr>
        <p:spPr>
          <a:xfrm>
            <a:off x="447389" y="206548"/>
            <a:ext cx="10644986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линный список химической продукции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90662EDF-3B7C-D0DE-3050-E8DEB0ECEBD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sp>
        <p:nvSpPr>
          <p:cNvPr id="11" name="Номер слайда 3">
            <a:extLst>
              <a:ext uri="{FF2B5EF4-FFF2-40B4-BE49-F238E27FC236}">
                <a16:creationId xmlns="" xmlns:a16="http://schemas.microsoft.com/office/drawing/2014/main" id="{602AFD28-2B1A-32F1-B90F-626B4AE676F5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16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7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02A72AA7-6E3C-4503-BE78-85D37531E4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Методология выбора продукто</a:t>
            </a:r>
            <a:r>
              <a:rPr lang="ru-RU" dirty="0"/>
              <a:t>в для </a:t>
            </a:r>
            <a:r>
              <a:rPr lang="en-US" dirty="0"/>
              <a:t>SKO</a:t>
            </a:r>
            <a:r>
              <a:rPr lang="ru-RU" dirty="0"/>
              <a:t> ведется «от спроса» и включает 3 этапа</a:t>
            </a:r>
            <a:endParaRPr lang="ru-RU" sz="2000" dirty="0"/>
          </a:p>
        </p:txBody>
      </p:sp>
      <p:grpSp>
        <p:nvGrpSpPr>
          <p:cNvPr id="4" name="Group 153">
            <a:extLst>
              <a:ext uri="{FF2B5EF4-FFF2-40B4-BE49-F238E27FC236}">
                <a16:creationId xmlns="" xmlns:a16="http://schemas.microsoft.com/office/drawing/2014/main" id="{B74CBCB2-1194-4FDF-9855-A5E3FB12DDAC}"/>
              </a:ext>
            </a:extLst>
          </p:cNvPr>
          <p:cNvGrpSpPr/>
          <p:nvPr/>
        </p:nvGrpSpPr>
        <p:grpSpPr>
          <a:xfrm>
            <a:off x="2876108" y="4766146"/>
            <a:ext cx="5648804" cy="2043849"/>
            <a:chOff x="1441063" y="2106729"/>
            <a:chExt cx="4865222" cy="1825617"/>
          </a:xfrm>
        </p:grpSpPr>
        <p:sp>
          <p:nvSpPr>
            <p:cNvPr id="5" name="Freeform 306">
              <a:extLst>
                <a:ext uri="{FF2B5EF4-FFF2-40B4-BE49-F238E27FC236}">
                  <a16:creationId xmlns="" xmlns:a16="http://schemas.microsoft.com/office/drawing/2014/main" id="{ECEF264B-00C7-4DA0-A10B-286858D72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8135" y="2719058"/>
              <a:ext cx="1958150" cy="584689"/>
            </a:xfrm>
            <a:custGeom>
              <a:avLst/>
              <a:gdLst>
                <a:gd name="T0" fmla="*/ 0 w 1068"/>
                <a:gd name="T1" fmla="*/ 0 h 620"/>
                <a:gd name="T2" fmla="*/ 0 w 1068"/>
                <a:gd name="T3" fmla="*/ 0 h 620"/>
                <a:gd name="T4" fmla="*/ 164 w 1068"/>
                <a:gd name="T5" fmla="*/ 22 h 620"/>
                <a:gd name="T6" fmla="*/ 164 w 1068"/>
                <a:gd name="T7" fmla="*/ 22 h 620"/>
                <a:gd name="T8" fmla="*/ 404 w 1068"/>
                <a:gd name="T9" fmla="*/ 52 h 620"/>
                <a:gd name="T10" fmla="*/ 624 w 1068"/>
                <a:gd name="T11" fmla="*/ 80 h 620"/>
                <a:gd name="T12" fmla="*/ 826 w 1068"/>
                <a:gd name="T13" fmla="*/ 102 h 620"/>
                <a:gd name="T14" fmla="*/ 1012 w 1068"/>
                <a:gd name="T15" fmla="*/ 122 h 620"/>
                <a:gd name="T16" fmla="*/ 1012 w 1068"/>
                <a:gd name="T17" fmla="*/ 122 h 620"/>
                <a:gd name="T18" fmla="*/ 1020 w 1068"/>
                <a:gd name="T19" fmla="*/ 132 h 620"/>
                <a:gd name="T20" fmla="*/ 1030 w 1068"/>
                <a:gd name="T21" fmla="*/ 146 h 620"/>
                <a:gd name="T22" fmla="*/ 1040 w 1068"/>
                <a:gd name="T23" fmla="*/ 166 h 620"/>
                <a:gd name="T24" fmla="*/ 1050 w 1068"/>
                <a:gd name="T25" fmla="*/ 192 h 620"/>
                <a:gd name="T26" fmla="*/ 1060 w 1068"/>
                <a:gd name="T27" fmla="*/ 228 h 620"/>
                <a:gd name="T28" fmla="*/ 1064 w 1068"/>
                <a:gd name="T29" fmla="*/ 250 h 620"/>
                <a:gd name="T30" fmla="*/ 1066 w 1068"/>
                <a:gd name="T31" fmla="*/ 274 h 620"/>
                <a:gd name="T32" fmla="*/ 1068 w 1068"/>
                <a:gd name="T33" fmla="*/ 300 h 620"/>
                <a:gd name="T34" fmla="*/ 1068 w 1068"/>
                <a:gd name="T35" fmla="*/ 328 h 620"/>
                <a:gd name="T36" fmla="*/ 1068 w 1068"/>
                <a:gd name="T37" fmla="*/ 328 h 620"/>
                <a:gd name="T38" fmla="*/ 1068 w 1068"/>
                <a:gd name="T39" fmla="*/ 358 h 620"/>
                <a:gd name="T40" fmla="*/ 1066 w 1068"/>
                <a:gd name="T41" fmla="*/ 384 h 620"/>
                <a:gd name="T42" fmla="*/ 1064 w 1068"/>
                <a:gd name="T43" fmla="*/ 406 h 620"/>
                <a:gd name="T44" fmla="*/ 1060 w 1068"/>
                <a:gd name="T45" fmla="*/ 426 h 620"/>
                <a:gd name="T46" fmla="*/ 1052 w 1068"/>
                <a:gd name="T47" fmla="*/ 460 h 620"/>
                <a:gd name="T48" fmla="*/ 1040 w 1068"/>
                <a:gd name="T49" fmla="*/ 484 h 620"/>
                <a:gd name="T50" fmla="*/ 1030 w 1068"/>
                <a:gd name="T51" fmla="*/ 502 h 620"/>
                <a:gd name="T52" fmla="*/ 1022 w 1068"/>
                <a:gd name="T53" fmla="*/ 512 h 620"/>
                <a:gd name="T54" fmla="*/ 1012 w 1068"/>
                <a:gd name="T55" fmla="*/ 520 h 620"/>
                <a:gd name="T56" fmla="*/ 1012 w 1068"/>
                <a:gd name="T57" fmla="*/ 520 h 620"/>
                <a:gd name="T58" fmla="*/ 824 w 1068"/>
                <a:gd name="T59" fmla="*/ 536 h 620"/>
                <a:gd name="T60" fmla="*/ 616 w 1068"/>
                <a:gd name="T61" fmla="*/ 556 h 620"/>
                <a:gd name="T62" fmla="*/ 390 w 1068"/>
                <a:gd name="T63" fmla="*/ 578 h 620"/>
                <a:gd name="T64" fmla="*/ 144 w 1068"/>
                <a:gd name="T65" fmla="*/ 602 h 620"/>
                <a:gd name="T66" fmla="*/ 144 w 1068"/>
                <a:gd name="T67" fmla="*/ 602 h 620"/>
                <a:gd name="T68" fmla="*/ 0 w 1068"/>
                <a:gd name="T69" fmla="*/ 62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8" h="620">
                  <a:moveTo>
                    <a:pt x="0" y="0"/>
                  </a:moveTo>
                  <a:lnTo>
                    <a:pt x="0" y="0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404" y="52"/>
                  </a:lnTo>
                  <a:lnTo>
                    <a:pt x="624" y="80"/>
                  </a:lnTo>
                  <a:lnTo>
                    <a:pt x="826" y="102"/>
                  </a:lnTo>
                  <a:lnTo>
                    <a:pt x="1012" y="122"/>
                  </a:lnTo>
                  <a:lnTo>
                    <a:pt x="1012" y="122"/>
                  </a:lnTo>
                  <a:lnTo>
                    <a:pt x="1020" y="132"/>
                  </a:lnTo>
                  <a:lnTo>
                    <a:pt x="1030" y="146"/>
                  </a:lnTo>
                  <a:lnTo>
                    <a:pt x="1040" y="166"/>
                  </a:lnTo>
                  <a:lnTo>
                    <a:pt x="1050" y="192"/>
                  </a:lnTo>
                  <a:lnTo>
                    <a:pt x="1060" y="228"/>
                  </a:lnTo>
                  <a:lnTo>
                    <a:pt x="1064" y="250"/>
                  </a:lnTo>
                  <a:lnTo>
                    <a:pt x="1066" y="274"/>
                  </a:lnTo>
                  <a:lnTo>
                    <a:pt x="1068" y="300"/>
                  </a:lnTo>
                  <a:lnTo>
                    <a:pt x="1068" y="328"/>
                  </a:lnTo>
                  <a:lnTo>
                    <a:pt x="1068" y="328"/>
                  </a:lnTo>
                  <a:lnTo>
                    <a:pt x="1068" y="358"/>
                  </a:lnTo>
                  <a:lnTo>
                    <a:pt x="1066" y="384"/>
                  </a:lnTo>
                  <a:lnTo>
                    <a:pt x="1064" y="406"/>
                  </a:lnTo>
                  <a:lnTo>
                    <a:pt x="1060" y="426"/>
                  </a:lnTo>
                  <a:lnTo>
                    <a:pt x="1052" y="460"/>
                  </a:lnTo>
                  <a:lnTo>
                    <a:pt x="1040" y="484"/>
                  </a:lnTo>
                  <a:lnTo>
                    <a:pt x="1030" y="502"/>
                  </a:lnTo>
                  <a:lnTo>
                    <a:pt x="1022" y="512"/>
                  </a:lnTo>
                  <a:lnTo>
                    <a:pt x="1012" y="520"/>
                  </a:lnTo>
                  <a:lnTo>
                    <a:pt x="1012" y="520"/>
                  </a:lnTo>
                  <a:lnTo>
                    <a:pt x="824" y="536"/>
                  </a:lnTo>
                  <a:lnTo>
                    <a:pt x="616" y="556"/>
                  </a:lnTo>
                  <a:lnTo>
                    <a:pt x="390" y="578"/>
                  </a:lnTo>
                  <a:lnTo>
                    <a:pt x="144" y="602"/>
                  </a:lnTo>
                  <a:lnTo>
                    <a:pt x="144" y="602"/>
                  </a:lnTo>
                  <a:lnTo>
                    <a:pt x="0" y="620"/>
                  </a:lnTo>
                </a:path>
              </a:pathLst>
            </a:custGeom>
            <a:gradFill rotWithShape="1">
              <a:gsLst>
                <a:gs pos="0">
                  <a:schemeClr val="bg1">
                    <a:lumMod val="75000"/>
                  </a:schemeClr>
                </a:gs>
                <a:gs pos="50000">
                  <a:srgbClr val="FFFFFF"/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9050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just" defTabSz="557161">
                <a:buClr>
                  <a:srgbClr val="06357A"/>
                </a:buClr>
                <a:defRPr/>
              </a:pPr>
              <a:endParaRPr lang="en-US" sz="609" kern="0">
                <a:solidFill>
                  <a:srgbClr val="4D4D4D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6" name="Group 321">
              <a:extLst>
                <a:ext uri="{FF2B5EF4-FFF2-40B4-BE49-F238E27FC236}">
                  <a16:creationId xmlns="" xmlns:a16="http://schemas.microsoft.com/office/drawing/2014/main" id="{00885C89-3BF5-485A-AFF9-D1F6E109713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24261" y="2218035"/>
              <a:ext cx="803306" cy="1626640"/>
              <a:chOff x="2734" y="991"/>
              <a:chExt cx="712" cy="2017"/>
            </a:xfrm>
            <a:solidFill>
              <a:srgbClr val="44546A"/>
            </a:solidFill>
          </p:grpSpPr>
          <p:grpSp>
            <p:nvGrpSpPr>
              <p:cNvPr id="60" name="Group 317">
                <a:extLst>
                  <a:ext uri="{FF2B5EF4-FFF2-40B4-BE49-F238E27FC236}">
                    <a16:creationId xmlns="" xmlns:a16="http://schemas.microsoft.com/office/drawing/2014/main" id="{6A93D2FF-5B9D-4861-B474-BC4E35F944A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34" y="991"/>
                <a:ext cx="644" cy="2017"/>
                <a:chOff x="2734" y="991"/>
                <a:chExt cx="644" cy="2017"/>
              </a:xfrm>
              <a:grpFill/>
            </p:grpSpPr>
            <p:sp>
              <p:nvSpPr>
                <p:cNvPr id="62" name="Line 183">
                  <a:extLst>
                    <a:ext uri="{FF2B5EF4-FFF2-40B4-BE49-F238E27FC236}">
                      <a16:creationId xmlns="" xmlns:a16="http://schemas.microsoft.com/office/drawing/2014/main" id="{DA1B2AF5-4286-4211-8C0B-D0ADCB7AF7A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82" y="1536"/>
                  <a:ext cx="0" cy="90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Line 184">
                  <a:extLst>
                    <a:ext uri="{FF2B5EF4-FFF2-40B4-BE49-F238E27FC236}">
                      <a16:creationId xmlns="" xmlns:a16="http://schemas.microsoft.com/office/drawing/2014/main" id="{F2690862-AA3A-4C65-95F9-35AA397D5A0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40" y="1986"/>
                  <a:ext cx="625" cy="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" name="Line 185">
                  <a:extLst>
                    <a:ext uri="{FF2B5EF4-FFF2-40B4-BE49-F238E27FC236}">
                      <a16:creationId xmlns="" xmlns:a16="http://schemas.microsoft.com/office/drawing/2014/main" id="{AC53BF41-A148-4F80-BFCB-9E4C0056F71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377" y="991"/>
                  <a:ext cx="0" cy="201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" name="Line 186">
                  <a:extLst>
                    <a:ext uri="{FF2B5EF4-FFF2-40B4-BE49-F238E27FC236}">
                      <a16:creationId xmlns="" xmlns:a16="http://schemas.microsoft.com/office/drawing/2014/main" id="{EDCA06A6-D831-4D6B-912A-324F0108042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329" y="1043"/>
                  <a:ext cx="0" cy="1918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" name="Line 187">
                  <a:extLst>
                    <a:ext uri="{FF2B5EF4-FFF2-40B4-BE49-F238E27FC236}">
                      <a16:creationId xmlns="" xmlns:a16="http://schemas.microsoft.com/office/drawing/2014/main" id="{377A19CA-3FF9-447E-974B-DF9621BC46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271" y="1089"/>
                  <a:ext cx="0" cy="181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" name="Line 188">
                  <a:extLst>
                    <a:ext uri="{FF2B5EF4-FFF2-40B4-BE49-F238E27FC236}">
                      <a16:creationId xmlns="" xmlns:a16="http://schemas.microsoft.com/office/drawing/2014/main" id="{B8A8FDB0-8EDF-4C70-BB3C-A8F7FE59F13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218" y="1137"/>
                  <a:ext cx="0" cy="171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" name="Line 189">
                  <a:extLst>
                    <a:ext uri="{FF2B5EF4-FFF2-40B4-BE49-F238E27FC236}">
                      <a16:creationId xmlns="" xmlns:a16="http://schemas.microsoft.com/office/drawing/2014/main" id="{A14979C3-B55E-4B71-ABBF-CBD8512632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164" y="1197"/>
                  <a:ext cx="0" cy="159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" name="Line 190">
                  <a:extLst>
                    <a:ext uri="{FF2B5EF4-FFF2-40B4-BE49-F238E27FC236}">
                      <a16:creationId xmlns="" xmlns:a16="http://schemas.microsoft.com/office/drawing/2014/main" id="{35CCF66B-D495-4B6F-B2A0-9EC44506367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116" y="1232"/>
                  <a:ext cx="0" cy="153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" name="Line 191">
                  <a:extLst>
                    <a:ext uri="{FF2B5EF4-FFF2-40B4-BE49-F238E27FC236}">
                      <a16:creationId xmlns="" xmlns:a16="http://schemas.microsoft.com/office/drawing/2014/main" id="{5B066437-29A3-4584-B7E6-C16762B2F5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055" y="1285"/>
                  <a:ext cx="0" cy="142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" name="Line 192">
                  <a:extLst>
                    <a:ext uri="{FF2B5EF4-FFF2-40B4-BE49-F238E27FC236}">
                      <a16:creationId xmlns="" xmlns:a16="http://schemas.microsoft.com/office/drawing/2014/main" id="{8B8552CF-8D38-4816-BEED-76F3610CA27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999" y="1335"/>
                  <a:ext cx="0" cy="1323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Line 193">
                  <a:extLst>
                    <a:ext uri="{FF2B5EF4-FFF2-40B4-BE49-F238E27FC236}">
                      <a16:creationId xmlns="" xmlns:a16="http://schemas.microsoft.com/office/drawing/2014/main" id="{398D4503-5CE5-4649-A8BA-DD8CD0631C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949" y="1379"/>
                  <a:ext cx="0" cy="1219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" name="Line 194">
                  <a:extLst>
                    <a:ext uri="{FF2B5EF4-FFF2-40B4-BE49-F238E27FC236}">
                      <a16:creationId xmlns="" xmlns:a16="http://schemas.microsoft.com/office/drawing/2014/main" id="{B3956BB8-8814-4331-8622-E49CD57B0BB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890" y="1438"/>
                  <a:ext cx="0" cy="1109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" name="Line 196">
                  <a:extLst>
                    <a:ext uri="{FF2B5EF4-FFF2-40B4-BE49-F238E27FC236}">
                      <a16:creationId xmlns="" xmlns:a16="http://schemas.microsoft.com/office/drawing/2014/main" id="{A5AA9D42-CEA7-4651-8D60-8F9F09035AC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34" y="1579"/>
                  <a:ext cx="0" cy="819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" name="Line 197">
                  <a:extLst>
                    <a:ext uri="{FF2B5EF4-FFF2-40B4-BE49-F238E27FC236}">
                      <a16:creationId xmlns="" xmlns:a16="http://schemas.microsoft.com/office/drawing/2014/main" id="{B9DCFEA1-E2B4-45E1-998F-0597D014947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40" y="2049"/>
                  <a:ext cx="629" cy="10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" name="Line 198">
                  <a:extLst>
                    <a:ext uri="{FF2B5EF4-FFF2-40B4-BE49-F238E27FC236}">
                      <a16:creationId xmlns="" xmlns:a16="http://schemas.microsoft.com/office/drawing/2014/main" id="{611498A7-1FFF-4F1E-B11C-A9EE870F90A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41" y="2132"/>
                  <a:ext cx="629" cy="183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Line 199">
                  <a:extLst>
                    <a:ext uri="{FF2B5EF4-FFF2-40B4-BE49-F238E27FC236}">
                      <a16:creationId xmlns="" xmlns:a16="http://schemas.microsoft.com/office/drawing/2014/main" id="{D704759B-FE0F-4DB9-B7F1-2F8A521875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42" y="2183"/>
                  <a:ext cx="636" cy="29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" name="Line 200">
                  <a:extLst>
                    <a:ext uri="{FF2B5EF4-FFF2-40B4-BE49-F238E27FC236}">
                      <a16:creationId xmlns="" xmlns:a16="http://schemas.microsoft.com/office/drawing/2014/main" id="{EAE054CD-3777-4534-8B5E-E0905D710B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36" y="2262"/>
                  <a:ext cx="627" cy="377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" name="Line 201">
                  <a:extLst>
                    <a:ext uri="{FF2B5EF4-FFF2-40B4-BE49-F238E27FC236}">
                      <a16:creationId xmlns="" xmlns:a16="http://schemas.microsoft.com/office/drawing/2014/main" id="{C676EF07-EE8D-43AF-8DB5-49A69F3B665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37" y="2321"/>
                  <a:ext cx="634" cy="477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" name="Line 202">
                  <a:extLst>
                    <a:ext uri="{FF2B5EF4-FFF2-40B4-BE49-F238E27FC236}">
                      <a16:creationId xmlns="" xmlns:a16="http://schemas.microsoft.com/office/drawing/2014/main" id="{8B9CBE25-2EF0-43A2-979C-70A585271EF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37" y="2398"/>
                  <a:ext cx="636" cy="61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" name="Line 203">
                  <a:extLst>
                    <a:ext uri="{FF2B5EF4-FFF2-40B4-BE49-F238E27FC236}">
                      <a16:creationId xmlns="" xmlns:a16="http://schemas.microsoft.com/office/drawing/2014/main" id="{A46F29C1-4C54-42FD-93D4-ECD2D9FDFAB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40" y="1833"/>
                  <a:ext cx="629" cy="8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" name="Line 204">
                  <a:extLst>
                    <a:ext uri="{FF2B5EF4-FFF2-40B4-BE49-F238E27FC236}">
                      <a16:creationId xmlns="" xmlns:a16="http://schemas.microsoft.com/office/drawing/2014/main" id="{E97E29DB-DA5F-4AD7-BE45-E0E949BF07E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40" y="1657"/>
                  <a:ext cx="625" cy="20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" name="Line 205">
                  <a:extLst>
                    <a:ext uri="{FF2B5EF4-FFF2-40B4-BE49-F238E27FC236}">
                      <a16:creationId xmlns="" xmlns:a16="http://schemas.microsoft.com/office/drawing/2014/main" id="{736CBC99-4F0E-4FF7-B3F7-5D12C3ED70A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40" y="1498"/>
                  <a:ext cx="629" cy="30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" name="Line 206">
                  <a:extLst>
                    <a:ext uri="{FF2B5EF4-FFF2-40B4-BE49-F238E27FC236}">
                      <a16:creationId xmlns="" xmlns:a16="http://schemas.microsoft.com/office/drawing/2014/main" id="{9678D6A2-4092-4FBE-A05E-5149FE1F0F3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36" y="1325"/>
                  <a:ext cx="630" cy="40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Line 207">
                  <a:extLst>
                    <a:ext uri="{FF2B5EF4-FFF2-40B4-BE49-F238E27FC236}">
                      <a16:creationId xmlns="" xmlns:a16="http://schemas.microsoft.com/office/drawing/2014/main" id="{40115A2C-4C0D-429D-A6AB-8EF68BF6EB5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36" y="1132"/>
                  <a:ext cx="636" cy="509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Line 208">
                  <a:extLst>
                    <a:ext uri="{FF2B5EF4-FFF2-40B4-BE49-F238E27FC236}">
                      <a16:creationId xmlns="" xmlns:a16="http://schemas.microsoft.com/office/drawing/2014/main" id="{ACB9B1DB-DFDB-44A9-A48F-CC0C0B54EAE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35" y="991"/>
                  <a:ext cx="641" cy="59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Line 210">
                  <a:extLst>
                    <a:ext uri="{FF2B5EF4-FFF2-40B4-BE49-F238E27FC236}">
                      <a16:creationId xmlns="" xmlns:a16="http://schemas.microsoft.com/office/drawing/2014/main" id="{CA2357B1-DE1B-454A-A97D-B0A25809BD2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40" y="1986"/>
                  <a:ext cx="633" cy="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" name="Line 211">
                  <a:extLst>
                    <a:ext uri="{FF2B5EF4-FFF2-40B4-BE49-F238E27FC236}">
                      <a16:creationId xmlns="" xmlns:a16="http://schemas.microsoft.com/office/drawing/2014/main" id="{312E1FEB-8D4C-4BE6-A55A-32344AD7654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377" y="991"/>
                  <a:ext cx="0" cy="201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" name="Line 212">
                  <a:extLst>
                    <a:ext uri="{FF2B5EF4-FFF2-40B4-BE49-F238E27FC236}">
                      <a16:creationId xmlns="" xmlns:a16="http://schemas.microsoft.com/office/drawing/2014/main" id="{6C750B19-2B4D-4246-8B60-F6A1906F8B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329" y="1043"/>
                  <a:ext cx="0" cy="1918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" name="Line 214">
                  <a:extLst>
                    <a:ext uri="{FF2B5EF4-FFF2-40B4-BE49-F238E27FC236}">
                      <a16:creationId xmlns="" xmlns:a16="http://schemas.microsoft.com/office/drawing/2014/main" id="{16635F8C-4AFE-43CA-BE53-20995A20D6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218" y="1137"/>
                  <a:ext cx="0" cy="171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" name="Line 215">
                  <a:extLst>
                    <a:ext uri="{FF2B5EF4-FFF2-40B4-BE49-F238E27FC236}">
                      <a16:creationId xmlns="" xmlns:a16="http://schemas.microsoft.com/office/drawing/2014/main" id="{1A3362F6-4AD1-45E5-9165-593EAEC5F4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3164" y="1185"/>
                  <a:ext cx="0" cy="162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" name="Line 220">
                  <a:extLst>
                    <a:ext uri="{FF2B5EF4-FFF2-40B4-BE49-F238E27FC236}">
                      <a16:creationId xmlns="" xmlns:a16="http://schemas.microsoft.com/office/drawing/2014/main" id="{AE05201B-FE97-4607-8B5A-2582C250643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890" y="1438"/>
                  <a:ext cx="0" cy="1109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" name="Line 221">
                  <a:extLst>
                    <a:ext uri="{FF2B5EF4-FFF2-40B4-BE49-F238E27FC236}">
                      <a16:creationId xmlns="" xmlns:a16="http://schemas.microsoft.com/office/drawing/2014/main" id="{6D597723-849E-49C8-9257-C18818B0BC1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840" y="1488"/>
                  <a:ext cx="0" cy="100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" name="Line 223">
                  <a:extLst>
                    <a:ext uri="{FF2B5EF4-FFF2-40B4-BE49-F238E27FC236}">
                      <a16:creationId xmlns="" xmlns:a16="http://schemas.microsoft.com/office/drawing/2014/main" id="{B4FACCA1-1F8E-41A0-86DB-5EDF3CDEB2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40" y="2049"/>
                  <a:ext cx="633" cy="10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" name="Line 224">
                  <a:extLst>
                    <a:ext uri="{FF2B5EF4-FFF2-40B4-BE49-F238E27FC236}">
                      <a16:creationId xmlns="" xmlns:a16="http://schemas.microsoft.com/office/drawing/2014/main" id="{0C3E7540-F421-4F81-B965-CD2843A9FC6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41" y="2132"/>
                  <a:ext cx="635" cy="18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" name="Line 225">
                  <a:extLst>
                    <a:ext uri="{FF2B5EF4-FFF2-40B4-BE49-F238E27FC236}">
                      <a16:creationId xmlns="" xmlns:a16="http://schemas.microsoft.com/office/drawing/2014/main" id="{6B5C3C1A-E3E7-40E9-9363-46822D45168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42" y="2183"/>
                  <a:ext cx="636" cy="29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" name="Line 226">
                  <a:extLst>
                    <a:ext uri="{FF2B5EF4-FFF2-40B4-BE49-F238E27FC236}">
                      <a16:creationId xmlns="" xmlns:a16="http://schemas.microsoft.com/office/drawing/2014/main" id="{04C39D24-089E-4426-A263-7A14E320779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36" y="2262"/>
                  <a:ext cx="641" cy="38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" name="Line 227">
                  <a:extLst>
                    <a:ext uri="{FF2B5EF4-FFF2-40B4-BE49-F238E27FC236}">
                      <a16:creationId xmlns="" xmlns:a16="http://schemas.microsoft.com/office/drawing/2014/main" id="{5317E745-C1B6-4B7F-9B62-07D6A07F22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2737" y="2321"/>
                  <a:ext cx="637" cy="479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" name="Line 229">
                  <a:extLst>
                    <a:ext uri="{FF2B5EF4-FFF2-40B4-BE49-F238E27FC236}">
                      <a16:creationId xmlns="" xmlns:a16="http://schemas.microsoft.com/office/drawing/2014/main" id="{C573F8B1-D85E-4BAD-AC91-A545DE104DF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40" y="1832"/>
                  <a:ext cx="635" cy="83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" name="Line 230">
                  <a:extLst>
                    <a:ext uri="{FF2B5EF4-FFF2-40B4-BE49-F238E27FC236}">
                      <a16:creationId xmlns="" xmlns:a16="http://schemas.microsoft.com/office/drawing/2014/main" id="{B5A71188-0173-4B39-9C53-C22FB3A82D7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40" y="1654"/>
                  <a:ext cx="635" cy="203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" name="Line 231">
                  <a:extLst>
                    <a:ext uri="{FF2B5EF4-FFF2-40B4-BE49-F238E27FC236}">
                      <a16:creationId xmlns="" xmlns:a16="http://schemas.microsoft.com/office/drawing/2014/main" id="{E0992BC5-FB1A-4605-BA18-39A2D71880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40" y="1496"/>
                  <a:ext cx="633" cy="30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" name="Line 232">
                  <a:extLst>
                    <a:ext uri="{FF2B5EF4-FFF2-40B4-BE49-F238E27FC236}">
                      <a16:creationId xmlns="" xmlns:a16="http://schemas.microsoft.com/office/drawing/2014/main" id="{FC94B475-09C3-43C5-A0E6-0414483E9D3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36" y="1321"/>
                  <a:ext cx="636" cy="40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" name="Line 233">
                  <a:extLst>
                    <a:ext uri="{FF2B5EF4-FFF2-40B4-BE49-F238E27FC236}">
                      <a16:creationId xmlns="" xmlns:a16="http://schemas.microsoft.com/office/drawing/2014/main" id="{48190775-9FBF-4636-A11F-FEC2D7C55A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36" y="1132"/>
                  <a:ext cx="636" cy="509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" name="Line 234">
                  <a:extLst>
                    <a:ext uri="{FF2B5EF4-FFF2-40B4-BE49-F238E27FC236}">
                      <a16:creationId xmlns="" xmlns:a16="http://schemas.microsoft.com/office/drawing/2014/main" id="{C569EAB3-7328-4157-8EFC-2BBC5B0B18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735" y="991"/>
                  <a:ext cx="641" cy="59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61" name="Rectangle 235">
                <a:extLst>
                  <a:ext uri="{FF2B5EF4-FFF2-40B4-BE49-F238E27FC236}">
                    <a16:creationId xmlns="" xmlns:a16="http://schemas.microsoft.com/office/drawing/2014/main" id="{85685642-1BB1-4997-B10E-6014FCA519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381" y="992"/>
                <a:ext cx="65" cy="2016"/>
              </a:xfrm>
              <a:prstGeom prst="rect">
                <a:avLst/>
              </a:prstGeom>
              <a:solidFill>
                <a:srgbClr val="CAC6AA"/>
              </a:solidFill>
              <a:ln w="9525">
                <a:solidFill>
                  <a:srgbClr val="9C9C6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/>
              <a:p>
                <a:pPr algn="just" defTabSz="557161">
                  <a:buClr>
                    <a:srgbClr val="06357A"/>
                  </a:buClr>
                  <a:defRPr/>
                </a:pPr>
                <a:endParaRPr lang="en-GB" sz="609" kern="0">
                  <a:solidFill>
                    <a:srgbClr val="4D4D4D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" name="Freeform 308">
              <a:extLst>
                <a:ext uri="{FF2B5EF4-FFF2-40B4-BE49-F238E27FC236}">
                  <a16:creationId xmlns="" xmlns:a16="http://schemas.microsoft.com/office/drawing/2014/main" id="{76ECF983-D2D2-4CCA-BB41-F14BC6D9E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408" y="2577582"/>
              <a:ext cx="2534840" cy="887599"/>
            </a:xfrm>
            <a:custGeom>
              <a:avLst/>
              <a:gdLst>
                <a:gd name="T0" fmla="*/ 0 w 1218"/>
                <a:gd name="T1" fmla="*/ 0 h 1148"/>
                <a:gd name="T2" fmla="*/ 0 w 1218"/>
                <a:gd name="T3" fmla="*/ 0 h 1148"/>
                <a:gd name="T4" fmla="*/ 118 w 1218"/>
                <a:gd name="T5" fmla="*/ 36 h 1148"/>
                <a:gd name="T6" fmla="*/ 242 w 1218"/>
                <a:gd name="T7" fmla="*/ 72 h 1148"/>
                <a:gd name="T8" fmla="*/ 374 w 1218"/>
                <a:gd name="T9" fmla="*/ 108 h 1148"/>
                <a:gd name="T10" fmla="*/ 512 w 1218"/>
                <a:gd name="T11" fmla="*/ 142 h 1148"/>
                <a:gd name="T12" fmla="*/ 660 w 1218"/>
                <a:gd name="T13" fmla="*/ 174 h 1148"/>
                <a:gd name="T14" fmla="*/ 816 w 1218"/>
                <a:gd name="T15" fmla="*/ 204 h 1148"/>
                <a:gd name="T16" fmla="*/ 978 w 1218"/>
                <a:gd name="T17" fmla="*/ 232 h 1148"/>
                <a:gd name="T18" fmla="*/ 1152 w 1218"/>
                <a:gd name="T19" fmla="*/ 260 h 1148"/>
                <a:gd name="T20" fmla="*/ 1152 w 1218"/>
                <a:gd name="T21" fmla="*/ 260 h 1148"/>
                <a:gd name="T22" fmla="*/ 1154 w 1218"/>
                <a:gd name="T23" fmla="*/ 262 h 1148"/>
                <a:gd name="T24" fmla="*/ 1162 w 1218"/>
                <a:gd name="T25" fmla="*/ 274 h 1148"/>
                <a:gd name="T26" fmla="*/ 1172 w 1218"/>
                <a:gd name="T27" fmla="*/ 294 h 1148"/>
                <a:gd name="T28" fmla="*/ 1184 w 1218"/>
                <a:gd name="T29" fmla="*/ 326 h 1148"/>
                <a:gd name="T30" fmla="*/ 1198 w 1218"/>
                <a:gd name="T31" fmla="*/ 368 h 1148"/>
                <a:gd name="T32" fmla="*/ 1202 w 1218"/>
                <a:gd name="T33" fmla="*/ 396 h 1148"/>
                <a:gd name="T34" fmla="*/ 1208 w 1218"/>
                <a:gd name="T35" fmla="*/ 426 h 1148"/>
                <a:gd name="T36" fmla="*/ 1212 w 1218"/>
                <a:gd name="T37" fmla="*/ 460 h 1148"/>
                <a:gd name="T38" fmla="*/ 1216 w 1218"/>
                <a:gd name="T39" fmla="*/ 500 h 1148"/>
                <a:gd name="T40" fmla="*/ 1218 w 1218"/>
                <a:gd name="T41" fmla="*/ 542 h 1148"/>
                <a:gd name="T42" fmla="*/ 1218 w 1218"/>
                <a:gd name="T43" fmla="*/ 588 h 1148"/>
                <a:gd name="T44" fmla="*/ 1218 w 1218"/>
                <a:gd name="T45" fmla="*/ 588 h 1148"/>
                <a:gd name="T46" fmla="*/ 1218 w 1218"/>
                <a:gd name="T47" fmla="*/ 636 h 1148"/>
                <a:gd name="T48" fmla="*/ 1216 w 1218"/>
                <a:gd name="T49" fmla="*/ 676 h 1148"/>
                <a:gd name="T50" fmla="*/ 1212 w 1218"/>
                <a:gd name="T51" fmla="*/ 714 h 1148"/>
                <a:gd name="T52" fmla="*/ 1210 w 1218"/>
                <a:gd name="T53" fmla="*/ 746 h 1148"/>
                <a:gd name="T54" fmla="*/ 1204 w 1218"/>
                <a:gd name="T55" fmla="*/ 772 h 1148"/>
                <a:gd name="T56" fmla="*/ 1200 w 1218"/>
                <a:gd name="T57" fmla="*/ 796 h 1148"/>
                <a:gd name="T58" fmla="*/ 1194 w 1218"/>
                <a:gd name="T59" fmla="*/ 816 h 1148"/>
                <a:gd name="T60" fmla="*/ 1190 w 1218"/>
                <a:gd name="T61" fmla="*/ 832 h 1148"/>
                <a:gd name="T62" fmla="*/ 1178 w 1218"/>
                <a:gd name="T63" fmla="*/ 858 h 1148"/>
                <a:gd name="T64" fmla="*/ 1170 w 1218"/>
                <a:gd name="T65" fmla="*/ 872 h 1148"/>
                <a:gd name="T66" fmla="*/ 1162 w 1218"/>
                <a:gd name="T67" fmla="*/ 878 h 1148"/>
                <a:gd name="T68" fmla="*/ 1160 w 1218"/>
                <a:gd name="T69" fmla="*/ 880 h 1148"/>
                <a:gd name="T70" fmla="*/ 1160 w 1218"/>
                <a:gd name="T71" fmla="*/ 880 h 1148"/>
                <a:gd name="T72" fmla="*/ 990 w 1218"/>
                <a:gd name="T73" fmla="*/ 904 h 1148"/>
                <a:gd name="T74" fmla="*/ 826 w 1218"/>
                <a:gd name="T75" fmla="*/ 932 h 1148"/>
                <a:gd name="T76" fmla="*/ 672 w 1218"/>
                <a:gd name="T77" fmla="*/ 962 h 1148"/>
                <a:gd name="T78" fmla="*/ 524 w 1218"/>
                <a:gd name="T79" fmla="*/ 996 h 1148"/>
                <a:gd name="T80" fmla="*/ 384 w 1218"/>
                <a:gd name="T81" fmla="*/ 1032 h 1148"/>
                <a:gd name="T82" fmla="*/ 252 w 1218"/>
                <a:gd name="T83" fmla="*/ 1068 h 1148"/>
                <a:gd name="T84" fmla="*/ 128 w 1218"/>
                <a:gd name="T85" fmla="*/ 1108 h 1148"/>
                <a:gd name="T86" fmla="*/ 12 w 1218"/>
                <a:gd name="T87" fmla="*/ 1148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18" h="1148">
                  <a:moveTo>
                    <a:pt x="0" y="0"/>
                  </a:moveTo>
                  <a:lnTo>
                    <a:pt x="0" y="0"/>
                  </a:lnTo>
                  <a:lnTo>
                    <a:pt x="118" y="36"/>
                  </a:lnTo>
                  <a:lnTo>
                    <a:pt x="242" y="72"/>
                  </a:lnTo>
                  <a:lnTo>
                    <a:pt x="374" y="108"/>
                  </a:lnTo>
                  <a:lnTo>
                    <a:pt x="512" y="142"/>
                  </a:lnTo>
                  <a:lnTo>
                    <a:pt x="660" y="174"/>
                  </a:lnTo>
                  <a:lnTo>
                    <a:pt x="816" y="204"/>
                  </a:lnTo>
                  <a:lnTo>
                    <a:pt x="978" y="232"/>
                  </a:lnTo>
                  <a:lnTo>
                    <a:pt x="1152" y="260"/>
                  </a:lnTo>
                  <a:lnTo>
                    <a:pt x="1152" y="260"/>
                  </a:lnTo>
                  <a:lnTo>
                    <a:pt x="1154" y="262"/>
                  </a:lnTo>
                  <a:lnTo>
                    <a:pt x="1162" y="274"/>
                  </a:lnTo>
                  <a:lnTo>
                    <a:pt x="1172" y="294"/>
                  </a:lnTo>
                  <a:lnTo>
                    <a:pt x="1184" y="326"/>
                  </a:lnTo>
                  <a:lnTo>
                    <a:pt x="1198" y="368"/>
                  </a:lnTo>
                  <a:lnTo>
                    <a:pt x="1202" y="396"/>
                  </a:lnTo>
                  <a:lnTo>
                    <a:pt x="1208" y="426"/>
                  </a:lnTo>
                  <a:lnTo>
                    <a:pt x="1212" y="460"/>
                  </a:lnTo>
                  <a:lnTo>
                    <a:pt x="1216" y="500"/>
                  </a:lnTo>
                  <a:lnTo>
                    <a:pt x="1218" y="542"/>
                  </a:lnTo>
                  <a:lnTo>
                    <a:pt x="1218" y="588"/>
                  </a:lnTo>
                  <a:lnTo>
                    <a:pt x="1218" y="588"/>
                  </a:lnTo>
                  <a:lnTo>
                    <a:pt x="1218" y="636"/>
                  </a:lnTo>
                  <a:lnTo>
                    <a:pt x="1216" y="676"/>
                  </a:lnTo>
                  <a:lnTo>
                    <a:pt x="1212" y="714"/>
                  </a:lnTo>
                  <a:lnTo>
                    <a:pt x="1210" y="746"/>
                  </a:lnTo>
                  <a:lnTo>
                    <a:pt x="1204" y="772"/>
                  </a:lnTo>
                  <a:lnTo>
                    <a:pt x="1200" y="796"/>
                  </a:lnTo>
                  <a:lnTo>
                    <a:pt x="1194" y="816"/>
                  </a:lnTo>
                  <a:lnTo>
                    <a:pt x="1190" y="832"/>
                  </a:lnTo>
                  <a:lnTo>
                    <a:pt x="1178" y="858"/>
                  </a:lnTo>
                  <a:lnTo>
                    <a:pt x="1170" y="872"/>
                  </a:lnTo>
                  <a:lnTo>
                    <a:pt x="1162" y="878"/>
                  </a:lnTo>
                  <a:lnTo>
                    <a:pt x="1160" y="880"/>
                  </a:lnTo>
                  <a:lnTo>
                    <a:pt x="1160" y="880"/>
                  </a:lnTo>
                  <a:lnTo>
                    <a:pt x="990" y="904"/>
                  </a:lnTo>
                  <a:lnTo>
                    <a:pt x="826" y="932"/>
                  </a:lnTo>
                  <a:lnTo>
                    <a:pt x="672" y="962"/>
                  </a:lnTo>
                  <a:lnTo>
                    <a:pt x="524" y="996"/>
                  </a:lnTo>
                  <a:lnTo>
                    <a:pt x="384" y="1032"/>
                  </a:lnTo>
                  <a:lnTo>
                    <a:pt x="252" y="1068"/>
                  </a:lnTo>
                  <a:lnTo>
                    <a:pt x="128" y="1108"/>
                  </a:lnTo>
                  <a:lnTo>
                    <a:pt x="12" y="1148"/>
                  </a:lnTo>
                </a:path>
              </a:pathLst>
            </a:custGeom>
            <a:gradFill rotWithShape="1">
              <a:gsLst>
                <a:gs pos="0">
                  <a:schemeClr val="bg1">
                    <a:lumMod val="75000"/>
                  </a:schemeClr>
                </a:gs>
                <a:gs pos="50000">
                  <a:srgbClr val="FFFFFF"/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9050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 lIns="390049" anchor="ctr"/>
            <a:lstStyle/>
            <a:p>
              <a:pPr algn="ctr" defTabSz="557161">
                <a:buClr>
                  <a:srgbClr val="06357A"/>
                </a:buClr>
                <a:defRPr/>
              </a:pPr>
              <a:endParaRPr lang="en-US" sz="609" kern="0">
                <a:solidFill>
                  <a:srgbClr val="06357A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8" name="Group 320">
              <a:extLst>
                <a:ext uri="{FF2B5EF4-FFF2-40B4-BE49-F238E27FC236}">
                  <a16:creationId xmlns="" xmlns:a16="http://schemas.microsoft.com/office/drawing/2014/main" id="{5DF098E2-DECC-42F0-A772-BE64917A145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04156" y="2218035"/>
              <a:ext cx="930645" cy="1626640"/>
              <a:chOff x="1526" y="830"/>
              <a:chExt cx="825" cy="2340"/>
            </a:xfrm>
            <a:solidFill>
              <a:srgbClr val="44546A"/>
            </a:solidFill>
          </p:grpSpPr>
          <p:grpSp>
            <p:nvGrpSpPr>
              <p:cNvPr id="11" name="Group 316">
                <a:extLst>
                  <a:ext uri="{FF2B5EF4-FFF2-40B4-BE49-F238E27FC236}">
                    <a16:creationId xmlns="" xmlns:a16="http://schemas.microsoft.com/office/drawing/2014/main" id="{6AC13527-5E52-4C24-B137-B71A2988DBA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526" y="830"/>
                <a:ext cx="745" cy="2337"/>
                <a:chOff x="1526" y="830"/>
                <a:chExt cx="745" cy="2337"/>
              </a:xfrm>
              <a:grpFill/>
            </p:grpSpPr>
            <p:sp>
              <p:nvSpPr>
                <p:cNvPr id="13" name="Line 241">
                  <a:extLst>
                    <a:ext uri="{FF2B5EF4-FFF2-40B4-BE49-F238E27FC236}">
                      <a16:creationId xmlns="" xmlns:a16="http://schemas.microsoft.com/office/drawing/2014/main" id="{162BD8A7-5B43-4B4B-B200-4AF16029DF6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82" y="1446"/>
                  <a:ext cx="0" cy="108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Line 242">
                  <a:extLst>
                    <a:ext uri="{FF2B5EF4-FFF2-40B4-BE49-F238E27FC236}">
                      <a16:creationId xmlns="" xmlns:a16="http://schemas.microsoft.com/office/drawing/2014/main" id="{87D5F148-BDFE-4952-B950-D091862734B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33" y="1983"/>
                  <a:ext cx="725" cy="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" name="Line 243">
                  <a:extLst>
                    <a:ext uri="{FF2B5EF4-FFF2-40B4-BE49-F238E27FC236}">
                      <a16:creationId xmlns="" xmlns:a16="http://schemas.microsoft.com/office/drawing/2014/main" id="{11C3695F-3174-494F-B187-654BC7F8DA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271" y="830"/>
                  <a:ext cx="0" cy="2333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Line 244">
                  <a:extLst>
                    <a:ext uri="{FF2B5EF4-FFF2-40B4-BE49-F238E27FC236}">
                      <a16:creationId xmlns="" xmlns:a16="http://schemas.microsoft.com/office/drawing/2014/main" id="{19C51B91-683D-48E8-9F9B-8B0AAC63264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215" y="891"/>
                  <a:ext cx="0" cy="222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Line 246">
                  <a:extLst>
                    <a:ext uri="{FF2B5EF4-FFF2-40B4-BE49-F238E27FC236}">
                      <a16:creationId xmlns="" xmlns:a16="http://schemas.microsoft.com/office/drawing/2014/main" id="{C9E51A7F-AAEA-4E9A-8FCC-91078E54DDA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086" y="999"/>
                  <a:ext cx="0" cy="1987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Line 247">
                  <a:extLst>
                    <a:ext uri="{FF2B5EF4-FFF2-40B4-BE49-F238E27FC236}">
                      <a16:creationId xmlns="" xmlns:a16="http://schemas.microsoft.com/office/drawing/2014/main" id="{F70C44B0-D01D-48B4-8963-B03C665D106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024" y="1068"/>
                  <a:ext cx="0" cy="185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Line 248">
                  <a:extLst>
                    <a:ext uri="{FF2B5EF4-FFF2-40B4-BE49-F238E27FC236}">
                      <a16:creationId xmlns="" xmlns:a16="http://schemas.microsoft.com/office/drawing/2014/main" id="{BDA89500-441E-4CD0-8144-E3175762F07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968" y="1104"/>
                  <a:ext cx="0" cy="177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" name="Line 249">
                  <a:extLst>
                    <a:ext uri="{FF2B5EF4-FFF2-40B4-BE49-F238E27FC236}">
                      <a16:creationId xmlns="" xmlns:a16="http://schemas.microsoft.com/office/drawing/2014/main" id="{ED96E22F-FE7A-42A2-BD7E-9751B663C38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897" y="1170"/>
                  <a:ext cx="0" cy="165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" name="Line 250">
                  <a:extLst>
                    <a:ext uri="{FF2B5EF4-FFF2-40B4-BE49-F238E27FC236}">
                      <a16:creationId xmlns="" xmlns:a16="http://schemas.microsoft.com/office/drawing/2014/main" id="{D47AB8DC-83DD-4202-9360-5768D4907C0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833" y="1229"/>
                  <a:ext cx="0" cy="1518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" name="Line 251">
                  <a:extLst>
                    <a:ext uri="{FF2B5EF4-FFF2-40B4-BE49-F238E27FC236}">
                      <a16:creationId xmlns="" xmlns:a16="http://schemas.microsoft.com/office/drawing/2014/main" id="{391CE64E-4706-417D-9BE8-03F415F87A2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775" y="1281"/>
                  <a:ext cx="0" cy="141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Line 252">
                  <a:extLst>
                    <a:ext uri="{FF2B5EF4-FFF2-40B4-BE49-F238E27FC236}">
                      <a16:creationId xmlns="" xmlns:a16="http://schemas.microsoft.com/office/drawing/2014/main" id="{7F893A04-BF36-4760-B892-62C03B22A6F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707" y="1349"/>
                  <a:ext cx="0" cy="128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" name="Line 253">
                  <a:extLst>
                    <a:ext uri="{FF2B5EF4-FFF2-40B4-BE49-F238E27FC236}">
                      <a16:creationId xmlns="" xmlns:a16="http://schemas.microsoft.com/office/drawing/2014/main" id="{088C507B-0FB6-435D-94B2-80D2B6436FF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648" y="1376"/>
                  <a:ext cx="0" cy="119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" name="Line 254">
                  <a:extLst>
                    <a:ext uri="{FF2B5EF4-FFF2-40B4-BE49-F238E27FC236}">
                      <a16:creationId xmlns="" xmlns:a16="http://schemas.microsoft.com/office/drawing/2014/main" id="{31AAF81E-D801-4896-9878-5BE5FD7A28F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26" y="1506"/>
                  <a:ext cx="0" cy="96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" name="Line 255">
                  <a:extLst>
                    <a:ext uri="{FF2B5EF4-FFF2-40B4-BE49-F238E27FC236}">
                      <a16:creationId xmlns="" xmlns:a16="http://schemas.microsoft.com/office/drawing/2014/main" id="{919778E1-4328-4A86-B497-6F2C602668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33" y="2057"/>
                  <a:ext cx="729" cy="11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" name="Line 256">
                  <a:extLst>
                    <a:ext uri="{FF2B5EF4-FFF2-40B4-BE49-F238E27FC236}">
                      <a16:creationId xmlns="" xmlns:a16="http://schemas.microsoft.com/office/drawing/2014/main" id="{2822BD7E-3416-4C2B-A751-9946E80A621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33" y="2154"/>
                  <a:ext cx="729" cy="21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Line 257">
                  <a:extLst>
                    <a:ext uri="{FF2B5EF4-FFF2-40B4-BE49-F238E27FC236}">
                      <a16:creationId xmlns="" xmlns:a16="http://schemas.microsoft.com/office/drawing/2014/main" id="{9D9992A6-9FEB-4390-BFF5-DA943A43386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33" y="2213"/>
                  <a:ext cx="737" cy="337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Line 258">
                  <a:extLst>
                    <a:ext uri="{FF2B5EF4-FFF2-40B4-BE49-F238E27FC236}">
                      <a16:creationId xmlns="" xmlns:a16="http://schemas.microsoft.com/office/drawing/2014/main" id="{DD58EDEF-0EE6-4A1C-B3E7-C3A325E722B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28" y="2304"/>
                  <a:ext cx="726" cy="437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" name="Line 259">
                  <a:extLst>
                    <a:ext uri="{FF2B5EF4-FFF2-40B4-BE49-F238E27FC236}">
                      <a16:creationId xmlns="" xmlns:a16="http://schemas.microsoft.com/office/drawing/2014/main" id="{13120714-E988-4CB6-8F96-F4291484514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27" y="2373"/>
                  <a:ext cx="735" cy="55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Line 260">
                  <a:extLst>
                    <a:ext uri="{FF2B5EF4-FFF2-40B4-BE49-F238E27FC236}">
                      <a16:creationId xmlns="" xmlns:a16="http://schemas.microsoft.com/office/drawing/2014/main" id="{58F3E30D-4EE8-4D7F-A83A-E89DDF3186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27" y="2461"/>
                  <a:ext cx="741" cy="70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Line 261">
                  <a:extLst>
                    <a:ext uri="{FF2B5EF4-FFF2-40B4-BE49-F238E27FC236}">
                      <a16:creationId xmlns="" xmlns:a16="http://schemas.microsoft.com/office/drawing/2014/main" id="{546B1054-A830-4088-ADB1-896DC2E4858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33" y="1805"/>
                  <a:ext cx="729" cy="9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Line 262">
                  <a:extLst>
                    <a:ext uri="{FF2B5EF4-FFF2-40B4-BE49-F238E27FC236}">
                      <a16:creationId xmlns="" xmlns:a16="http://schemas.microsoft.com/office/drawing/2014/main" id="{9ED5E179-98C6-4528-8E61-19955E6155D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33" y="1602"/>
                  <a:ext cx="725" cy="23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Line 263">
                  <a:extLst>
                    <a:ext uri="{FF2B5EF4-FFF2-40B4-BE49-F238E27FC236}">
                      <a16:creationId xmlns="" xmlns:a16="http://schemas.microsoft.com/office/drawing/2014/main" id="{93CE7E60-56C2-45A8-A39D-D95DCDE810E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33" y="1418"/>
                  <a:ext cx="729" cy="348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Line 264">
                  <a:extLst>
                    <a:ext uri="{FF2B5EF4-FFF2-40B4-BE49-F238E27FC236}">
                      <a16:creationId xmlns="" xmlns:a16="http://schemas.microsoft.com/office/drawing/2014/main" id="{CCC218EA-BA98-473A-A8DB-FEA7749EFA7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27" y="1217"/>
                  <a:ext cx="731" cy="46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Line 265">
                  <a:extLst>
                    <a:ext uri="{FF2B5EF4-FFF2-40B4-BE49-F238E27FC236}">
                      <a16:creationId xmlns="" xmlns:a16="http://schemas.microsoft.com/office/drawing/2014/main" id="{CEB8D13B-3124-41EF-B29D-302FB1933B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27" y="993"/>
                  <a:ext cx="737" cy="59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Line 266">
                  <a:extLst>
                    <a:ext uri="{FF2B5EF4-FFF2-40B4-BE49-F238E27FC236}">
                      <a16:creationId xmlns="" xmlns:a16="http://schemas.microsoft.com/office/drawing/2014/main" id="{E59F0A14-CD6E-4292-A3BA-20DCDD1F24B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27" y="830"/>
                  <a:ext cx="743" cy="68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8" name="Line 267">
                  <a:extLst>
                    <a:ext uri="{FF2B5EF4-FFF2-40B4-BE49-F238E27FC236}">
                      <a16:creationId xmlns="" xmlns:a16="http://schemas.microsoft.com/office/drawing/2014/main" id="{86E8F46F-173C-44EB-9BFF-6E6D6BAD10C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82" y="1446"/>
                  <a:ext cx="0" cy="108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Line 268">
                  <a:extLst>
                    <a:ext uri="{FF2B5EF4-FFF2-40B4-BE49-F238E27FC236}">
                      <a16:creationId xmlns="" xmlns:a16="http://schemas.microsoft.com/office/drawing/2014/main" id="{41B133AD-94F5-40E8-840C-B36E765F89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33" y="1983"/>
                  <a:ext cx="735" cy="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Line 269">
                  <a:extLst>
                    <a:ext uri="{FF2B5EF4-FFF2-40B4-BE49-F238E27FC236}">
                      <a16:creationId xmlns="" xmlns:a16="http://schemas.microsoft.com/office/drawing/2014/main" id="{963439C0-01A5-43CE-9329-8C06CE4FA04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271" y="830"/>
                  <a:ext cx="0" cy="2333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1" name="Line 270">
                  <a:extLst>
                    <a:ext uri="{FF2B5EF4-FFF2-40B4-BE49-F238E27FC236}">
                      <a16:creationId xmlns="" xmlns:a16="http://schemas.microsoft.com/office/drawing/2014/main" id="{93DED24A-95D6-4FF9-B5DF-1E379C9CC62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215" y="891"/>
                  <a:ext cx="0" cy="223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Line 271">
                  <a:extLst>
                    <a:ext uri="{FF2B5EF4-FFF2-40B4-BE49-F238E27FC236}">
                      <a16:creationId xmlns="" xmlns:a16="http://schemas.microsoft.com/office/drawing/2014/main" id="{1C803D9C-35DB-409F-8B95-F2AEA7C57E1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149" y="939"/>
                  <a:ext cx="0" cy="2110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3" name="Line 272">
                  <a:extLst>
                    <a:ext uri="{FF2B5EF4-FFF2-40B4-BE49-F238E27FC236}">
                      <a16:creationId xmlns="" xmlns:a16="http://schemas.microsoft.com/office/drawing/2014/main" id="{6C3571B3-5D56-4737-823F-BF728CA30E0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086" y="999"/>
                  <a:ext cx="0" cy="199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4" name="Line 273">
                  <a:extLst>
                    <a:ext uri="{FF2B5EF4-FFF2-40B4-BE49-F238E27FC236}">
                      <a16:creationId xmlns="" xmlns:a16="http://schemas.microsoft.com/office/drawing/2014/main" id="{6CD9C7CB-F164-4FCC-830D-D223C9990E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2024" y="1054"/>
                  <a:ext cx="0" cy="1878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5" name="Line 277">
                  <a:extLst>
                    <a:ext uri="{FF2B5EF4-FFF2-40B4-BE49-F238E27FC236}">
                      <a16:creationId xmlns="" xmlns:a16="http://schemas.microsoft.com/office/drawing/2014/main" id="{9FBD5978-E519-4F66-85F6-E5980DA6A8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775" y="1281"/>
                  <a:ext cx="0" cy="141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6" name="Line 278">
                  <a:extLst>
                    <a:ext uri="{FF2B5EF4-FFF2-40B4-BE49-F238E27FC236}">
                      <a16:creationId xmlns="" xmlns:a16="http://schemas.microsoft.com/office/drawing/2014/main" id="{B255F17D-A136-4D42-BB56-1D4ECFFAB6D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707" y="1349"/>
                  <a:ext cx="0" cy="128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7" name="Line 279">
                  <a:extLst>
                    <a:ext uri="{FF2B5EF4-FFF2-40B4-BE49-F238E27FC236}">
                      <a16:creationId xmlns="" xmlns:a16="http://schemas.microsoft.com/office/drawing/2014/main" id="{50E483DE-EDA8-4717-8ECD-BC033610CE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648" y="1376"/>
                  <a:ext cx="0" cy="1191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8" name="Line 280">
                  <a:extLst>
                    <a:ext uri="{FF2B5EF4-FFF2-40B4-BE49-F238E27FC236}">
                      <a16:creationId xmlns="" xmlns:a16="http://schemas.microsoft.com/office/drawing/2014/main" id="{EE18C95E-31BE-4F6F-9C1D-6D3AEBA4EE4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26" y="1506"/>
                  <a:ext cx="0" cy="96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9" name="Line 281">
                  <a:extLst>
                    <a:ext uri="{FF2B5EF4-FFF2-40B4-BE49-F238E27FC236}">
                      <a16:creationId xmlns="" xmlns:a16="http://schemas.microsoft.com/office/drawing/2014/main" id="{F5A488F6-E541-47AA-8BEE-54D8E3962F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33" y="2057"/>
                  <a:ext cx="729" cy="11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0" name="Line 282">
                  <a:extLst>
                    <a:ext uri="{FF2B5EF4-FFF2-40B4-BE49-F238E27FC236}">
                      <a16:creationId xmlns="" xmlns:a16="http://schemas.microsoft.com/office/drawing/2014/main" id="{A6F2E2EE-47C4-4E33-8B9D-46E3C46887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33" y="2154"/>
                  <a:ext cx="729" cy="21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Line 283">
                  <a:extLst>
                    <a:ext uri="{FF2B5EF4-FFF2-40B4-BE49-F238E27FC236}">
                      <a16:creationId xmlns="" xmlns:a16="http://schemas.microsoft.com/office/drawing/2014/main" id="{CEDB2BED-47CF-445B-8B19-567E9C1E951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33" y="2213"/>
                  <a:ext cx="737" cy="337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Line 284">
                  <a:extLst>
                    <a:ext uri="{FF2B5EF4-FFF2-40B4-BE49-F238E27FC236}">
                      <a16:creationId xmlns="" xmlns:a16="http://schemas.microsoft.com/office/drawing/2014/main" id="{D95C3E59-D3DD-4E10-BEEB-72663A51FF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28" y="2304"/>
                  <a:ext cx="738" cy="444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" name="Line 285">
                  <a:extLst>
                    <a:ext uri="{FF2B5EF4-FFF2-40B4-BE49-F238E27FC236}">
                      <a16:creationId xmlns="" xmlns:a16="http://schemas.microsoft.com/office/drawing/2014/main" id="{3AAAFAA6-1E3E-4F4A-9BFA-4D96C90668E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>
                  <a:off x="1527" y="2373"/>
                  <a:ext cx="737" cy="55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4" name="Line 287">
                  <a:extLst>
                    <a:ext uri="{FF2B5EF4-FFF2-40B4-BE49-F238E27FC236}">
                      <a16:creationId xmlns="" xmlns:a16="http://schemas.microsoft.com/office/drawing/2014/main" id="{D048C1E3-9E88-4A64-AB71-0D1756E305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33" y="1805"/>
                  <a:ext cx="729" cy="9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5" name="Line 288">
                  <a:extLst>
                    <a:ext uri="{FF2B5EF4-FFF2-40B4-BE49-F238E27FC236}">
                      <a16:creationId xmlns="" xmlns:a16="http://schemas.microsoft.com/office/drawing/2014/main" id="{13BDFA18-9F44-4A92-AFCC-17BF68A033D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33" y="1599"/>
                  <a:ext cx="735" cy="23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" name="Line 289">
                  <a:extLst>
                    <a:ext uri="{FF2B5EF4-FFF2-40B4-BE49-F238E27FC236}">
                      <a16:creationId xmlns="" xmlns:a16="http://schemas.microsoft.com/office/drawing/2014/main" id="{4BBF4F0C-EA1E-4370-82E8-EE99DCE1B4D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33" y="1418"/>
                  <a:ext cx="729" cy="348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" name="Line 290">
                  <a:extLst>
                    <a:ext uri="{FF2B5EF4-FFF2-40B4-BE49-F238E27FC236}">
                      <a16:creationId xmlns="" xmlns:a16="http://schemas.microsoft.com/office/drawing/2014/main" id="{D635E40E-9A3D-48FF-A423-F28180422D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27" y="1209"/>
                  <a:ext cx="744" cy="472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Line 291">
                  <a:extLst>
                    <a:ext uri="{FF2B5EF4-FFF2-40B4-BE49-F238E27FC236}">
                      <a16:creationId xmlns="" xmlns:a16="http://schemas.microsoft.com/office/drawing/2014/main" id="{917D4BBE-B3FD-4A04-88BE-1E224A07DCA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27" y="988"/>
                  <a:ext cx="743" cy="596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" name="Line 292">
                  <a:extLst>
                    <a:ext uri="{FF2B5EF4-FFF2-40B4-BE49-F238E27FC236}">
                      <a16:creationId xmlns="" xmlns:a16="http://schemas.microsoft.com/office/drawing/2014/main" id="{3FDE11F1-CB05-40D4-9C36-EB01018118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V="1">
                  <a:off x="1527" y="830"/>
                  <a:ext cx="743" cy="685"/>
                </a:xfrm>
                <a:prstGeom prst="line">
                  <a:avLst/>
                </a:prstGeom>
                <a:grpFill/>
                <a:ln w="12700">
                  <a:solidFill>
                    <a:srgbClr val="C0C0C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just" defTabSz="557161">
                    <a:buClr>
                      <a:srgbClr val="06357A"/>
                    </a:buClr>
                    <a:defRPr/>
                  </a:pPr>
                  <a:endParaRPr lang="en-GB" sz="609" kern="0">
                    <a:solidFill>
                      <a:srgbClr val="4D4D4D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2" name="Rectangle 293">
                <a:extLst>
                  <a:ext uri="{FF2B5EF4-FFF2-40B4-BE49-F238E27FC236}">
                    <a16:creationId xmlns="" xmlns:a16="http://schemas.microsoft.com/office/drawing/2014/main" id="{CDC3D84D-38A3-485C-8FF2-F80C4F200F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2276" y="832"/>
                <a:ext cx="75" cy="2338"/>
              </a:xfrm>
              <a:prstGeom prst="rect">
                <a:avLst/>
              </a:prstGeom>
              <a:solidFill>
                <a:srgbClr val="CAC6AA"/>
              </a:solidFill>
              <a:ln w="9525">
                <a:solidFill>
                  <a:srgbClr val="9C9C6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wrap="none" anchor="ctr"/>
              <a:lstStyle/>
              <a:p>
                <a:pPr algn="just" defTabSz="557161">
                  <a:buClr>
                    <a:srgbClr val="06357A"/>
                  </a:buClr>
                  <a:defRPr/>
                </a:pPr>
                <a:endParaRPr lang="en-GB" sz="609" kern="0">
                  <a:solidFill>
                    <a:srgbClr val="4D4D4D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" name="Freeform 309">
              <a:extLst>
                <a:ext uri="{FF2B5EF4-FFF2-40B4-BE49-F238E27FC236}">
                  <a16:creationId xmlns="" xmlns:a16="http://schemas.microsoft.com/office/drawing/2014/main" id="{FE38D165-A151-4D6B-BACA-83029A0EA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242" y="2125223"/>
              <a:ext cx="1496247" cy="1796299"/>
            </a:xfrm>
            <a:custGeom>
              <a:avLst/>
              <a:gdLst>
                <a:gd name="T0" fmla="*/ 1186 w 1276"/>
                <a:gd name="T1" fmla="*/ 1710 h 2282"/>
                <a:gd name="T2" fmla="*/ 940 w 1276"/>
                <a:gd name="T3" fmla="*/ 1810 h 2282"/>
                <a:gd name="T4" fmla="*/ 732 w 1276"/>
                <a:gd name="T5" fmla="*/ 1908 h 2282"/>
                <a:gd name="T6" fmla="*/ 560 w 1276"/>
                <a:gd name="T7" fmla="*/ 2004 h 2282"/>
                <a:gd name="T8" fmla="*/ 424 w 1276"/>
                <a:gd name="T9" fmla="*/ 2092 h 2282"/>
                <a:gd name="T10" fmla="*/ 320 w 1276"/>
                <a:gd name="T11" fmla="*/ 2168 h 2282"/>
                <a:gd name="T12" fmla="*/ 248 w 1276"/>
                <a:gd name="T13" fmla="*/ 2228 h 2282"/>
                <a:gd name="T14" fmla="*/ 190 w 1276"/>
                <a:gd name="T15" fmla="*/ 2282 h 2282"/>
                <a:gd name="T16" fmla="*/ 182 w 1276"/>
                <a:gd name="T17" fmla="*/ 2280 h 2282"/>
                <a:gd name="T18" fmla="*/ 162 w 1276"/>
                <a:gd name="T19" fmla="*/ 2268 h 2282"/>
                <a:gd name="T20" fmla="*/ 144 w 1276"/>
                <a:gd name="T21" fmla="*/ 2246 h 2282"/>
                <a:gd name="T22" fmla="*/ 126 w 1276"/>
                <a:gd name="T23" fmla="*/ 2212 h 2282"/>
                <a:gd name="T24" fmla="*/ 100 w 1276"/>
                <a:gd name="T25" fmla="*/ 2144 h 2282"/>
                <a:gd name="T26" fmla="*/ 70 w 1276"/>
                <a:gd name="T27" fmla="*/ 2020 h 2282"/>
                <a:gd name="T28" fmla="*/ 44 w 1276"/>
                <a:gd name="T29" fmla="*/ 1866 h 2282"/>
                <a:gd name="T30" fmla="*/ 24 w 1276"/>
                <a:gd name="T31" fmla="*/ 1684 h 2282"/>
                <a:gd name="T32" fmla="*/ 8 w 1276"/>
                <a:gd name="T33" fmla="*/ 1480 h 2282"/>
                <a:gd name="T34" fmla="*/ 2 w 1276"/>
                <a:gd name="T35" fmla="*/ 1258 h 2282"/>
                <a:gd name="T36" fmla="*/ 0 w 1276"/>
                <a:gd name="T37" fmla="*/ 1140 h 2282"/>
                <a:gd name="T38" fmla="*/ 4 w 1276"/>
                <a:gd name="T39" fmla="*/ 912 h 2282"/>
                <a:gd name="T40" fmla="*/ 16 w 1276"/>
                <a:gd name="T41" fmla="*/ 696 h 2282"/>
                <a:gd name="T42" fmla="*/ 32 w 1276"/>
                <a:gd name="T43" fmla="*/ 504 h 2282"/>
                <a:gd name="T44" fmla="*/ 56 w 1276"/>
                <a:gd name="T45" fmla="*/ 334 h 2282"/>
                <a:gd name="T46" fmla="*/ 84 w 1276"/>
                <a:gd name="T47" fmla="*/ 196 h 2282"/>
                <a:gd name="T48" fmla="*/ 116 w 1276"/>
                <a:gd name="T49" fmla="*/ 90 h 2282"/>
                <a:gd name="T50" fmla="*/ 134 w 1276"/>
                <a:gd name="T51" fmla="*/ 52 h 2282"/>
                <a:gd name="T52" fmla="*/ 152 w 1276"/>
                <a:gd name="T53" fmla="*/ 24 h 2282"/>
                <a:gd name="T54" fmla="*/ 172 w 1276"/>
                <a:gd name="T55" fmla="*/ 6 h 2282"/>
                <a:gd name="T56" fmla="*/ 190 w 1276"/>
                <a:gd name="T57" fmla="*/ 0 h 2282"/>
                <a:gd name="T58" fmla="*/ 200 w 1276"/>
                <a:gd name="T59" fmla="*/ 14 h 2282"/>
                <a:gd name="T60" fmla="*/ 234 w 1276"/>
                <a:gd name="T61" fmla="*/ 52 h 2282"/>
                <a:gd name="T62" fmla="*/ 296 w 1276"/>
                <a:gd name="T63" fmla="*/ 108 h 2282"/>
                <a:gd name="T64" fmla="*/ 390 w 1276"/>
                <a:gd name="T65" fmla="*/ 182 h 2282"/>
                <a:gd name="T66" fmla="*/ 520 w 1276"/>
                <a:gd name="T67" fmla="*/ 268 h 2282"/>
                <a:gd name="T68" fmla="*/ 694 w 1276"/>
                <a:gd name="T69" fmla="*/ 364 h 2282"/>
                <a:gd name="T70" fmla="*/ 912 w 1276"/>
                <a:gd name="T71" fmla="*/ 462 h 2282"/>
                <a:gd name="T72" fmla="*/ 1040 w 1276"/>
                <a:gd name="T73" fmla="*/ 512 h 2282"/>
                <a:gd name="T74" fmla="*/ 1182 w 1276"/>
                <a:gd name="T75" fmla="*/ 562 h 2282"/>
                <a:gd name="T76" fmla="*/ 1186 w 1276"/>
                <a:gd name="T77" fmla="*/ 566 h 2282"/>
                <a:gd name="T78" fmla="*/ 1204 w 1276"/>
                <a:gd name="T79" fmla="*/ 596 h 2282"/>
                <a:gd name="T80" fmla="*/ 1220 w 1276"/>
                <a:gd name="T81" fmla="*/ 636 h 2282"/>
                <a:gd name="T82" fmla="*/ 1238 w 1276"/>
                <a:gd name="T83" fmla="*/ 700 h 2282"/>
                <a:gd name="T84" fmla="*/ 1254 w 1276"/>
                <a:gd name="T85" fmla="*/ 788 h 2282"/>
                <a:gd name="T86" fmla="*/ 1266 w 1276"/>
                <a:gd name="T87" fmla="*/ 906 h 2282"/>
                <a:gd name="T88" fmla="*/ 1274 w 1276"/>
                <a:gd name="T89" fmla="*/ 1060 h 2282"/>
                <a:gd name="T90" fmla="*/ 1276 w 1276"/>
                <a:gd name="T91" fmla="*/ 1150 h 2282"/>
                <a:gd name="T92" fmla="*/ 1272 w 1276"/>
                <a:gd name="T93" fmla="*/ 1320 h 2282"/>
                <a:gd name="T94" fmla="*/ 1262 w 1276"/>
                <a:gd name="T95" fmla="*/ 1452 h 2282"/>
                <a:gd name="T96" fmla="*/ 1246 w 1276"/>
                <a:gd name="T97" fmla="*/ 1552 h 2282"/>
                <a:gd name="T98" fmla="*/ 1230 w 1276"/>
                <a:gd name="T99" fmla="*/ 1622 h 2282"/>
                <a:gd name="T100" fmla="*/ 1214 w 1276"/>
                <a:gd name="T101" fmla="*/ 1668 h 2282"/>
                <a:gd name="T102" fmla="*/ 1200 w 1276"/>
                <a:gd name="T103" fmla="*/ 1694 h 2282"/>
                <a:gd name="T104" fmla="*/ 1186 w 1276"/>
                <a:gd name="T105" fmla="*/ 1710 h 2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6" h="2282">
                  <a:moveTo>
                    <a:pt x="1186" y="1710"/>
                  </a:moveTo>
                  <a:lnTo>
                    <a:pt x="1186" y="1710"/>
                  </a:lnTo>
                  <a:lnTo>
                    <a:pt x="1058" y="1760"/>
                  </a:lnTo>
                  <a:lnTo>
                    <a:pt x="940" y="1810"/>
                  </a:lnTo>
                  <a:lnTo>
                    <a:pt x="832" y="1858"/>
                  </a:lnTo>
                  <a:lnTo>
                    <a:pt x="732" y="1908"/>
                  </a:lnTo>
                  <a:lnTo>
                    <a:pt x="642" y="1956"/>
                  </a:lnTo>
                  <a:lnTo>
                    <a:pt x="560" y="2004"/>
                  </a:lnTo>
                  <a:lnTo>
                    <a:pt x="488" y="2050"/>
                  </a:lnTo>
                  <a:lnTo>
                    <a:pt x="424" y="2092"/>
                  </a:lnTo>
                  <a:lnTo>
                    <a:pt x="368" y="2132"/>
                  </a:lnTo>
                  <a:lnTo>
                    <a:pt x="320" y="2168"/>
                  </a:lnTo>
                  <a:lnTo>
                    <a:pt x="280" y="2200"/>
                  </a:lnTo>
                  <a:lnTo>
                    <a:pt x="248" y="2228"/>
                  </a:lnTo>
                  <a:lnTo>
                    <a:pt x="204" y="2268"/>
                  </a:lnTo>
                  <a:lnTo>
                    <a:pt x="190" y="2282"/>
                  </a:lnTo>
                  <a:lnTo>
                    <a:pt x="190" y="2282"/>
                  </a:lnTo>
                  <a:lnTo>
                    <a:pt x="182" y="2280"/>
                  </a:lnTo>
                  <a:lnTo>
                    <a:pt x="172" y="2276"/>
                  </a:lnTo>
                  <a:lnTo>
                    <a:pt x="162" y="2268"/>
                  </a:lnTo>
                  <a:lnTo>
                    <a:pt x="152" y="2258"/>
                  </a:lnTo>
                  <a:lnTo>
                    <a:pt x="144" y="2246"/>
                  </a:lnTo>
                  <a:lnTo>
                    <a:pt x="134" y="2230"/>
                  </a:lnTo>
                  <a:lnTo>
                    <a:pt x="126" y="2212"/>
                  </a:lnTo>
                  <a:lnTo>
                    <a:pt x="116" y="2192"/>
                  </a:lnTo>
                  <a:lnTo>
                    <a:pt x="100" y="2144"/>
                  </a:lnTo>
                  <a:lnTo>
                    <a:pt x="84" y="2086"/>
                  </a:lnTo>
                  <a:lnTo>
                    <a:pt x="70" y="2020"/>
                  </a:lnTo>
                  <a:lnTo>
                    <a:pt x="56" y="1948"/>
                  </a:lnTo>
                  <a:lnTo>
                    <a:pt x="44" y="1866"/>
                  </a:lnTo>
                  <a:lnTo>
                    <a:pt x="32" y="1778"/>
                  </a:lnTo>
                  <a:lnTo>
                    <a:pt x="24" y="1684"/>
                  </a:lnTo>
                  <a:lnTo>
                    <a:pt x="16" y="1584"/>
                  </a:lnTo>
                  <a:lnTo>
                    <a:pt x="8" y="1480"/>
                  </a:lnTo>
                  <a:lnTo>
                    <a:pt x="4" y="1370"/>
                  </a:lnTo>
                  <a:lnTo>
                    <a:pt x="2" y="1258"/>
                  </a:lnTo>
                  <a:lnTo>
                    <a:pt x="0" y="1140"/>
                  </a:lnTo>
                  <a:lnTo>
                    <a:pt x="0" y="1140"/>
                  </a:lnTo>
                  <a:lnTo>
                    <a:pt x="2" y="1024"/>
                  </a:lnTo>
                  <a:lnTo>
                    <a:pt x="4" y="912"/>
                  </a:lnTo>
                  <a:lnTo>
                    <a:pt x="8" y="802"/>
                  </a:lnTo>
                  <a:lnTo>
                    <a:pt x="16" y="696"/>
                  </a:lnTo>
                  <a:lnTo>
                    <a:pt x="24" y="598"/>
                  </a:lnTo>
                  <a:lnTo>
                    <a:pt x="32" y="504"/>
                  </a:lnTo>
                  <a:lnTo>
                    <a:pt x="44" y="416"/>
                  </a:lnTo>
                  <a:lnTo>
                    <a:pt x="56" y="334"/>
                  </a:lnTo>
                  <a:lnTo>
                    <a:pt x="70" y="260"/>
                  </a:lnTo>
                  <a:lnTo>
                    <a:pt x="84" y="196"/>
                  </a:lnTo>
                  <a:lnTo>
                    <a:pt x="100" y="138"/>
                  </a:lnTo>
                  <a:lnTo>
                    <a:pt x="116" y="90"/>
                  </a:lnTo>
                  <a:lnTo>
                    <a:pt x="126" y="70"/>
                  </a:lnTo>
                  <a:lnTo>
                    <a:pt x="134" y="52"/>
                  </a:lnTo>
                  <a:lnTo>
                    <a:pt x="144" y="36"/>
                  </a:lnTo>
                  <a:lnTo>
                    <a:pt x="152" y="24"/>
                  </a:lnTo>
                  <a:lnTo>
                    <a:pt x="162" y="14"/>
                  </a:lnTo>
                  <a:lnTo>
                    <a:pt x="172" y="6"/>
                  </a:lnTo>
                  <a:lnTo>
                    <a:pt x="182" y="2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200" y="14"/>
                  </a:lnTo>
                  <a:lnTo>
                    <a:pt x="214" y="30"/>
                  </a:lnTo>
                  <a:lnTo>
                    <a:pt x="234" y="52"/>
                  </a:lnTo>
                  <a:lnTo>
                    <a:pt x="262" y="78"/>
                  </a:lnTo>
                  <a:lnTo>
                    <a:pt x="296" y="108"/>
                  </a:lnTo>
                  <a:lnTo>
                    <a:pt x="338" y="144"/>
                  </a:lnTo>
                  <a:lnTo>
                    <a:pt x="390" y="182"/>
                  </a:lnTo>
                  <a:lnTo>
                    <a:pt x="450" y="224"/>
                  </a:lnTo>
                  <a:lnTo>
                    <a:pt x="520" y="268"/>
                  </a:lnTo>
                  <a:lnTo>
                    <a:pt x="602" y="316"/>
                  </a:lnTo>
                  <a:lnTo>
                    <a:pt x="694" y="364"/>
                  </a:lnTo>
                  <a:lnTo>
                    <a:pt x="796" y="412"/>
                  </a:lnTo>
                  <a:lnTo>
                    <a:pt x="912" y="462"/>
                  </a:lnTo>
                  <a:lnTo>
                    <a:pt x="976" y="488"/>
                  </a:lnTo>
                  <a:lnTo>
                    <a:pt x="1040" y="512"/>
                  </a:lnTo>
                  <a:lnTo>
                    <a:pt x="1110" y="536"/>
                  </a:lnTo>
                  <a:lnTo>
                    <a:pt x="1182" y="562"/>
                  </a:lnTo>
                  <a:lnTo>
                    <a:pt x="1182" y="562"/>
                  </a:lnTo>
                  <a:lnTo>
                    <a:pt x="1186" y="566"/>
                  </a:lnTo>
                  <a:lnTo>
                    <a:pt x="1198" y="582"/>
                  </a:lnTo>
                  <a:lnTo>
                    <a:pt x="1204" y="596"/>
                  </a:lnTo>
                  <a:lnTo>
                    <a:pt x="1212" y="614"/>
                  </a:lnTo>
                  <a:lnTo>
                    <a:pt x="1220" y="636"/>
                  </a:lnTo>
                  <a:lnTo>
                    <a:pt x="1230" y="664"/>
                  </a:lnTo>
                  <a:lnTo>
                    <a:pt x="1238" y="700"/>
                  </a:lnTo>
                  <a:lnTo>
                    <a:pt x="1246" y="740"/>
                  </a:lnTo>
                  <a:lnTo>
                    <a:pt x="1254" y="788"/>
                  </a:lnTo>
                  <a:lnTo>
                    <a:pt x="1262" y="844"/>
                  </a:lnTo>
                  <a:lnTo>
                    <a:pt x="1266" y="906"/>
                  </a:lnTo>
                  <a:lnTo>
                    <a:pt x="1272" y="978"/>
                  </a:lnTo>
                  <a:lnTo>
                    <a:pt x="1274" y="1060"/>
                  </a:lnTo>
                  <a:lnTo>
                    <a:pt x="1276" y="1150"/>
                  </a:lnTo>
                  <a:lnTo>
                    <a:pt x="1276" y="1150"/>
                  </a:lnTo>
                  <a:lnTo>
                    <a:pt x="1274" y="1240"/>
                  </a:lnTo>
                  <a:lnTo>
                    <a:pt x="1272" y="1320"/>
                  </a:lnTo>
                  <a:lnTo>
                    <a:pt x="1268" y="1392"/>
                  </a:lnTo>
                  <a:lnTo>
                    <a:pt x="1262" y="1452"/>
                  </a:lnTo>
                  <a:lnTo>
                    <a:pt x="1254" y="1506"/>
                  </a:lnTo>
                  <a:lnTo>
                    <a:pt x="1246" y="1552"/>
                  </a:lnTo>
                  <a:lnTo>
                    <a:pt x="1238" y="1590"/>
                  </a:lnTo>
                  <a:lnTo>
                    <a:pt x="1230" y="1622"/>
                  </a:lnTo>
                  <a:lnTo>
                    <a:pt x="1222" y="1648"/>
                  </a:lnTo>
                  <a:lnTo>
                    <a:pt x="1214" y="1668"/>
                  </a:lnTo>
                  <a:lnTo>
                    <a:pt x="1206" y="1684"/>
                  </a:lnTo>
                  <a:lnTo>
                    <a:pt x="1200" y="1694"/>
                  </a:lnTo>
                  <a:lnTo>
                    <a:pt x="1190" y="1708"/>
                  </a:lnTo>
                  <a:lnTo>
                    <a:pt x="1186" y="1710"/>
                  </a:lnTo>
                  <a:lnTo>
                    <a:pt x="1186" y="1710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lumMod val="75000"/>
                  </a:schemeClr>
                </a:gs>
                <a:gs pos="50000">
                  <a:srgbClr val="FFFFFF"/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</a:gradFill>
            <a:ln w="19050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 lIns="557213" rIns="55721" anchor="ctr"/>
            <a:lstStyle/>
            <a:p>
              <a:pPr algn="ctr" defTabSz="557161">
                <a:buClr>
                  <a:srgbClr val="06357A"/>
                </a:buClr>
                <a:defRPr/>
              </a:pPr>
              <a:endParaRPr lang="en-US" sz="609" kern="0">
                <a:solidFill>
                  <a:srgbClr val="06357A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Freeform 310">
              <a:extLst>
                <a:ext uri="{FF2B5EF4-FFF2-40B4-BE49-F238E27FC236}">
                  <a16:creationId xmlns="" xmlns:a16="http://schemas.microsoft.com/office/drawing/2014/main" id="{B9D5DB54-25A8-4CF3-AE62-0D8117C3B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063" y="2106729"/>
              <a:ext cx="606675" cy="1825617"/>
            </a:xfrm>
            <a:custGeom>
              <a:avLst/>
              <a:gdLst>
                <a:gd name="T0" fmla="*/ 2147483647 w 382"/>
                <a:gd name="T1" fmla="*/ 2147483647 h 2282"/>
                <a:gd name="T2" fmla="*/ 2147483647 w 382"/>
                <a:gd name="T3" fmla="*/ 2147483647 h 2282"/>
                <a:gd name="T4" fmla="*/ 2147483647 w 382"/>
                <a:gd name="T5" fmla="*/ 2147483647 h 2282"/>
                <a:gd name="T6" fmla="*/ 2147483647 w 382"/>
                <a:gd name="T7" fmla="*/ 2147483647 h 2282"/>
                <a:gd name="T8" fmla="*/ 2147483647 w 382"/>
                <a:gd name="T9" fmla="*/ 2147483647 h 2282"/>
                <a:gd name="T10" fmla="*/ 2147483647 w 382"/>
                <a:gd name="T11" fmla="*/ 2147483647 h 2282"/>
                <a:gd name="T12" fmla="*/ 2147483647 w 382"/>
                <a:gd name="T13" fmla="*/ 2147483647 h 2282"/>
                <a:gd name="T14" fmla="*/ 2147483647 w 382"/>
                <a:gd name="T15" fmla="*/ 2147483647 h 2282"/>
                <a:gd name="T16" fmla="*/ 2147483647 w 382"/>
                <a:gd name="T17" fmla="*/ 2147483647 h 2282"/>
                <a:gd name="T18" fmla="*/ 2147483647 w 382"/>
                <a:gd name="T19" fmla="*/ 2147483647 h 2282"/>
                <a:gd name="T20" fmla="*/ 2147483647 w 382"/>
                <a:gd name="T21" fmla="*/ 2147483647 h 2282"/>
                <a:gd name="T22" fmla="*/ 2147483647 w 382"/>
                <a:gd name="T23" fmla="*/ 2147483647 h 2282"/>
                <a:gd name="T24" fmla="*/ 2147483647 w 382"/>
                <a:gd name="T25" fmla="*/ 2147483647 h 2282"/>
                <a:gd name="T26" fmla="*/ 2147483647 w 382"/>
                <a:gd name="T27" fmla="*/ 2147483647 h 2282"/>
                <a:gd name="T28" fmla="*/ 2147483647 w 382"/>
                <a:gd name="T29" fmla="*/ 2147483647 h 2282"/>
                <a:gd name="T30" fmla="*/ 2147483647 w 382"/>
                <a:gd name="T31" fmla="*/ 2147483647 h 2282"/>
                <a:gd name="T32" fmla="*/ 2147483647 w 382"/>
                <a:gd name="T33" fmla="*/ 2147483647 h 2282"/>
                <a:gd name="T34" fmla="*/ 2147483647 w 382"/>
                <a:gd name="T35" fmla="*/ 2147483647 h 2282"/>
                <a:gd name="T36" fmla="*/ 2147483647 w 382"/>
                <a:gd name="T37" fmla="*/ 2147483647 h 2282"/>
                <a:gd name="T38" fmla="*/ 2147483647 w 382"/>
                <a:gd name="T39" fmla="*/ 2147483647 h 2282"/>
                <a:gd name="T40" fmla="*/ 2147483647 w 382"/>
                <a:gd name="T41" fmla="*/ 2147483647 h 2282"/>
                <a:gd name="T42" fmla="*/ 0 w 382"/>
                <a:gd name="T43" fmla="*/ 2147483647 h 2282"/>
                <a:gd name="T44" fmla="*/ 2147483647 w 382"/>
                <a:gd name="T45" fmla="*/ 2147483647 h 2282"/>
                <a:gd name="T46" fmla="*/ 2147483647 w 382"/>
                <a:gd name="T47" fmla="*/ 2147483647 h 2282"/>
                <a:gd name="T48" fmla="*/ 2147483647 w 382"/>
                <a:gd name="T49" fmla="*/ 2147483647 h 2282"/>
                <a:gd name="T50" fmla="*/ 2147483647 w 382"/>
                <a:gd name="T51" fmla="*/ 2147483647 h 2282"/>
                <a:gd name="T52" fmla="*/ 2147483647 w 382"/>
                <a:gd name="T53" fmla="*/ 2147483647 h 2282"/>
                <a:gd name="T54" fmla="*/ 2147483647 w 382"/>
                <a:gd name="T55" fmla="*/ 2147483647 h 2282"/>
                <a:gd name="T56" fmla="*/ 2147483647 w 382"/>
                <a:gd name="T57" fmla="*/ 2147483647 h 2282"/>
                <a:gd name="T58" fmla="*/ 2147483647 w 382"/>
                <a:gd name="T59" fmla="*/ 2147483647 h 2282"/>
                <a:gd name="T60" fmla="*/ 2147483647 w 382"/>
                <a:gd name="T61" fmla="*/ 2147483647 h 2282"/>
                <a:gd name="T62" fmla="*/ 2147483647 w 382"/>
                <a:gd name="T63" fmla="*/ 0 h 2282"/>
                <a:gd name="T64" fmla="*/ 2147483647 w 382"/>
                <a:gd name="T65" fmla="*/ 2147483647 h 2282"/>
                <a:gd name="T66" fmla="*/ 2147483647 w 382"/>
                <a:gd name="T67" fmla="*/ 2147483647 h 2282"/>
                <a:gd name="T68" fmla="*/ 2147483647 w 382"/>
                <a:gd name="T69" fmla="*/ 2147483647 h 2282"/>
                <a:gd name="T70" fmla="*/ 2147483647 w 382"/>
                <a:gd name="T71" fmla="*/ 2147483647 h 2282"/>
                <a:gd name="T72" fmla="*/ 2147483647 w 382"/>
                <a:gd name="T73" fmla="*/ 2147483647 h 2282"/>
                <a:gd name="T74" fmla="*/ 2147483647 w 382"/>
                <a:gd name="T75" fmla="*/ 2147483647 h 2282"/>
                <a:gd name="T76" fmla="*/ 2147483647 w 382"/>
                <a:gd name="T77" fmla="*/ 2147483647 h 2282"/>
                <a:gd name="T78" fmla="*/ 2147483647 w 382"/>
                <a:gd name="T79" fmla="*/ 2147483647 h 2282"/>
                <a:gd name="T80" fmla="*/ 2147483647 w 382"/>
                <a:gd name="T81" fmla="*/ 2147483647 h 2282"/>
                <a:gd name="T82" fmla="*/ 2147483647 w 382"/>
                <a:gd name="T83" fmla="*/ 2147483647 h 2282"/>
                <a:gd name="T84" fmla="*/ 2147483647 w 382"/>
                <a:gd name="T85" fmla="*/ 2147483647 h 22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82" h="2282">
                  <a:moveTo>
                    <a:pt x="382" y="1140"/>
                  </a:moveTo>
                  <a:lnTo>
                    <a:pt x="382" y="1140"/>
                  </a:lnTo>
                  <a:lnTo>
                    <a:pt x="380" y="1258"/>
                  </a:lnTo>
                  <a:lnTo>
                    <a:pt x="378" y="1370"/>
                  </a:lnTo>
                  <a:lnTo>
                    <a:pt x="374" y="1480"/>
                  </a:lnTo>
                  <a:lnTo>
                    <a:pt x="366" y="1584"/>
                  </a:lnTo>
                  <a:lnTo>
                    <a:pt x="358" y="1684"/>
                  </a:lnTo>
                  <a:lnTo>
                    <a:pt x="350" y="1778"/>
                  </a:lnTo>
                  <a:lnTo>
                    <a:pt x="338" y="1866"/>
                  </a:lnTo>
                  <a:lnTo>
                    <a:pt x="326" y="1948"/>
                  </a:lnTo>
                  <a:lnTo>
                    <a:pt x="312" y="2020"/>
                  </a:lnTo>
                  <a:lnTo>
                    <a:pt x="298" y="2086"/>
                  </a:lnTo>
                  <a:lnTo>
                    <a:pt x="282" y="2144"/>
                  </a:lnTo>
                  <a:lnTo>
                    <a:pt x="266" y="2192"/>
                  </a:lnTo>
                  <a:lnTo>
                    <a:pt x="256" y="2212"/>
                  </a:lnTo>
                  <a:lnTo>
                    <a:pt x="248" y="2230"/>
                  </a:lnTo>
                  <a:lnTo>
                    <a:pt x="238" y="2246"/>
                  </a:lnTo>
                  <a:lnTo>
                    <a:pt x="230" y="2258"/>
                  </a:lnTo>
                  <a:lnTo>
                    <a:pt x="220" y="2268"/>
                  </a:lnTo>
                  <a:lnTo>
                    <a:pt x="210" y="2276"/>
                  </a:lnTo>
                  <a:lnTo>
                    <a:pt x="200" y="2280"/>
                  </a:lnTo>
                  <a:lnTo>
                    <a:pt x="190" y="2282"/>
                  </a:lnTo>
                  <a:lnTo>
                    <a:pt x="182" y="2280"/>
                  </a:lnTo>
                  <a:lnTo>
                    <a:pt x="172" y="2276"/>
                  </a:lnTo>
                  <a:lnTo>
                    <a:pt x="162" y="2268"/>
                  </a:lnTo>
                  <a:lnTo>
                    <a:pt x="152" y="2258"/>
                  </a:lnTo>
                  <a:lnTo>
                    <a:pt x="144" y="2246"/>
                  </a:lnTo>
                  <a:lnTo>
                    <a:pt x="134" y="2230"/>
                  </a:lnTo>
                  <a:lnTo>
                    <a:pt x="126" y="2212"/>
                  </a:lnTo>
                  <a:lnTo>
                    <a:pt x="116" y="2192"/>
                  </a:lnTo>
                  <a:lnTo>
                    <a:pt x="100" y="2144"/>
                  </a:lnTo>
                  <a:lnTo>
                    <a:pt x="84" y="2086"/>
                  </a:lnTo>
                  <a:lnTo>
                    <a:pt x="70" y="2020"/>
                  </a:lnTo>
                  <a:lnTo>
                    <a:pt x="56" y="1948"/>
                  </a:lnTo>
                  <a:lnTo>
                    <a:pt x="44" y="1866"/>
                  </a:lnTo>
                  <a:lnTo>
                    <a:pt x="32" y="1778"/>
                  </a:lnTo>
                  <a:lnTo>
                    <a:pt x="24" y="1684"/>
                  </a:lnTo>
                  <a:lnTo>
                    <a:pt x="16" y="1584"/>
                  </a:lnTo>
                  <a:lnTo>
                    <a:pt x="8" y="1480"/>
                  </a:lnTo>
                  <a:lnTo>
                    <a:pt x="4" y="1370"/>
                  </a:lnTo>
                  <a:lnTo>
                    <a:pt x="2" y="1258"/>
                  </a:lnTo>
                  <a:lnTo>
                    <a:pt x="0" y="1140"/>
                  </a:lnTo>
                  <a:lnTo>
                    <a:pt x="2" y="1024"/>
                  </a:lnTo>
                  <a:lnTo>
                    <a:pt x="4" y="912"/>
                  </a:lnTo>
                  <a:lnTo>
                    <a:pt x="8" y="802"/>
                  </a:lnTo>
                  <a:lnTo>
                    <a:pt x="16" y="696"/>
                  </a:lnTo>
                  <a:lnTo>
                    <a:pt x="24" y="598"/>
                  </a:lnTo>
                  <a:lnTo>
                    <a:pt x="32" y="504"/>
                  </a:lnTo>
                  <a:lnTo>
                    <a:pt x="44" y="416"/>
                  </a:lnTo>
                  <a:lnTo>
                    <a:pt x="56" y="334"/>
                  </a:lnTo>
                  <a:lnTo>
                    <a:pt x="70" y="260"/>
                  </a:lnTo>
                  <a:lnTo>
                    <a:pt x="84" y="196"/>
                  </a:lnTo>
                  <a:lnTo>
                    <a:pt x="100" y="138"/>
                  </a:lnTo>
                  <a:lnTo>
                    <a:pt x="116" y="90"/>
                  </a:lnTo>
                  <a:lnTo>
                    <a:pt x="126" y="70"/>
                  </a:lnTo>
                  <a:lnTo>
                    <a:pt x="134" y="52"/>
                  </a:lnTo>
                  <a:lnTo>
                    <a:pt x="144" y="36"/>
                  </a:lnTo>
                  <a:lnTo>
                    <a:pt x="152" y="24"/>
                  </a:lnTo>
                  <a:lnTo>
                    <a:pt x="162" y="14"/>
                  </a:lnTo>
                  <a:lnTo>
                    <a:pt x="172" y="6"/>
                  </a:lnTo>
                  <a:lnTo>
                    <a:pt x="182" y="2"/>
                  </a:lnTo>
                  <a:lnTo>
                    <a:pt x="190" y="0"/>
                  </a:lnTo>
                  <a:lnTo>
                    <a:pt x="200" y="2"/>
                  </a:lnTo>
                  <a:lnTo>
                    <a:pt x="210" y="6"/>
                  </a:lnTo>
                  <a:lnTo>
                    <a:pt x="220" y="14"/>
                  </a:lnTo>
                  <a:lnTo>
                    <a:pt x="230" y="24"/>
                  </a:lnTo>
                  <a:lnTo>
                    <a:pt x="238" y="36"/>
                  </a:lnTo>
                  <a:lnTo>
                    <a:pt x="248" y="52"/>
                  </a:lnTo>
                  <a:lnTo>
                    <a:pt x="256" y="70"/>
                  </a:lnTo>
                  <a:lnTo>
                    <a:pt x="266" y="90"/>
                  </a:lnTo>
                  <a:lnTo>
                    <a:pt x="282" y="138"/>
                  </a:lnTo>
                  <a:lnTo>
                    <a:pt x="298" y="196"/>
                  </a:lnTo>
                  <a:lnTo>
                    <a:pt x="312" y="260"/>
                  </a:lnTo>
                  <a:lnTo>
                    <a:pt x="326" y="334"/>
                  </a:lnTo>
                  <a:lnTo>
                    <a:pt x="338" y="416"/>
                  </a:lnTo>
                  <a:lnTo>
                    <a:pt x="350" y="504"/>
                  </a:lnTo>
                  <a:lnTo>
                    <a:pt x="358" y="598"/>
                  </a:lnTo>
                  <a:lnTo>
                    <a:pt x="366" y="696"/>
                  </a:lnTo>
                  <a:lnTo>
                    <a:pt x="374" y="802"/>
                  </a:lnTo>
                  <a:lnTo>
                    <a:pt x="378" y="912"/>
                  </a:lnTo>
                  <a:lnTo>
                    <a:pt x="380" y="1024"/>
                  </a:lnTo>
                  <a:lnTo>
                    <a:pt x="382" y="1140"/>
                  </a:lnTo>
                  <a:close/>
                </a:path>
              </a:pathLst>
            </a:custGeom>
            <a:gradFill flip="none" rotWithShape="1">
              <a:gsLst>
                <a:gs pos="9000">
                  <a:schemeClr val="bg1">
                    <a:lumMod val="65000"/>
                  </a:schemeClr>
                </a:gs>
                <a:gs pos="23000">
                  <a:schemeClr val="bg1">
                    <a:lumMod val="75000"/>
                  </a:schemeClr>
                </a:gs>
                <a:gs pos="69000">
                  <a:schemeClr val="bg1">
                    <a:lumMod val="85000"/>
                  </a:schemeClr>
                </a:gs>
                <a:gs pos="97000">
                  <a:schemeClr val="bg1">
                    <a:lumMod val="9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9050" cmpd="sng">
              <a:solidFill>
                <a:sysClr val="window" lastClr="FFFFFF"/>
              </a:solidFill>
              <a:prstDash val="solid"/>
              <a:round/>
              <a:headEnd/>
              <a:tailEnd/>
            </a:ln>
          </p:spPr>
          <p:txBody>
            <a:bodyPr lIns="111443" rIns="111443" anchor="ctr"/>
            <a:lstStyle/>
            <a:p>
              <a:pPr algn="ctr" defTabSz="557161">
                <a:lnSpc>
                  <a:spcPct val="90000"/>
                </a:lnSpc>
                <a:spcBef>
                  <a:spcPct val="20000"/>
                </a:spcBef>
                <a:buClr>
                  <a:srgbClr val="06357A"/>
                </a:buClr>
                <a:defRPr/>
              </a:pPr>
              <a:endParaRPr lang="en-US" sz="609" kern="0">
                <a:solidFill>
                  <a:srgbClr val="FFFFFF"/>
                </a:solidFill>
                <a:cs typeface="Arial" panose="020B0604020202020204" pitchFamily="34" charset="0"/>
              </a:endParaRPr>
            </a:p>
            <a:p>
              <a:pPr algn="ctr" defTabSz="557161">
                <a:lnSpc>
                  <a:spcPct val="90000"/>
                </a:lnSpc>
                <a:spcBef>
                  <a:spcPct val="20000"/>
                </a:spcBef>
                <a:buClr>
                  <a:srgbClr val="06357A"/>
                </a:buClr>
                <a:defRPr/>
              </a:pPr>
              <a:endParaRPr lang="en-US" sz="609" kern="0">
                <a:solidFill>
                  <a:srgbClr val="FFFFFF"/>
                </a:solidFill>
                <a:cs typeface="Arial" panose="020B0604020202020204" pitchFamily="34" charset="0"/>
              </a:endParaRPr>
            </a:p>
            <a:p>
              <a:pPr algn="ctr" defTabSz="557161">
                <a:lnSpc>
                  <a:spcPct val="90000"/>
                </a:lnSpc>
                <a:spcBef>
                  <a:spcPct val="20000"/>
                </a:spcBef>
                <a:buClr>
                  <a:srgbClr val="06357A"/>
                </a:buClr>
                <a:defRPr/>
              </a:pPr>
              <a:endParaRPr lang="en-US" sz="609"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6" name="Rectangle 118">
            <a:extLst>
              <a:ext uri="{FF2B5EF4-FFF2-40B4-BE49-F238E27FC236}">
                <a16:creationId xmlns="" xmlns:a16="http://schemas.microsoft.com/office/drawing/2014/main" id="{8D556AC3-7A27-4E3B-AA77-E36BF1CB96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9753" y="2180699"/>
            <a:ext cx="2798513" cy="1416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5721" tIns="0" rIns="55721" bIns="0">
            <a:noAutofit/>
          </a:bodyPr>
          <a:lstStyle/>
          <a:p>
            <a:pPr defTabSz="557161">
              <a:buClr>
                <a:srgbClr val="06357A"/>
              </a:buClr>
              <a:defRPr/>
            </a:pPr>
            <a:r>
              <a:rPr lang="ru-RU" sz="1200" b="1" dirty="0">
                <a:solidFill>
                  <a:srgbClr val="9C9C61"/>
                </a:solidFill>
                <a:cs typeface="Arial" panose="020B0604020202020204" pitchFamily="34" charset="0"/>
              </a:rPr>
              <a:t>Формирование «длинного списка» продуктов через призму:</a:t>
            </a:r>
          </a:p>
          <a:p>
            <a:pPr defTabSz="557161">
              <a:buClr>
                <a:srgbClr val="06357A"/>
              </a:buClr>
              <a:defRPr/>
            </a:pPr>
            <a:endParaRPr lang="en-US" sz="1200" b="1" dirty="0">
              <a:solidFill>
                <a:srgbClr val="0070C0"/>
              </a:solidFill>
              <a:cs typeface="Arial" panose="020B0604020202020204" pitchFamily="34" charset="0"/>
            </a:endParaRPr>
          </a:p>
          <a:p>
            <a:pPr marL="104474" indent="-104474" defTabSz="557161"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cs typeface="Arial" panose="020B0604020202020204" pitchFamily="34" charset="0"/>
              </a:rPr>
              <a:t>Наличия внутреннего спроса и потенциала импортозамещения</a:t>
            </a:r>
          </a:p>
          <a:p>
            <a:pPr marL="104474" indent="-104474" defTabSz="557161"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cs typeface="Arial" panose="020B0604020202020204" pitchFamily="34" charset="0"/>
              </a:rPr>
              <a:t>Наличия внешнего спроса на целевых зарубежных рынках</a:t>
            </a:r>
          </a:p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endParaRPr lang="ru-RU" sz="12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endParaRPr lang="ru-RU" sz="1200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sp>
        <p:nvSpPr>
          <p:cNvPr id="107" name="Rectangle 118">
            <a:extLst>
              <a:ext uri="{FF2B5EF4-FFF2-40B4-BE49-F238E27FC236}">
                <a16:creationId xmlns="" xmlns:a16="http://schemas.microsoft.com/office/drawing/2014/main" id="{4CC11681-5EDC-450B-8DEC-9C8FA9A3FC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3443" y="2429447"/>
            <a:ext cx="3239135" cy="1136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5721" tIns="0" rIns="55721" bIns="0">
            <a:noAutofit/>
          </a:bodyPr>
          <a:lstStyle/>
          <a:p>
            <a:pPr defTabSz="557161">
              <a:buClr>
                <a:srgbClr val="06357A"/>
              </a:buClr>
              <a:defRPr/>
            </a:pPr>
            <a:r>
              <a:rPr lang="ru-RU" sz="1200" b="1" dirty="0">
                <a:solidFill>
                  <a:srgbClr val="9C9C61"/>
                </a:solidFill>
                <a:cs typeface="Arial" panose="020B0604020202020204" pitchFamily="34" charset="0"/>
              </a:rPr>
              <a:t>Формирование «короткого списка» продуктов через призму:</a:t>
            </a:r>
          </a:p>
          <a:p>
            <a:pPr defTabSz="557161">
              <a:buClr>
                <a:srgbClr val="06357A"/>
              </a:buClr>
              <a:defRPr/>
            </a:pPr>
            <a:endParaRPr lang="en-US" sz="1200" b="1" dirty="0">
              <a:solidFill>
                <a:srgbClr val="0070C0"/>
              </a:solidFill>
              <a:cs typeface="Arial" panose="020B0604020202020204" pitchFamily="34" charset="0"/>
            </a:endParaRPr>
          </a:p>
          <a:p>
            <a:pPr marL="104474" indent="-104474" defTabSz="557161"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prstClr val="black"/>
                </a:solidFill>
                <a:cs typeface="Arial" panose="020B0604020202020204" pitchFamily="34" charset="0"/>
              </a:rPr>
              <a:t>CAGR</a:t>
            </a:r>
            <a:endParaRPr lang="ru-RU" sz="11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104474" indent="-104474" defTabSz="557161"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cs typeface="Arial" panose="020B0604020202020204" pitchFamily="34" charset="0"/>
              </a:rPr>
              <a:t>Технологической сложности товаров</a:t>
            </a:r>
            <a:endParaRPr lang="en-US" sz="11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104474" indent="-104474" defTabSz="557161"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cs typeface="Arial" panose="020B0604020202020204" pitchFamily="34" charset="0"/>
              </a:rPr>
              <a:t>Наличия базового сырья или сырьевых (промежуточных) товаров</a:t>
            </a:r>
          </a:p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endParaRPr lang="ru-RU" sz="12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104474" indent="-104474" defTabSz="557161">
              <a:spcAft>
                <a:spcPts val="365"/>
              </a:spcAft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20" name="Retângulo 11">
            <a:extLst>
              <a:ext uri="{FF2B5EF4-FFF2-40B4-BE49-F238E27FC236}">
                <a16:creationId xmlns="" xmlns:a16="http://schemas.microsoft.com/office/drawing/2014/main" id="{DA407369-4EFE-4672-B79F-093C4C5139CB}"/>
              </a:ext>
            </a:extLst>
          </p:cNvPr>
          <p:cNvSpPr/>
          <p:nvPr/>
        </p:nvSpPr>
        <p:spPr>
          <a:xfrm>
            <a:off x="985420" y="2212050"/>
            <a:ext cx="36000" cy="288000"/>
          </a:xfrm>
          <a:prstGeom prst="rect">
            <a:avLst/>
          </a:prstGeom>
          <a:solidFill>
            <a:srgbClr val="CAC6AA"/>
          </a:solidFill>
          <a:ln>
            <a:solidFill>
              <a:srgbClr val="CAC6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404040"/>
              </a:solidFill>
            </a:endParaRPr>
          </a:p>
        </p:txBody>
      </p:sp>
      <p:cxnSp>
        <p:nvCxnSpPr>
          <p:cNvPr id="121" name="Соединитель: уступ 120">
            <a:extLst>
              <a:ext uri="{FF2B5EF4-FFF2-40B4-BE49-F238E27FC236}">
                <a16:creationId xmlns="" xmlns:a16="http://schemas.microsoft.com/office/drawing/2014/main" id="{AB6DB957-F789-425E-9A29-FB4AAE0610B8}"/>
              </a:ext>
            </a:extLst>
          </p:cNvPr>
          <p:cNvCxnSpPr>
            <a:cxnSpLocks/>
            <a:stCxn id="120" idx="1"/>
            <a:endCxn id="12" idx="2"/>
          </p:cNvCxnSpPr>
          <p:nvPr/>
        </p:nvCxnSpPr>
        <p:spPr>
          <a:xfrm rot="10800000" flipH="1" flipV="1">
            <a:off x="985419" y="2356049"/>
            <a:ext cx="4156419" cy="2536263"/>
          </a:xfrm>
          <a:prstGeom prst="bentConnector4">
            <a:avLst>
              <a:gd name="adj1" fmla="val -5500"/>
              <a:gd name="adj2" fmla="val 92203"/>
            </a:avLst>
          </a:prstGeom>
          <a:ln>
            <a:solidFill>
              <a:srgbClr val="CAC6AA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tângulo 11">
            <a:extLst>
              <a:ext uri="{FF2B5EF4-FFF2-40B4-BE49-F238E27FC236}">
                <a16:creationId xmlns="" xmlns:a16="http://schemas.microsoft.com/office/drawing/2014/main" id="{00605545-67C8-4D5E-A671-0933FC4AEFF0}"/>
              </a:ext>
            </a:extLst>
          </p:cNvPr>
          <p:cNvSpPr/>
          <p:nvPr/>
        </p:nvSpPr>
        <p:spPr>
          <a:xfrm>
            <a:off x="4751616" y="2486653"/>
            <a:ext cx="36000" cy="288000"/>
          </a:xfrm>
          <a:prstGeom prst="rect">
            <a:avLst/>
          </a:prstGeom>
          <a:solidFill>
            <a:srgbClr val="CAC6AA"/>
          </a:solidFill>
          <a:ln>
            <a:solidFill>
              <a:srgbClr val="CAC6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404040"/>
              </a:solidFill>
            </a:endParaRPr>
          </a:p>
        </p:txBody>
      </p:sp>
      <p:cxnSp>
        <p:nvCxnSpPr>
          <p:cNvPr id="128" name="Соединитель: уступ 127">
            <a:extLst>
              <a:ext uri="{FF2B5EF4-FFF2-40B4-BE49-F238E27FC236}">
                <a16:creationId xmlns="" xmlns:a16="http://schemas.microsoft.com/office/drawing/2014/main" id="{D858E45B-7FA5-4BEF-A015-7F9D47EFEEA4}"/>
              </a:ext>
            </a:extLst>
          </p:cNvPr>
          <p:cNvCxnSpPr>
            <a:cxnSpLocks/>
            <a:stCxn id="127" idx="1"/>
            <a:endCxn id="61" idx="2"/>
          </p:cNvCxnSpPr>
          <p:nvPr/>
        </p:nvCxnSpPr>
        <p:spPr>
          <a:xfrm rot="10800000" flipH="1" flipV="1">
            <a:off x="4751615" y="2630652"/>
            <a:ext cx="3174903" cy="2261007"/>
          </a:xfrm>
          <a:prstGeom prst="bentConnector4">
            <a:avLst>
              <a:gd name="adj1" fmla="val -7200"/>
              <a:gd name="adj2" fmla="val 82071"/>
            </a:avLst>
          </a:prstGeom>
          <a:ln>
            <a:solidFill>
              <a:srgbClr val="CAC6AA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BA2F04D2-C528-4693-98C4-D7D8F5320637}"/>
              </a:ext>
            </a:extLst>
          </p:cNvPr>
          <p:cNvSpPr txBox="1"/>
          <p:nvPr/>
        </p:nvSpPr>
        <p:spPr>
          <a:xfrm>
            <a:off x="8954161" y="5464402"/>
            <a:ext cx="2074133" cy="721109"/>
          </a:xfrm>
          <a:prstGeom prst="homePlate">
            <a:avLst>
              <a:gd name="adj" fmla="val 14962"/>
            </a:avLst>
          </a:prstGeom>
          <a:solidFill>
            <a:srgbClr val="E5E4D4">
              <a:alpha val="85000"/>
            </a:srgbClr>
          </a:solidFill>
          <a:ln>
            <a:solidFill>
              <a:srgbClr val="9C9C6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5721" tIns="0" rIns="55721" bIns="0" anchor="ctr">
            <a:noAutofit/>
          </a:bodyPr>
          <a:lstStyle>
            <a:defPPr>
              <a:defRPr lang="en-GB"/>
            </a:defPPr>
            <a:lvl1pPr>
              <a:defRPr sz="900" baseline="0">
                <a:solidFill>
                  <a:schemeClr val="accent2"/>
                </a:solidFill>
              </a:defRPr>
            </a:lvl1pPr>
          </a:lstStyle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r>
              <a:rPr lang="ru-RU" sz="1200" b="1" dirty="0">
                <a:solidFill>
                  <a:srgbClr val="0097A9"/>
                </a:solidFill>
                <a:cs typeface="Arial" panose="020B0604020202020204" pitchFamily="34" charset="0"/>
              </a:rPr>
              <a:t>«Стратегический список»</a:t>
            </a:r>
          </a:p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15 товаров</a:t>
            </a:r>
            <a:endParaRPr lang="en-US" sz="1200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endParaRPr lang="ru-RU" sz="1050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12" name="Rectangle 118">
            <a:extLst>
              <a:ext uri="{FF2B5EF4-FFF2-40B4-BE49-F238E27FC236}">
                <a16:creationId xmlns="" xmlns:a16="http://schemas.microsoft.com/office/drawing/2014/main" id="{4CC11681-5EDC-450B-8DEC-9C8FA9A3FC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4183" y="3237476"/>
            <a:ext cx="3239135" cy="225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5721" tIns="0" rIns="55721" bIns="0">
            <a:noAutofit/>
          </a:bodyPr>
          <a:lstStyle/>
          <a:p>
            <a:pPr defTabSz="557161">
              <a:buClr>
                <a:srgbClr val="06357A"/>
              </a:buClr>
              <a:defRPr/>
            </a:pPr>
            <a:r>
              <a:rPr lang="ru-RU" sz="1200" b="1" dirty="0">
                <a:solidFill>
                  <a:srgbClr val="9C9C61"/>
                </a:solidFill>
                <a:cs typeface="Arial" panose="020B0604020202020204" pitchFamily="34" charset="0"/>
              </a:rPr>
              <a:t>3. Формирование «стратегического</a:t>
            </a:r>
            <a:r>
              <a:rPr lang="en-US" sz="1200" b="1" dirty="0">
                <a:solidFill>
                  <a:srgbClr val="9C9C61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9C9C61"/>
                </a:solidFill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9C9C61"/>
                </a:solidFill>
                <a:cs typeface="Arial" panose="020B0604020202020204" pitchFamily="34" charset="0"/>
              </a:rPr>
              <a:t>списка» продуктов через призму:</a:t>
            </a:r>
          </a:p>
          <a:p>
            <a:pPr defTabSz="557161">
              <a:buClr>
                <a:srgbClr val="06357A"/>
              </a:buClr>
              <a:defRPr/>
            </a:pPr>
            <a:endParaRPr lang="en-US" sz="1200" b="1" dirty="0">
              <a:solidFill>
                <a:srgbClr val="0070C0"/>
              </a:solidFill>
              <a:cs typeface="Arial" panose="020B0604020202020204" pitchFamily="34" charset="0"/>
            </a:endParaRPr>
          </a:p>
          <a:p>
            <a:pPr marL="104474" indent="-104474" defTabSz="557161">
              <a:spcAft>
                <a:spcPts val="365"/>
              </a:spcAft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cs typeface="Arial" panose="020B0604020202020204" pitchFamily="34" charset="0"/>
              </a:rPr>
              <a:t>Периода окупаемости</a:t>
            </a:r>
          </a:p>
          <a:p>
            <a:pPr marL="104474" indent="-104474" defTabSz="557161">
              <a:spcAft>
                <a:spcPts val="365"/>
              </a:spcAft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cs typeface="Arial" panose="020B0604020202020204" pitchFamily="34" charset="0"/>
              </a:rPr>
              <a:t>Логистических издержек доступа к целевым рынкам</a:t>
            </a:r>
          </a:p>
          <a:p>
            <a:pPr marL="104474" indent="-104474" defTabSz="557161">
              <a:spcAft>
                <a:spcPts val="365"/>
              </a:spcAft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cs typeface="Arial" panose="020B0604020202020204" pitchFamily="34" charset="0"/>
              </a:rPr>
              <a:t>Величины капитальных расходов</a:t>
            </a:r>
          </a:p>
          <a:p>
            <a:pPr marL="104474" indent="-104474" defTabSz="557161">
              <a:spcAft>
                <a:spcPts val="365"/>
              </a:spcAft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cs typeface="Arial" panose="020B0604020202020204" pitchFamily="34" charset="0"/>
              </a:rPr>
              <a:t>Минимальной / Оптимальной мощности </a:t>
            </a:r>
          </a:p>
          <a:p>
            <a:pPr marL="104474" indent="-104474" defTabSz="557161">
              <a:spcAft>
                <a:spcPts val="365"/>
              </a:spcAft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cs typeface="Arial" panose="020B0604020202020204" pitchFamily="34" charset="0"/>
              </a:rPr>
              <a:t>Доступности технологий / лицензий</a:t>
            </a:r>
          </a:p>
          <a:p>
            <a:pPr marL="104474" indent="-104474" defTabSz="557161">
              <a:spcAft>
                <a:spcPts val="365"/>
              </a:spcAft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104474" indent="-104474" defTabSz="557161">
              <a:spcAft>
                <a:spcPts val="365"/>
              </a:spcAft>
              <a:buClr>
                <a:srgbClr val="06357A"/>
              </a:buClr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113" name="Соединитель: уступ 127">
            <a:extLst>
              <a:ext uri="{FF2B5EF4-FFF2-40B4-BE49-F238E27FC236}">
                <a16:creationId xmlns="" xmlns:a16="http://schemas.microsoft.com/office/drawing/2014/main" id="{D858E45B-7FA5-4BEF-A015-7F9D47EFEEA4}"/>
              </a:ext>
            </a:extLst>
          </p:cNvPr>
          <p:cNvCxnSpPr>
            <a:cxnSpLocks/>
            <a:stCxn id="118" idx="3"/>
            <a:endCxn id="111" idx="3"/>
          </p:cNvCxnSpPr>
          <p:nvPr/>
        </p:nvCxnSpPr>
        <p:spPr>
          <a:xfrm flipH="1">
            <a:off x="11028294" y="3383095"/>
            <a:ext cx="664883" cy="2441862"/>
          </a:xfrm>
          <a:prstGeom prst="bentConnector3">
            <a:avLst>
              <a:gd name="adj1" fmla="val -34382"/>
            </a:avLst>
          </a:prstGeom>
          <a:ln>
            <a:solidFill>
              <a:srgbClr val="CAC6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tângulo 11">
            <a:extLst>
              <a:ext uri="{FF2B5EF4-FFF2-40B4-BE49-F238E27FC236}">
                <a16:creationId xmlns="" xmlns:a16="http://schemas.microsoft.com/office/drawing/2014/main" id="{00605545-67C8-4D5E-A671-0933FC4AEFF0}"/>
              </a:ext>
            </a:extLst>
          </p:cNvPr>
          <p:cNvSpPr/>
          <p:nvPr/>
        </p:nvSpPr>
        <p:spPr>
          <a:xfrm>
            <a:off x="11657177" y="3239095"/>
            <a:ext cx="36000" cy="288000"/>
          </a:xfrm>
          <a:prstGeom prst="rect">
            <a:avLst/>
          </a:prstGeom>
          <a:solidFill>
            <a:srgbClr val="CAC6AA"/>
          </a:solidFill>
          <a:ln>
            <a:solidFill>
              <a:srgbClr val="CAC6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404040"/>
              </a:solidFill>
            </a:endParaRPr>
          </a:p>
        </p:txBody>
      </p:sp>
      <p:sp>
        <p:nvSpPr>
          <p:cNvPr id="115" name="Овал 114">
            <a:extLst>
              <a:ext uri="{FF2B5EF4-FFF2-40B4-BE49-F238E27FC236}">
                <a16:creationId xmlns="" xmlns:a16="http://schemas.microsoft.com/office/drawing/2014/main" id="{A70311C9-F4A9-4E49-8425-AA3A6928BFD4}"/>
              </a:ext>
            </a:extLst>
          </p:cNvPr>
          <p:cNvSpPr/>
          <p:nvPr/>
        </p:nvSpPr>
        <p:spPr>
          <a:xfrm>
            <a:off x="1156155" y="2167074"/>
            <a:ext cx="365760" cy="365760"/>
          </a:xfrm>
          <a:prstGeom prst="ellipse">
            <a:avLst/>
          </a:prstGeom>
          <a:solidFill>
            <a:srgbClr val="9C9C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dirty="0">
                <a:solidFill>
                  <a:prstClr val="white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116" name="Овал 115">
            <a:extLst>
              <a:ext uri="{FF2B5EF4-FFF2-40B4-BE49-F238E27FC236}">
                <a16:creationId xmlns="" xmlns:a16="http://schemas.microsoft.com/office/drawing/2014/main" id="{9379FAAE-054F-4145-B41E-F77AD72B8DF8}"/>
              </a:ext>
            </a:extLst>
          </p:cNvPr>
          <p:cNvSpPr/>
          <p:nvPr/>
        </p:nvSpPr>
        <p:spPr>
          <a:xfrm>
            <a:off x="4900877" y="2421107"/>
            <a:ext cx="365760" cy="365760"/>
          </a:xfrm>
          <a:prstGeom prst="ellipse">
            <a:avLst/>
          </a:prstGeom>
          <a:solidFill>
            <a:srgbClr val="9C9C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dirty="0">
                <a:solidFill>
                  <a:prstClr val="white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117" name="Овал 116">
            <a:extLst>
              <a:ext uri="{FF2B5EF4-FFF2-40B4-BE49-F238E27FC236}">
                <a16:creationId xmlns="" xmlns:a16="http://schemas.microsoft.com/office/drawing/2014/main" id="{4A5A5473-1E4F-43EF-A66F-F718692C5DD6}"/>
              </a:ext>
            </a:extLst>
          </p:cNvPr>
          <p:cNvSpPr/>
          <p:nvPr/>
        </p:nvSpPr>
        <p:spPr>
          <a:xfrm>
            <a:off x="8343306" y="3214346"/>
            <a:ext cx="365760" cy="365760"/>
          </a:xfrm>
          <a:prstGeom prst="ellipse">
            <a:avLst/>
          </a:prstGeom>
          <a:solidFill>
            <a:srgbClr val="9C9C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dirty="0">
                <a:solidFill>
                  <a:prstClr val="white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122" name="Freeform 310">
            <a:extLst>
              <a:ext uri="{FF2B5EF4-FFF2-40B4-BE49-F238E27FC236}">
                <a16:creationId xmlns="" xmlns:a16="http://schemas.microsoft.com/office/drawing/2014/main" id="{6C0046C3-1446-4F06-8AA2-40B540AB028E}"/>
              </a:ext>
            </a:extLst>
          </p:cNvPr>
          <p:cNvSpPr>
            <a:spLocks/>
          </p:cNvSpPr>
          <p:nvPr/>
        </p:nvSpPr>
        <p:spPr bwMode="auto">
          <a:xfrm>
            <a:off x="3002263" y="4930195"/>
            <a:ext cx="457200" cy="1738846"/>
          </a:xfrm>
          <a:custGeom>
            <a:avLst/>
            <a:gdLst>
              <a:gd name="T0" fmla="*/ 2147483647 w 382"/>
              <a:gd name="T1" fmla="*/ 2147483647 h 2282"/>
              <a:gd name="T2" fmla="*/ 2147483647 w 382"/>
              <a:gd name="T3" fmla="*/ 2147483647 h 2282"/>
              <a:gd name="T4" fmla="*/ 2147483647 w 382"/>
              <a:gd name="T5" fmla="*/ 2147483647 h 2282"/>
              <a:gd name="T6" fmla="*/ 2147483647 w 382"/>
              <a:gd name="T7" fmla="*/ 2147483647 h 2282"/>
              <a:gd name="T8" fmla="*/ 2147483647 w 382"/>
              <a:gd name="T9" fmla="*/ 2147483647 h 2282"/>
              <a:gd name="T10" fmla="*/ 2147483647 w 382"/>
              <a:gd name="T11" fmla="*/ 2147483647 h 2282"/>
              <a:gd name="T12" fmla="*/ 2147483647 w 382"/>
              <a:gd name="T13" fmla="*/ 2147483647 h 2282"/>
              <a:gd name="T14" fmla="*/ 2147483647 w 382"/>
              <a:gd name="T15" fmla="*/ 2147483647 h 2282"/>
              <a:gd name="T16" fmla="*/ 2147483647 w 382"/>
              <a:gd name="T17" fmla="*/ 2147483647 h 2282"/>
              <a:gd name="T18" fmla="*/ 2147483647 w 382"/>
              <a:gd name="T19" fmla="*/ 2147483647 h 2282"/>
              <a:gd name="T20" fmla="*/ 2147483647 w 382"/>
              <a:gd name="T21" fmla="*/ 2147483647 h 2282"/>
              <a:gd name="T22" fmla="*/ 2147483647 w 382"/>
              <a:gd name="T23" fmla="*/ 2147483647 h 2282"/>
              <a:gd name="T24" fmla="*/ 2147483647 w 382"/>
              <a:gd name="T25" fmla="*/ 2147483647 h 2282"/>
              <a:gd name="T26" fmla="*/ 2147483647 w 382"/>
              <a:gd name="T27" fmla="*/ 2147483647 h 2282"/>
              <a:gd name="T28" fmla="*/ 2147483647 w 382"/>
              <a:gd name="T29" fmla="*/ 2147483647 h 2282"/>
              <a:gd name="T30" fmla="*/ 2147483647 w 382"/>
              <a:gd name="T31" fmla="*/ 2147483647 h 2282"/>
              <a:gd name="T32" fmla="*/ 2147483647 w 382"/>
              <a:gd name="T33" fmla="*/ 2147483647 h 2282"/>
              <a:gd name="T34" fmla="*/ 2147483647 w 382"/>
              <a:gd name="T35" fmla="*/ 2147483647 h 2282"/>
              <a:gd name="T36" fmla="*/ 2147483647 w 382"/>
              <a:gd name="T37" fmla="*/ 2147483647 h 2282"/>
              <a:gd name="T38" fmla="*/ 2147483647 w 382"/>
              <a:gd name="T39" fmla="*/ 2147483647 h 2282"/>
              <a:gd name="T40" fmla="*/ 2147483647 w 382"/>
              <a:gd name="T41" fmla="*/ 2147483647 h 2282"/>
              <a:gd name="T42" fmla="*/ 0 w 382"/>
              <a:gd name="T43" fmla="*/ 2147483647 h 2282"/>
              <a:gd name="T44" fmla="*/ 2147483647 w 382"/>
              <a:gd name="T45" fmla="*/ 2147483647 h 2282"/>
              <a:gd name="T46" fmla="*/ 2147483647 w 382"/>
              <a:gd name="T47" fmla="*/ 2147483647 h 2282"/>
              <a:gd name="T48" fmla="*/ 2147483647 w 382"/>
              <a:gd name="T49" fmla="*/ 2147483647 h 2282"/>
              <a:gd name="T50" fmla="*/ 2147483647 w 382"/>
              <a:gd name="T51" fmla="*/ 2147483647 h 2282"/>
              <a:gd name="T52" fmla="*/ 2147483647 w 382"/>
              <a:gd name="T53" fmla="*/ 2147483647 h 2282"/>
              <a:gd name="T54" fmla="*/ 2147483647 w 382"/>
              <a:gd name="T55" fmla="*/ 2147483647 h 2282"/>
              <a:gd name="T56" fmla="*/ 2147483647 w 382"/>
              <a:gd name="T57" fmla="*/ 2147483647 h 2282"/>
              <a:gd name="T58" fmla="*/ 2147483647 w 382"/>
              <a:gd name="T59" fmla="*/ 2147483647 h 2282"/>
              <a:gd name="T60" fmla="*/ 2147483647 w 382"/>
              <a:gd name="T61" fmla="*/ 2147483647 h 2282"/>
              <a:gd name="T62" fmla="*/ 2147483647 w 382"/>
              <a:gd name="T63" fmla="*/ 0 h 2282"/>
              <a:gd name="T64" fmla="*/ 2147483647 w 382"/>
              <a:gd name="T65" fmla="*/ 2147483647 h 2282"/>
              <a:gd name="T66" fmla="*/ 2147483647 w 382"/>
              <a:gd name="T67" fmla="*/ 2147483647 h 2282"/>
              <a:gd name="T68" fmla="*/ 2147483647 w 382"/>
              <a:gd name="T69" fmla="*/ 2147483647 h 2282"/>
              <a:gd name="T70" fmla="*/ 2147483647 w 382"/>
              <a:gd name="T71" fmla="*/ 2147483647 h 2282"/>
              <a:gd name="T72" fmla="*/ 2147483647 w 382"/>
              <a:gd name="T73" fmla="*/ 2147483647 h 2282"/>
              <a:gd name="T74" fmla="*/ 2147483647 w 382"/>
              <a:gd name="T75" fmla="*/ 2147483647 h 2282"/>
              <a:gd name="T76" fmla="*/ 2147483647 w 382"/>
              <a:gd name="T77" fmla="*/ 2147483647 h 2282"/>
              <a:gd name="T78" fmla="*/ 2147483647 w 382"/>
              <a:gd name="T79" fmla="*/ 2147483647 h 2282"/>
              <a:gd name="T80" fmla="*/ 2147483647 w 382"/>
              <a:gd name="T81" fmla="*/ 2147483647 h 2282"/>
              <a:gd name="T82" fmla="*/ 2147483647 w 382"/>
              <a:gd name="T83" fmla="*/ 2147483647 h 2282"/>
              <a:gd name="T84" fmla="*/ 2147483647 w 382"/>
              <a:gd name="T85" fmla="*/ 2147483647 h 228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82" h="2282">
                <a:moveTo>
                  <a:pt x="382" y="1140"/>
                </a:moveTo>
                <a:lnTo>
                  <a:pt x="382" y="1140"/>
                </a:lnTo>
                <a:lnTo>
                  <a:pt x="380" y="1258"/>
                </a:lnTo>
                <a:lnTo>
                  <a:pt x="378" y="1370"/>
                </a:lnTo>
                <a:lnTo>
                  <a:pt x="374" y="1480"/>
                </a:lnTo>
                <a:lnTo>
                  <a:pt x="366" y="1584"/>
                </a:lnTo>
                <a:lnTo>
                  <a:pt x="358" y="1684"/>
                </a:lnTo>
                <a:lnTo>
                  <a:pt x="350" y="1778"/>
                </a:lnTo>
                <a:lnTo>
                  <a:pt x="338" y="1866"/>
                </a:lnTo>
                <a:lnTo>
                  <a:pt x="326" y="1948"/>
                </a:lnTo>
                <a:lnTo>
                  <a:pt x="312" y="2020"/>
                </a:lnTo>
                <a:lnTo>
                  <a:pt x="298" y="2086"/>
                </a:lnTo>
                <a:lnTo>
                  <a:pt x="282" y="2144"/>
                </a:lnTo>
                <a:lnTo>
                  <a:pt x="266" y="2192"/>
                </a:lnTo>
                <a:lnTo>
                  <a:pt x="256" y="2212"/>
                </a:lnTo>
                <a:lnTo>
                  <a:pt x="248" y="2230"/>
                </a:lnTo>
                <a:lnTo>
                  <a:pt x="238" y="2246"/>
                </a:lnTo>
                <a:lnTo>
                  <a:pt x="230" y="2258"/>
                </a:lnTo>
                <a:lnTo>
                  <a:pt x="220" y="2268"/>
                </a:lnTo>
                <a:lnTo>
                  <a:pt x="210" y="2276"/>
                </a:lnTo>
                <a:lnTo>
                  <a:pt x="200" y="2280"/>
                </a:lnTo>
                <a:lnTo>
                  <a:pt x="190" y="2282"/>
                </a:lnTo>
                <a:lnTo>
                  <a:pt x="182" y="2280"/>
                </a:lnTo>
                <a:lnTo>
                  <a:pt x="172" y="2276"/>
                </a:lnTo>
                <a:lnTo>
                  <a:pt x="162" y="2268"/>
                </a:lnTo>
                <a:lnTo>
                  <a:pt x="152" y="2258"/>
                </a:lnTo>
                <a:lnTo>
                  <a:pt x="144" y="2246"/>
                </a:lnTo>
                <a:lnTo>
                  <a:pt x="134" y="2230"/>
                </a:lnTo>
                <a:lnTo>
                  <a:pt x="126" y="2212"/>
                </a:lnTo>
                <a:lnTo>
                  <a:pt x="116" y="2192"/>
                </a:lnTo>
                <a:lnTo>
                  <a:pt x="100" y="2144"/>
                </a:lnTo>
                <a:lnTo>
                  <a:pt x="84" y="2086"/>
                </a:lnTo>
                <a:lnTo>
                  <a:pt x="70" y="2020"/>
                </a:lnTo>
                <a:lnTo>
                  <a:pt x="56" y="1948"/>
                </a:lnTo>
                <a:lnTo>
                  <a:pt x="44" y="1866"/>
                </a:lnTo>
                <a:lnTo>
                  <a:pt x="32" y="1778"/>
                </a:lnTo>
                <a:lnTo>
                  <a:pt x="24" y="1684"/>
                </a:lnTo>
                <a:lnTo>
                  <a:pt x="16" y="1584"/>
                </a:lnTo>
                <a:lnTo>
                  <a:pt x="8" y="1480"/>
                </a:lnTo>
                <a:lnTo>
                  <a:pt x="4" y="1370"/>
                </a:lnTo>
                <a:lnTo>
                  <a:pt x="2" y="1258"/>
                </a:lnTo>
                <a:lnTo>
                  <a:pt x="0" y="1140"/>
                </a:lnTo>
                <a:lnTo>
                  <a:pt x="2" y="1024"/>
                </a:lnTo>
                <a:lnTo>
                  <a:pt x="4" y="912"/>
                </a:lnTo>
                <a:lnTo>
                  <a:pt x="8" y="802"/>
                </a:lnTo>
                <a:lnTo>
                  <a:pt x="16" y="696"/>
                </a:lnTo>
                <a:lnTo>
                  <a:pt x="24" y="598"/>
                </a:lnTo>
                <a:lnTo>
                  <a:pt x="32" y="504"/>
                </a:lnTo>
                <a:lnTo>
                  <a:pt x="44" y="416"/>
                </a:lnTo>
                <a:lnTo>
                  <a:pt x="56" y="334"/>
                </a:lnTo>
                <a:lnTo>
                  <a:pt x="70" y="260"/>
                </a:lnTo>
                <a:lnTo>
                  <a:pt x="84" y="196"/>
                </a:lnTo>
                <a:lnTo>
                  <a:pt x="100" y="138"/>
                </a:lnTo>
                <a:lnTo>
                  <a:pt x="116" y="90"/>
                </a:lnTo>
                <a:lnTo>
                  <a:pt x="126" y="70"/>
                </a:lnTo>
                <a:lnTo>
                  <a:pt x="134" y="52"/>
                </a:lnTo>
                <a:lnTo>
                  <a:pt x="144" y="36"/>
                </a:lnTo>
                <a:lnTo>
                  <a:pt x="152" y="24"/>
                </a:lnTo>
                <a:lnTo>
                  <a:pt x="162" y="14"/>
                </a:lnTo>
                <a:lnTo>
                  <a:pt x="172" y="6"/>
                </a:lnTo>
                <a:lnTo>
                  <a:pt x="182" y="2"/>
                </a:lnTo>
                <a:lnTo>
                  <a:pt x="190" y="0"/>
                </a:lnTo>
                <a:lnTo>
                  <a:pt x="200" y="2"/>
                </a:lnTo>
                <a:lnTo>
                  <a:pt x="210" y="6"/>
                </a:lnTo>
                <a:lnTo>
                  <a:pt x="220" y="14"/>
                </a:lnTo>
                <a:lnTo>
                  <a:pt x="230" y="24"/>
                </a:lnTo>
                <a:lnTo>
                  <a:pt x="238" y="36"/>
                </a:lnTo>
                <a:lnTo>
                  <a:pt x="248" y="52"/>
                </a:lnTo>
                <a:lnTo>
                  <a:pt x="256" y="70"/>
                </a:lnTo>
                <a:lnTo>
                  <a:pt x="266" y="90"/>
                </a:lnTo>
                <a:lnTo>
                  <a:pt x="282" y="138"/>
                </a:lnTo>
                <a:lnTo>
                  <a:pt x="298" y="196"/>
                </a:lnTo>
                <a:lnTo>
                  <a:pt x="312" y="260"/>
                </a:lnTo>
                <a:lnTo>
                  <a:pt x="326" y="334"/>
                </a:lnTo>
                <a:lnTo>
                  <a:pt x="338" y="416"/>
                </a:lnTo>
                <a:lnTo>
                  <a:pt x="350" y="504"/>
                </a:lnTo>
                <a:lnTo>
                  <a:pt x="358" y="598"/>
                </a:lnTo>
                <a:lnTo>
                  <a:pt x="366" y="696"/>
                </a:lnTo>
                <a:lnTo>
                  <a:pt x="374" y="802"/>
                </a:lnTo>
                <a:lnTo>
                  <a:pt x="378" y="912"/>
                </a:lnTo>
                <a:lnTo>
                  <a:pt x="380" y="1024"/>
                </a:lnTo>
                <a:lnTo>
                  <a:pt x="382" y="1140"/>
                </a:lnTo>
                <a:close/>
              </a:path>
            </a:pathLst>
          </a:custGeom>
          <a:gradFill flip="none" rotWithShape="1">
            <a:gsLst>
              <a:gs pos="50000">
                <a:schemeClr val="bg1">
                  <a:lumMod val="65000"/>
                </a:schemeClr>
              </a:gs>
              <a:gs pos="20000">
                <a:schemeClr val="bg1">
                  <a:lumMod val="95000"/>
                </a:schemeClr>
              </a:gs>
              <a:gs pos="80000">
                <a:schemeClr val="bg1">
                  <a:lumMod val="95000"/>
                </a:schemeClr>
              </a:gs>
            </a:gsLst>
            <a:lin ang="16200000" scaled="1"/>
            <a:tileRect/>
          </a:gradFill>
          <a:ln w="19050" cmpd="sng">
            <a:noFill/>
            <a:prstDash val="solid"/>
            <a:round/>
            <a:headEnd/>
            <a:tailEnd/>
          </a:ln>
        </p:spPr>
        <p:txBody>
          <a:bodyPr lIns="111443" rIns="111443" anchor="ctr"/>
          <a:lstStyle/>
          <a:p>
            <a:pPr algn="ctr" defTabSz="557161">
              <a:lnSpc>
                <a:spcPct val="90000"/>
              </a:lnSpc>
              <a:spcBef>
                <a:spcPct val="20000"/>
              </a:spcBef>
              <a:buClr>
                <a:srgbClr val="06357A"/>
              </a:buClr>
              <a:defRPr/>
            </a:pPr>
            <a:endParaRPr lang="en-US" sz="609" kern="0">
              <a:solidFill>
                <a:srgbClr val="FFFFFF"/>
              </a:solidFill>
              <a:cs typeface="Arial" panose="020B0604020202020204" pitchFamily="34" charset="0"/>
            </a:endParaRPr>
          </a:p>
          <a:p>
            <a:pPr algn="ctr" defTabSz="557161">
              <a:lnSpc>
                <a:spcPct val="90000"/>
              </a:lnSpc>
              <a:spcBef>
                <a:spcPct val="20000"/>
              </a:spcBef>
              <a:buClr>
                <a:srgbClr val="06357A"/>
              </a:buClr>
              <a:defRPr/>
            </a:pPr>
            <a:endParaRPr lang="en-US" sz="609" kern="0">
              <a:solidFill>
                <a:srgbClr val="FFFFFF"/>
              </a:solidFill>
              <a:cs typeface="Arial" panose="020B0604020202020204" pitchFamily="34" charset="0"/>
            </a:endParaRPr>
          </a:p>
          <a:p>
            <a:pPr algn="ctr" defTabSz="557161">
              <a:lnSpc>
                <a:spcPct val="90000"/>
              </a:lnSpc>
              <a:spcBef>
                <a:spcPct val="20000"/>
              </a:spcBef>
              <a:buClr>
                <a:srgbClr val="06357A"/>
              </a:buClr>
              <a:defRPr/>
            </a:pPr>
            <a:endParaRPr lang="en-US" sz="609" ker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="" xmlns:a16="http://schemas.microsoft.com/office/drawing/2014/main" id="{BA2F04D2-C528-4693-98C4-D7D8F5320637}"/>
              </a:ext>
            </a:extLst>
          </p:cNvPr>
          <p:cNvSpPr txBox="1"/>
          <p:nvPr/>
        </p:nvSpPr>
        <p:spPr>
          <a:xfrm>
            <a:off x="1708640" y="3635437"/>
            <a:ext cx="2190003" cy="712441"/>
          </a:xfrm>
          <a:prstGeom prst="homePlate">
            <a:avLst>
              <a:gd name="adj" fmla="val 14962"/>
            </a:avLst>
          </a:prstGeom>
          <a:solidFill>
            <a:srgbClr val="E5E4D4">
              <a:alpha val="85000"/>
            </a:srgbClr>
          </a:solidFill>
          <a:ln>
            <a:solidFill>
              <a:srgbClr val="9C9C6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5721" tIns="0" rIns="55721" bIns="0" anchor="ctr">
            <a:noAutofit/>
          </a:bodyPr>
          <a:lstStyle>
            <a:defPPr>
              <a:defRPr lang="en-GB"/>
            </a:defPPr>
            <a:lvl1pPr>
              <a:defRPr sz="900" baseline="0">
                <a:solidFill>
                  <a:schemeClr val="accent2"/>
                </a:solidFill>
              </a:defRPr>
            </a:lvl1pPr>
          </a:lstStyle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r>
              <a:rPr lang="ru-RU" sz="1200" b="1" dirty="0">
                <a:solidFill>
                  <a:srgbClr val="0097A9"/>
                </a:solidFill>
                <a:cs typeface="Arial" panose="020B0604020202020204" pitchFamily="34" charset="0"/>
              </a:rPr>
              <a:t>«Длинный список»</a:t>
            </a:r>
          </a:p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130 товаров/товарных групп на 6 знаках ТН ВЭД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="" xmlns:a16="http://schemas.microsoft.com/office/drawing/2014/main" id="{BA2F04D2-C528-4693-98C4-D7D8F5320637}"/>
              </a:ext>
            </a:extLst>
          </p:cNvPr>
          <p:cNvSpPr txBox="1"/>
          <p:nvPr/>
        </p:nvSpPr>
        <p:spPr>
          <a:xfrm>
            <a:off x="5393765" y="3708347"/>
            <a:ext cx="2190003" cy="712441"/>
          </a:xfrm>
          <a:prstGeom prst="homePlate">
            <a:avLst>
              <a:gd name="adj" fmla="val 14962"/>
            </a:avLst>
          </a:prstGeom>
          <a:solidFill>
            <a:srgbClr val="E5E4D4">
              <a:alpha val="85000"/>
            </a:srgbClr>
          </a:solidFill>
          <a:ln>
            <a:solidFill>
              <a:srgbClr val="9C9C6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5721" tIns="0" rIns="55721" bIns="0" anchor="ctr">
            <a:noAutofit/>
          </a:bodyPr>
          <a:lstStyle>
            <a:defPPr>
              <a:defRPr lang="en-GB"/>
            </a:defPPr>
            <a:lvl1pPr>
              <a:defRPr sz="900" baseline="0">
                <a:solidFill>
                  <a:schemeClr val="accent2"/>
                </a:solidFill>
              </a:defRPr>
            </a:lvl1pPr>
          </a:lstStyle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r>
              <a:rPr lang="ru-RU" sz="1200" b="1" dirty="0">
                <a:solidFill>
                  <a:srgbClr val="0097A9"/>
                </a:solidFill>
                <a:cs typeface="Arial" panose="020B0604020202020204" pitchFamily="34" charset="0"/>
              </a:rPr>
              <a:t>«Короткий список»</a:t>
            </a:r>
          </a:p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20 товаров/товарных групп на 6 знаках ТН ВЭД</a:t>
            </a:r>
          </a:p>
        </p:txBody>
      </p:sp>
      <p:sp>
        <p:nvSpPr>
          <p:cNvPr id="135" name="Овал 118">
            <a:extLst>
              <a:ext uri="{FF2B5EF4-FFF2-40B4-BE49-F238E27FC236}">
                <a16:creationId xmlns="" xmlns:a16="http://schemas.microsoft.com/office/drawing/2014/main" id="{5CCAC208-1B5A-4CCA-B2D9-167D24C6A201}"/>
              </a:ext>
            </a:extLst>
          </p:cNvPr>
          <p:cNvSpPr/>
          <p:nvPr/>
        </p:nvSpPr>
        <p:spPr>
          <a:xfrm>
            <a:off x="529145" y="1671697"/>
            <a:ext cx="365760" cy="365760"/>
          </a:xfrm>
          <a:prstGeom prst="ellipse">
            <a:avLst/>
          </a:prstGeom>
          <a:solidFill>
            <a:srgbClr val="9C9C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dirty="0">
                <a:solidFill>
                  <a:prstClr val="white"/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137" name="Rectangle 118">
            <a:extLst>
              <a:ext uri="{FF2B5EF4-FFF2-40B4-BE49-F238E27FC236}">
                <a16:creationId xmlns="" xmlns:a16="http://schemas.microsoft.com/office/drawing/2014/main" id="{7BEE1046-2689-4DD2-9B9E-66F382E9C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642" y="1589720"/>
            <a:ext cx="2514851" cy="60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5721" tIns="0" rIns="55721" bIns="0">
            <a:noAutofit/>
          </a:bodyPr>
          <a:lstStyle/>
          <a:p>
            <a:pPr defTabSz="557161">
              <a:buClr>
                <a:srgbClr val="06357A"/>
              </a:buClr>
              <a:defRPr/>
            </a:pPr>
            <a:r>
              <a:rPr lang="ru-RU" sz="1200" b="1" dirty="0">
                <a:solidFill>
                  <a:srgbClr val="9C9C61"/>
                </a:solidFill>
                <a:cs typeface="Arial" panose="020B0604020202020204" pitchFamily="34" charset="0"/>
              </a:rPr>
              <a:t>Формирование общего списка продуктов химической отрасли</a:t>
            </a:r>
            <a:endParaRPr lang="ru-RU" sz="1200" dirty="0">
              <a:solidFill>
                <a:srgbClr val="9C9C61"/>
              </a:solidFill>
              <a:cs typeface="Arial" panose="020B0604020202020204" pitchFamily="34" charset="0"/>
            </a:endParaRPr>
          </a:p>
        </p:txBody>
      </p:sp>
      <p:sp>
        <p:nvSpPr>
          <p:cNvPr id="141" name="Retângulo 11">
            <a:extLst>
              <a:ext uri="{FF2B5EF4-FFF2-40B4-BE49-F238E27FC236}">
                <a16:creationId xmlns="" xmlns:a16="http://schemas.microsoft.com/office/drawing/2014/main" id="{5A501BEC-A6A9-46E2-94BF-018A6EA20EB6}"/>
              </a:ext>
            </a:extLst>
          </p:cNvPr>
          <p:cNvSpPr/>
          <p:nvPr/>
        </p:nvSpPr>
        <p:spPr>
          <a:xfrm>
            <a:off x="448002" y="1710211"/>
            <a:ext cx="36000" cy="288000"/>
          </a:xfrm>
          <a:prstGeom prst="rect">
            <a:avLst/>
          </a:prstGeom>
          <a:solidFill>
            <a:srgbClr val="CAC6AA"/>
          </a:solidFill>
          <a:ln>
            <a:solidFill>
              <a:srgbClr val="CAC6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rgbClr val="404040"/>
              </a:solidFill>
            </a:endParaRPr>
          </a:p>
        </p:txBody>
      </p:sp>
      <p:cxnSp>
        <p:nvCxnSpPr>
          <p:cNvPr id="142" name="Соединитель: уступ 120">
            <a:extLst>
              <a:ext uri="{FF2B5EF4-FFF2-40B4-BE49-F238E27FC236}">
                <a16:creationId xmlns="" xmlns:a16="http://schemas.microsoft.com/office/drawing/2014/main" id="{66FCB4D4-E65F-4E05-9D15-84E2C62FFDB4}"/>
              </a:ext>
            </a:extLst>
          </p:cNvPr>
          <p:cNvCxnSpPr>
            <a:cxnSpLocks/>
            <a:stCxn id="141" idx="1"/>
          </p:cNvCxnSpPr>
          <p:nvPr/>
        </p:nvCxnSpPr>
        <p:spPr>
          <a:xfrm rot="10800000" flipH="1" flipV="1">
            <a:off x="448002" y="1854211"/>
            <a:ext cx="2423730" cy="3993006"/>
          </a:xfrm>
          <a:prstGeom prst="bentConnector3">
            <a:avLst>
              <a:gd name="adj1" fmla="val -9432"/>
            </a:avLst>
          </a:prstGeom>
          <a:ln>
            <a:solidFill>
              <a:srgbClr val="CAC6AA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ee4pFootnotes">
            <a:extLst>
              <a:ext uri="{FF2B5EF4-FFF2-40B4-BE49-F238E27FC236}">
                <a16:creationId xmlns="" xmlns:a16="http://schemas.microsoft.com/office/drawing/2014/main" id="{86BFC473-06EC-4923-BEEC-71359912C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417" y="6704478"/>
            <a:ext cx="2711377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ru-RU" sz="800" dirty="0">
                <a:solidFill>
                  <a:prstClr val="black"/>
                </a:solidFill>
                <a:cs typeface="Arial" panose="020B0604020202020204" pitchFamily="34" charset="0"/>
                <a:sym typeface="Trebuchet MS" panose="020B0603020202020204" pitchFamily="34" charset="0"/>
              </a:rPr>
              <a:t>Источник</a:t>
            </a:r>
            <a:r>
              <a:rPr lang="en-US" sz="800" dirty="0">
                <a:solidFill>
                  <a:prstClr val="black"/>
                </a:solidFill>
                <a:cs typeface="Arial" panose="020B0604020202020204" pitchFamily="34" charset="0"/>
                <a:sym typeface="Trebuchet MS" panose="020B0603020202020204" pitchFamily="34" charset="0"/>
              </a:rPr>
              <a:t>:</a:t>
            </a:r>
            <a:r>
              <a:rPr lang="ru-RU" sz="800" dirty="0">
                <a:solidFill>
                  <a:prstClr val="black"/>
                </a:solidFill>
                <a:cs typeface="Arial" panose="020B0604020202020204" pitchFamily="34" charset="0"/>
                <a:sym typeface="Trebuchet MS" panose="020B0603020202020204" pitchFamily="34" charset="0"/>
              </a:rPr>
              <a:t> анализ </a:t>
            </a:r>
            <a:r>
              <a:rPr lang="en-US" sz="800" dirty="0">
                <a:solidFill>
                  <a:prstClr val="black"/>
                </a:solidFill>
                <a:cs typeface="Arial" panose="020B0604020202020204" pitchFamily="34" charset="0"/>
                <a:sym typeface="Trebuchet MS" panose="020B0603020202020204" pitchFamily="34" charset="0"/>
              </a:rPr>
              <a:t>Dasco Consulting Group</a:t>
            </a:r>
            <a:r>
              <a:rPr lang="ru-RU" sz="800" dirty="0">
                <a:solidFill>
                  <a:prstClr val="black"/>
                </a:solidFill>
                <a:cs typeface="Arial" panose="020B0604020202020204" pitchFamily="34" charset="0"/>
                <a:sym typeface="Trebuchet MS" panose="020B0603020202020204" pitchFamily="34" charset="0"/>
              </a:rPr>
              <a:t>, </a:t>
            </a:r>
            <a:r>
              <a:rPr lang="en-GB" sz="800" dirty="0">
                <a:solidFill>
                  <a:prstClr val="black"/>
                </a:solidFill>
                <a:cs typeface="Arial" panose="020B0604020202020204" pitchFamily="34" charset="0"/>
                <a:sym typeface="Trebuchet MS" panose="020B0603020202020204" pitchFamily="34" charset="0"/>
              </a:rPr>
              <a:t>UN </a:t>
            </a:r>
            <a:r>
              <a:rPr lang="en-GB" sz="800" dirty="0" err="1">
                <a:solidFill>
                  <a:prstClr val="black"/>
                </a:solidFill>
                <a:cs typeface="Arial" panose="020B0604020202020204" pitchFamily="34" charset="0"/>
                <a:sym typeface="Trebuchet MS" panose="020B0603020202020204" pitchFamily="34" charset="0"/>
              </a:rPr>
              <a:t>ComTrade</a:t>
            </a:r>
            <a:endParaRPr lang="en-US" sz="800" dirty="0">
              <a:solidFill>
                <a:prstClr val="black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="" xmlns:a16="http://schemas.microsoft.com/office/drawing/2014/main" id="{BA2F04D2-C528-4693-98C4-D7D8F5320637}"/>
              </a:ext>
            </a:extLst>
          </p:cNvPr>
          <p:cNvSpPr txBox="1"/>
          <p:nvPr/>
        </p:nvSpPr>
        <p:spPr>
          <a:xfrm>
            <a:off x="449318" y="5499836"/>
            <a:ext cx="2190003" cy="712441"/>
          </a:xfrm>
          <a:prstGeom prst="homePlate">
            <a:avLst>
              <a:gd name="adj" fmla="val 14962"/>
            </a:avLst>
          </a:prstGeom>
          <a:solidFill>
            <a:srgbClr val="E5E4D4"/>
          </a:solidFill>
          <a:ln w="9525">
            <a:solidFill>
              <a:srgbClr val="9C9C6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5721" tIns="0" rIns="55721" bIns="0" anchor="ctr">
            <a:noAutofit/>
          </a:bodyPr>
          <a:lstStyle>
            <a:defPPr>
              <a:defRPr lang="en-GB"/>
            </a:defPPr>
            <a:lvl1pPr>
              <a:defRPr sz="900" baseline="0">
                <a:solidFill>
                  <a:schemeClr val="accent2"/>
                </a:solidFill>
              </a:defRPr>
            </a:lvl1pPr>
          </a:lstStyle>
          <a:p>
            <a:pPr defTabSz="557161">
              <a:spcAft>
                <a:spcPts val="365"/>
              </a:spcAft>
              <a:buClr>
                <a:srgbClr val="06357A"/>
              </a:buClr>
              <a:defRPr/>
            </a:pPr>
            <a:r>
              <a:rPr lang="en-GB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814</a:t>
            </a: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 товаров/товарных групп на 6 знаках ТН ВЭД</a:t>
            </a:r>
          </a:p>
        </p:txBody>
      </p:sp>
      <p:sp>
        <p:nvSpPr>
          <p:cNvPr id="129" name="Заголовок 2">
            <a:extLst>
              <a:ext uri="{FF2B5EF4-FFF2-40B4-BE49-F238E27FC236}">
                <a16:creationId xmlns="" xmlns:a16="http://schemas.microsoft.com/office/drawing/2014/main" id="{1452D7F4-51A3-4F17-8564-71CA188299E6}"/>
              </a:ext>
            </a:extLst>
          </p:cNvPr>
          <p:cNvSpPr txBox="1">
            <a:spLocks/>
          </p:cNvSpPr>
          <p:nvPr/>
        </p:nvSpPr>
        <p:spPr>
          <a:xfrm>
            <a:off x="8258783" y="1317598"/>
            <a:ext cx="3544108" cy="926393"/>
          </a:xfrm>
          <a:prstGeom prst="roundRect">
            <a:avLst>
              <a:gd name="adj" fmla="val 29268"/>
            </a:avLst>
          </a:prstGeom>
          <a:ln>
            <a:solidFill>
              <a:srgbClr val="B8AE8A"/>
            </a:solidFill>
          </a:ln>
        </p:spPr>
        <p:txBody>
          <a:bodyPr vert="horz" lIns="0" tIns="0" rIns="0" bIns="0" rtlCol="0" anchor="t">
            <a:normAutofit fontScale="92500" lnSpcReduction="10000"/>
          </a:bodyPr>
          <a:lstStyle>
            <a:lvl1pPr algn="l" defTabSz="1129598" rtl="0" eaLnBrk="1" latinLnBrk="0" hangingPunct="1">
              <a:spcBef>
                <a:spcPct val="0"/>
              </a:spcBef>
              <a:buNone/>
              <a:defRPr sz="1814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pPr marL="179388" indent="-179388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Формирование Пула проектов не ограничивается данной методологией, т.к. каждый проект уникален  </a:t>
            </a:r>
          </a:p>
          <a:p>
            <a:pPr marL="179388" indent="-179388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Актуализация Пула перспективных проектов будет  осуществляется на периодической основе</a:t>
            </a:r>
          </a:p>
        </p:txBody>
      </p:sp>
      <p:sp>
        <p:nvSpPr>
          <p:cNvPr id="130" name="Slide Number Placeholder 5">
            <a:extLst>
              <a:ext uri="{FF2B5EF4-FFF2-40B4-BE49-F238E27FC236}">
                <a16:creationId xmlns="" xmlns:a16="http://schemas.microsoft.com/office/drawing/2014/main" id="{53717577-3EFF-4497-ACAC-1F24A6F3E3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174" y="6500407"/>
            <a:ext cx="6731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D507AC-B450-46A2-BCC1-843EBF1672EA}" type="slidenum">
              <a:rPr lang="en-US" sz="1800" b="1" smtClean="0">
                <a:solidFill>
                  <a:prstClr val="black">
                    <a:tint val="7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/>
              <a:t>17</a:t>
            </a:fld>
            <a:endParaRPr lang="en-US" sz="1800" b="1" dirty="0">
              <a:solidFill>
                <a:prstClr val="black">
                  <a:tint val="75000"/>
                </a:prst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2290" name="Picture 2" descr="https://cdn-icons-png.flaticon.com/512/3899/3899594.png">
            <a:extLst>
              <a:ext uri="{FF2B5EF4-FFF2-40B4-BE49-F238E27FC236}">
                <a16:creationId xmlns="" xmlns:a16="http://schemas.microsoft.com/office/drawing/2014/main" id="{D9B6D7DA-EDA9-47B8-99FF-50FAB7B125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rgbClr val="96975B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423" y="1438661"/>
            <a:ext cx="73152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Рисунок 130">
            <a:extLst>
              <a:ext uri="{FF2B5EF4-FFF2-40B4-BE49-F238E27FC236}">
                <a16:creationId xmlns="" xmlns:a16="http://schemas.microsoft.com/office/drawing/2014/main" id="{90662EDF-3B7C-D0DE-3050-E8DEB0ECEBD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197505" y="5849571"/>
            <a:ext cx="973425" cy="989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376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7612001-619B-4C67-8CCF-73292AD74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962" y="1172148"/>
            <a:ext cx="8365838" cy="372000"/>
          </a:xfrm>
        </p:spPr>
        <p:txBody>
          <a:bodyPr>
            <a:noAutofit/>
          </a:bodyPr>
          <a:lstStyle/>
          <a:p>
            <a:r>
              <a:rPr lang="ru-RU" sz="1633" kern="0" dirty="0">
                <a:solidFill>
                  <a:srgbClr val="000000"/>
                </a:solidFill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Перечень потенциальных проектов, находящихся в «</a:t>
            </a:r>
            <a:r>
              <a:rPr lang="ru-RU" sz="1633" kern="0" dirty="0" err="1">
                <a:solidFill>
                  <a:srgbClr val="000000"/>
                </a:solidFill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пайплайне</a:t>
            </a:r>
            <a:r>
              <a:rPr lang="ru-RU" sz="1633" kern="0" dirty="0">
                <a:solidFill>
                  <a:srgbClr val="000000"/>
                </a:solidFill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» стратегии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="" xmlns:a16="http://schemas.microsoft.com/office/drawing/2014/main" id="{CDF80F92-84A6-4F9C-9C44-707231A82796}"/>
              </a:ext>
            </a:extLst>
          </p:cNvPr>
          <p:cNvGraphicFramePr>
            <a:graphicFrameLocks noGrp="1"/>
          </p:cNvGraphicFramePr>
          <p:nvPr/>
        </p:nvGraphicFramePr>
        <p:xfrm>
          <a:off x="1388962" y="3720659"/>
          <a:ext cx="3199891" cy="1280779"/>
        </p:xfrm>
        <a:graphic>
          <a:graphicData uri="http://schemas.openxmlformats.org/drawingml/2006/table">
            <a:tbl>
              <a:tblPr firstRow="1">
                <a:tableStyleId>{5FD0F851-EC5A-4D38-B0AD-8093EC10F338}</a:tableStyleId>
              </a:tblPr>
              <a:tblGrid>
                <a:gridCol w="387846">
                  <a:extLst>
                    <a:ext uri="{9D8B030D-6E8A-4147-A177-3AD203B41FA5}">
                      <a16:colId xmlns="" xmlns:a16="http://schemas.microsoft.com/office/drawing/2014/main" val="3220678537"/>
                    </a:ext>
                  </a:extLst>
                </a:gridCol>
                <a:gridCol w="1530298">
                  <a:extLst>
                    <a:ext uri="{9D8B030D-6E8A-4147-A177-3AD203B41FA5}">
                      <a16:colId xmlns="" xmlns:a16="http://schemas.microsoft.com/office/drawing/2014/main" val="4267512186"/>
                    </a:ext>
                  </a:extLst>
                </a:gridCol>
                <a:gridCol w="1281747">
                  <a:extLst>
                    <a:ext uri="{9D8B030D-6E8A-4147-A177-3AD203B41FA5}">
                      <a16:colId xmlns="" xmlns:a16="http://schemas.microsoft.com/office/drawing/2014/main" val="4137756154"/>
                    </a:ext>
                  </a:extLst>
                </a:gridCol>
              </a:tblGrid>
              <a:tr h="202914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u="none" strike="noStrike" dirty="0">
                          <a:effectLst/>
                        </a:rPr>
                        <a:t>№</a:t>
                      </a:r>
                      <a:endParaRPr lang="ru-RU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u="none" strike="noStrike" dirty="0">
                          <a:effectLst/>
                        </a:rPr>
                        <a:t>Наименование</a:t>
                      </a:r>
                      <a:endParaRPr lang="ru-RU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u="none" strike="noStrike" dirty="0">
                          <a:effectLst/>
                        </a:rPr>
                        <a:t>Сектор</a:t>
                      </a:r>
                      <a:endParaRPr lang="ru-RU" sz="11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57324240"/>
                  </a:ext>
                </a:extLst>
              </a:tr>
              <a:tr h="195560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1" u="none" strike="noStrike" dirty="0">
                          <a:solidFill>
                            <a:srgbClr val="ED8B00"/>
                          </a:solidFill>
                          <a:effectLst/>
                        </a:rPr>
                        <a:t>1</a:t>
                      </a:r>
                      <a:endParaRPr lang="ru-RU" sz="1100" b="1" i="0" u="none" strike="noStrike" dirty="0">
                        <a:solidFill>
                          <a:srgbClr val="ED8B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u="none" strike="noStrike" dirty="0">
                          <a:solidFill>
                            <a:srgbClr val="ED8B00"/>
                          </a:solidFill>
                          <a:effectLst/>
                        </a:rPr>
                        <a:t>Сульфат аммония</a:t>
                      </a:r>
                      <a:endParaRPr lang="ru-RU" sz="1100" b="1" i="0" u="none" strike="noStrike" dirty="0">
                        <a:solidFill>
                          <a:srgbClr val="ED8B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u="none" strike="noStrike" dirty="0">
                          <a:solidFill>
                            <a:srgbClr val="ED8B00"/>
                          </a:solidFill>
                          <a:effectLst/>
                        </a:rPr>
                        <a:t>Агрохимия</a:t>
                      </a:r>
                      <a:endParaRPr lang="ru-RU" sz="1100" b="1" i="0" u="none" strike="noStrike" dirty="0">
                        <a:solidFill>
                          <a:srgbClr val="ED8B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60188210"/>
                  </a:ext>
                </a:extLst>
              </a:tr>
              <a:tr h="195560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u="none" strike="noStrike" dirty="0">
                          <a:effectLst/>
                        </a:rPr>
                        <a:t>2</a:t>
                      </a:r>
                      <a:endParaRPr lang="ru-RU" sz="11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Мочевина (Карбамид)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Агрохим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937128116"/>
                  </a:ext>
                </a:extLst>
              </a:tr>
              <a:tr h="195560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u="none" strike="noStrike" dirty="0">
                          <a:effectLst/>
                        </a:rPr>
                        <a:t>3</a:t>
                      </a:r>
                      <a:endParaRPr lang="ru-RU" sz="11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Нитрат аммония (</a:t>
                      </a:r>
                      <a:r>
                        <a:rPr lang="en-US" sz="1000" u="none" strike="noStrike" dirty="0">
                          <a:effectLst/>
                        </a:rPr>
                        <a:t>C</a:t>
                      </a:r>
                      <a:r>
                        <a:rPr lang="ru-RU" sz="1000" u="none" strike="noStrike" dirty="0" err="1">
                          <a:effectLst/>
                        </a:rPr>
                        <a:t>елитра</a:t>
                      </a:r>
                      <a:r>
                        <a:rPr lang="ru-RU" sz="1000" u="none" strike="noStrike" dirty="0">
                          <a:effectLst/>
                        </a:rPr>
                        <a:t>)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Агрохим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631658958"/>
                  </a:ext>
                </a:extLst>
              </a:tr>
              <a:tr h="491185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 err="1">
                          <a:effectLst/>
                        </a:rPr>
                        <a:t>Моноаммоний</a:t>
                      </a:r>
                      <a:r>
                        <a:rPr lang="ru-RU" sz="1000" u="none" strike="noStrike" dirty="0">
                          <a:effectLst/>
                        </a:rPr>
                        <a:t> фосфат (</a:t>
                      </a:r>
                      <a:r>
                        <a:rPr lang="en-US" sz="1000" u="none" strike="noStrike" dirty="0">
                          <a:effectLst/>
                        </a:rPr>
                        <a:t>MAP</a:t>
                      </a:r>
                      <a:r>
                        <a:rPr lang="ru-RU" sz="1000" u="none" strike="noStrike" dirty="0">
                          <a:effectLst/>
                        </a:rPr>
                        <a:t>) и </a:t>
                      </a:r>
                      <a:r>
                        <a:rPr lang="ru-RU" sz="1000" u="none" strike="noStrike" dirty="0" err="1">
                          <a:effectLst/>
                        </a:rPr>
                        <a:t>Диаммоний</a:t>
                      </a:r>
                      <a:r>
                        <a:rPr lang="ru-RU" sz="1000" u="none" strike="noStrike" dirty="0">
                          <a:effectLst/>
                        </a:rPr>
                        <a:t> фосфат (</a:t>
                      </a:r>
                      <a:r>
                        <a:rPr lang="en-US" sz="1000" u="none" strike="noStrike" dirty="0">
                          <a:effectLst/>
                        </a:rPr>
                        <a:t>DAP)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Агрохим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" name="Title 1">
            <a:extLst>
              <a:ext uri="{FF2B5EF4-FFF2-40B4-BE49-F238E27FC236}">
                <a16:creationId xmlns="" xmlns:a16="http://schemas.microsoft.com/office/drawing/2014/main" id="{FAEA8908-6472-4D7F-95AA-1EF0265D5002}"/>
              </a:ext>
            </a:extLst>
          </p:cNvPr>
          <p:cNvSpPr txBox="1">
            <a:spLocks/>
          </p:cNvSpPr>
          <p:nvPr/>
        </p:nvSpPr>
        <p:spPr>
          <a:xfrm>
            <a:off x="1422262" y="1555857"/>
            <a:ext cx="3983233" cy="1860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rgbClr val="40404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727510"/>
            <a:r>
              <a:rPr lang="ru-RU" sz="1361" b="1" dirty="0">
                <a:solidFill>
                  <a:srgbClr val="ED8B00"/>
                </a:solidFill>
                <a:latin typeface="Segoe UI Light"/>
              </a:rPr>
              <a:t>Группы химической продукци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3C20AA50-A117-44EF-B2C7-DFCB925F12D7}"/>
              </a:ext>
            </a:extLst>
          </p:cNvPr>
          <p:cNvSpPr txBox="1"/>
          <p:nvPr/>
        </p:nvSpPr>
        <p:spPr>
          <a:xfrm>
            <a:off x="1388960" y="1936473"/>
            <a:ext cx="3199890" cy="14002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just" defTabSz="727510"/>
            <a:r>
              <a:rPr lang="ru-RU" sz="1089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1 группа </a:t>
            </a:r>
            <a:r>
              <a:rPr lang="ru-RU" sz="1089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– </a:t>
            </a:r>
            <a:r>
              <a:rPr lang="ru-RU" sz="1089" b="1" dirty="0">
                <a:solidFill>
                  <a:srgbClr val="00ABAB"/>
                </a:solidFill>
                <a:latin typeface="Segoe UI Light"/>
                <a:cs typeface="Arial" panose="020B0604020202020204" pitchFamily="34" charset="0"/>
              </a:rPr>
              <a:t>Агрохимическая группа</a:t>
            </a:r>
          </a:p>
          <a:p>
            <a:pPr algn="just" defTabSz="727510"/>
            <a:r>
              <a:rPr lang="ru-RU" sz="1089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В список финальных продуктов вошли товары, являющиеся производными </a:t>
            </a:r>
            <a:r>
              <a:rPr lang="ru-RU" sz="1089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аммиака. </a:t>
            </a:r>
            <a:r>
              <a:rPr lang="ru-RU" sz="1089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Товары данной группы имеют импортозамещающий эффект (</a:t>
            </a:r>
            <a:r>
              <a:rPr lang="ru-RU" sz="1089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нитрат аммония и сульфат аммония</a:t>
            </a:r>
            <a:r>
              <a:rPr lang="ru-RU" sz="1089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) и </a:t>
            </a:r>
            <a:r>
              <a:rPr lang="ru-RU" sz="1089" dirty="0" err="1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экспортоориентированность</a:t>
            </a:r>
            <a:r>
              <a:rPr lang="ru-RU" sz="1089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 (</a:t>
            </a:r>
            <a:r>
              <a:rPr lang="ru-RU" sz="1089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МАФ/ДАФ и карбамид</a:t>
            </a:r>
            <a:r>
              <a:rPr lang="ru-RU" sz="1089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045DB41E-3D3D-4968-9C5A-970964E7B004}"/>
              </a:ext>
            </a:extLst>
          </p:cNvPr>
          <p:cNvSpPr txBox="1"/>
          <p:nvPr/>
        </p:nvSpPr>
        <p:spPr>
          <a:xfrm>
            <a:off x="4806199" y="1922142"/>
            <a:ext cx="2900492" cy="147693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727510"/>
            <a:r>
              <a:rPr lang="ru-RU" sz="998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2 группа </a:t>
            </a:r>
            <a:r>
              <a:rPr lang="ru-RU" sz="998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– </a:t>
            </a:r>
            <a:r>
              <a:rPr lang="ru-RU" sz="1089" b="1" dirty="0">
                <a:solidFill>
                  <a:srgbClr val="00ABAB"/>
                </a:solidFill>
                <a:latin typeface="Segoe UI Light"/>
                <a:cs typeface="Arial" panose="020B0604020202020204" pitchFamily="34" charset="0"/>
              </a:rPr>
              <a:t>Нефтехимическая группа</a:t>
            </a:r>
          </a:p>
          <a:p>
            <a:pPr algn="just" defTabSz="727510"/>
            <a:r>
              <a:rPr lang="ru-RU" sz="998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В список финальных продуктов вошли товары, относящиеся к базовой органической химии. Производство товаров данной группы позволит снизить зависимость от импортного сырья при производстве широкой линейки конечной продукции (нефтепромысловая химия, лакокрасочные материалы и др.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1D9E6464-43D9-40BA-8D78-5340A11F6BE2}"/>
              </a:ext>
            </a:extLst>
          </p:cNvPr>
          <p:cNvSpPr txBox="1"/>
          <p:nvPr/>
        </p:nvSpPr>
        <p:spPr>
          <a:xfrm>
            <a:off x="7924040" y="1922142"/>
            <a:ext cx="2900492" cy="146139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727510"/>
            <a:r>
              <a:rPr lang="ru-RU" sz="998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3 группа </a:t>
            </a:r>
            <a:r>
              <a:rPr lang="ru-RU" sz="998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– </a:t>
            </a:r>
            <a:r>
              <a:rPr lang="ru-RU" sz="998" b="1" dirty="0">
                <a:solidFill>
                  <a:srgbClr val="00ABAB"/>
                </a:solidFill>
                <a:latin typeface="Segoe UI Light"/>
                <a:cs typeface="Arial" panose="020B0604020202020204" pitchFamily="34" charset="0"/>
              </a:rPr>
              <a:t>Группа спец. химия</a:t>
            </a:r>
          </a:p>
          <a:p>
            <a:pPr algn="just" defTabSz="727510"/>
            <a:r>
              <a:rPr lang="ru-RU" sz="998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</a:rPr>
              <a:t>В список финальных продуктов в основном вошли товары, относящиеся к базовой неорганической химии. Продукты данной группы являются узконаправленными и применяются в таких отраслях как ГМК, производство пластмасс и резинотехнические изделия</a:t>
            </a:r>
          </a:p>
        </p:txBody>
      </p:sp>
      <p:sp>
        <p:nvSpPr>
          <p:cNvPr id="16" name="Google Shape;318;p14">
            <a:extLst>
              <a:ext uri="{FF2B5EF4-FFF2-40B4-BE49-F238E27FC236}">
                <a16:creationId xmlns="" xmlns:a16="http://schemas.microsoft.com/office/drawing/2014/main" id="{16796358-FCEA-406A-87D8-3602E4450CD5}"/>
              </a:ext>
            </a:extLst>
          </p:cNvPr>
          <p:cNvSpPr/>
          <p:nvPr/>
        </p:nvSpPr>
        <p:spPr>
          <a:xfrm>
            <a:off x="1565286" y="6102838"/>
            <a:ext cx="9061428" cy="335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defTabSz="727510">
              <a:defRPr/>
            </a:pPr>
            <a:r>
              <a:rPr lang="ru-RU" sz="1089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  <a:sym typeface="Arial"/>
              </a:rPr>
              <a:t>* Методология (гравитационная модель) выбора продуктов из 814 товаров/товарных групп велась «от спроса» и включала в себя три этапа: «длинный список» (130), «короткий список»(20) и «стратегический список» </a:t>
            </a:r>
            <a:r>
              <a:rPr lang="ru-RU" sz="1089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  <a:cs typeface="Arial" panose="020B0604020202020204" pitchFamily="34" charset="0"/>
                <a:sym typeface="Calibri"/>
              </a:rPr>
              <a:t>(15)</a:t>
            </a:r>
            <a:endParaRPr lang="ru-RU" sz="1089" dirty="0">
              <a:solidFill>
                <a:prstClr val="black">
                  <a:lumMod val="75000"/>
                  <a:lumOff val="25000"/>
                </a:prstClr>
              </a:solidFill>
              <a:latin typeface="Segoe UI Light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33" name="Table 32">
            <a:extLst>
              <a:ext uri="{FF2B5EF4-FFF2-40B4-BE49-F238E27FC236}">
                <a16:creationId xmlns="" xmlns:a16="http://schemas.microsoft.com/office/drawing/2014/main" id="{CDF80F92-84A6-4F9C-9C44-707231A82796}"/>
              </a:ext>
            </a:extLst>
          </p:cNvPr>
          <p:cNvGraphicFramePr>
            <a:graphicFrameLocks noGrp="1"/>
          </p:cNvGraphicFramePr>
          <p:nvPr/>
        </p:nvGraphicFramePr>
        <p:xfrm>
          <a:off x="7924040" y="3718524"/>
          <a:ext cx="2843692" cy="1907199"/>
        </p:xfrm>
        <a:graphic>
          <a:graphicData uri="http://schemas.openxmlformats.org/drawingml/2006/table">
            <a:tbl>
              <a:tblPr firstRow="1">
                <a:tableStyleId>{5FD0F851-EC5A-4D38-B0AD-8093EC10F338}</a:tableStyleId>
              </a:tblPr>
              <a:tblGrid>
                <a:gridCol w="344672">
                  <a:extLst>
                    <a:ext uri="{9D8B030D-6E8A-4147-A177-3AD203B41FA5}">
                      <a16:colId xmlns="" xmlns:a16="http://schemas.microsoft.com/office/drawing/2014/main" val="3220678537"/>
                    </a:ext>
                  </a:extLst>
                </a:gridCol>
                <a:gridCol w="1313278">
                  <a:extLst>
                    <a:ext uri="{9D8B030D-6E8A-4147-A177-3AD203B41FA5}">
                      <a16:colId xmlns="" xmlns:a16="http://schemas.microsoft.com/office/drawing/2014/main" val="4267512186"/>
                    </a:ext>
                  </a:extLst>
                </a:gridCol>
                <a:gridCol w="1185742">
                  <a:extLst>
                    <a:ext uri="{9D8B030D-6E8A-4147-A177-3AD203B41FA5}">
                      <a16:colId xmlns="" xmlns:a16="http://schemas.microsoft.com/office/drawing/2014/main" val="4137756154"/>
                    </a:ext>
                  </a:extLst>
                </a:gridCol>
              </a:tblGrid>
              <a:tr h="202914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u="none" strike="noStrike" dirty="0">
                          <a:effectLst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Сектор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57324240"/>
                  </a:ext>
                </a:extLst>
              </a:tr>
              <a:tr h="244484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Промысловая химия</a:t>
                      </a:r>
                    </a:p>
                  </a:txBody>
                  <a:tcPr marL="6062" marR="6062" marT="6062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пец. химия</a:t>
                      </a:r>
                    </a:p>
                  </a:txBody>
                  <a:tcPr marL="6062" marR="6062" marT="6062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3521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Гидроксид натрия (сода каустическая)</a:t>
                      </a:r>
                      <a:endParaRPr lang="ru-RU" sz="100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Спец. химия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188726973"/>
                  </a:ext>
                </a:extLst>
              </a:tr>
              <a:tr h="223256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Пероксид водорода</a:t>
                      </a:r>
                      <a:endParaRPr lang="ru-RU" sz="100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Спец. химия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36630534"/>
                  </a:ext>
                </a:extLst>
              </a:tr>
              <a:tr h="223256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Технический углерод 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Спец. химия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3256">
                <a:tc>
                  <a:txBody>
                    <a:bodyPr/>
                    <a:lstStyle/>
                    <a:p>
                      <a:pPr marL="0" algn="l" defTabSz="990657" rtl="0" eaLnBrk="1" fontAlgn="b" latinLnBrk="0" hangingPunct="1"/>
                      <a:r>
                        <a:rPr lang="ru-RU" sz="1100" b="1" u="none" strike="noStrike" kern="1200" dirty="0">
                          <a:solidFill>
                            <a:srgbClr val="ED8B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13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marL="0" algn="l" defTabSz="990657" rtl="0" eaLnBrk="1" fontAlgn="b" latinLnBrk="0" hangingPunct="1"/>
                      <a:r>
                        <a:rPr lang="ru-RU" sz="1100" b="1" u="none" strike="noStrike" kern="1200" dirty="0">
                          <a:solidFill>
                            <a:srgbClr val="ED8B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рная кисло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9065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noProof="0" dirty="0">
                          <a:solidFill>
                            <a:srgbClr val="ED8B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ец. химия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23256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Диоксид титана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Спец. хим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23256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000" u="none" strike="noStrike" kern="1200" dirty="0">
                          <a:effectLst/>
                        </a:rPr>
                        <a:t>Взрывчатая эмульсия</a:t>
                      </a:r>
                      <a:endParaRPr lang="ru-RU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062" marR="6062" marT="6062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kern="1200" dirty="0">
                          <a:effectLst/>
                        </a:rPr>
                        <a:t>Спец. химия</a:t>
                      </a:r>
                      <a:endParaRPr lang="ru-RU" sz="1000" b="0" i="0" u="none" strike="noStrike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062" marR="6062" marT="6062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="" xmlns:a16="http://schemas.microsoft.com/office/drawing/2014/main" id="{CDF80F92-84A6-4F9C-9C44-707231A827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47266"/>
              </p:ext>
            </p:extLst>
          </p:nvPr>
        </p:nvGraphicFramePr>
        <p:xfrm>
          <a:off x="4806201" y="3718524"/>
          <a:ext cx="2900492" cy="1272835"/>
        </p:xfrm>
        <a:graphic>
          <a:graphicData uri="http://schemas.openxmlformats.org/drawingml/2006/table">
            <a:tbl>
              <a:tblPr firstRow="1">
                <a:tableStyleId>{5FD0F851-EC5A-4D38-B0AD-8093EC10F338}</a:tableStyleId>
              </a:tblPr>
              <a:tblGrid>
                <a:gridCol w="351557">
                  <a:extLst>
                    <a:ext uri="{9D8B030D-6E8A-4147-A177-3AD203B41FA5}">
                      <a16:colId xmlns="" xmlns:a16="http://schemas.microsoft.com/office/drawing/2014/main" val="3220678537"/>
                    </a:ext>
                  </a:extLst>
                </a:gridCol>
                <a:gridCol w="1339509">
                  <a:extLst>
                    <a:ext uri="{9D8B030D-6E8A-4147-A177-3AD203B41FA5}">
                      <a16:colId xmlns="" xmlns:a16="http://schemas.microsoft.com/office/drawing/2014/main" val="4267512186"/>
                    </a:ext>
                  </a:extLst>
                </a:gridCol>
                <a:gridCol w="1209426">
                  <a:extLst>
                    <a:ext uri="{9D8B030D-6E8A-4147-A177-3AD203B41FA5}">
                      <a16:colId xmlns="" xmlns:a16="http://schemas.microsoft.com/office/drawing/2014/main" val="4137756154"/>
                    </a:ext>
                  </a:extLst>
                </a:gridCol>
              </a:tblGrid>
              <a:tr h="202914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u="none" strike="noStrike" dirty="0">
                          <a:effectLst/>
                        </a:rPr>
                        <a:t>№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Наименование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Сектор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357324240"/>
                  </a:ext>
                </a:extLst>
              </a:tr>
              <a:tr h="195560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ET/</a:t>
                      </a:r>
                      <a:r>
                        <a:rPr lang="en-US" sz="1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PET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112959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фтегазохимия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641829726"/>
                  </a:ext>
                </a:extLst>
              </a:tr>
              <a:tr h="343521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 err="1">
                          <a:effectLst/>
                        </a:rPr>
                        <a:t>Окисьэтилена</a:t>
                      </a:r>
                      <a:r>
                        <a:rPr lang="ru-RU" sz="1000" u="none" strike="noStrike" dirty="0">
                          <a:effectLst/>
                        </a:rPr>
                        <a:t> / Этиленгликоль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Нефтегазохим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555415071"/>
                  </a:ext>
                </a:extLst>
              </a:tr>
              <a:tr h="331811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1" u="none" strike="noStrike" kern="1200" dirty="0">
                          <a:solidFill>
                            <a:srgbClr val="ED8B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u="none" strike="noStrike" kern="1200" dirty="0">
                          <a:solidFill>
                            <a:srgbClr val="ED8B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танол (спирт метиловый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u="none" strike="noStrike" kern="1200" dirty="0">
                          <a:solidFill>
                            <a:srgbClr val="ED8B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фтегазохимия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2339856727"/>
                  </a:ext>
                </a:extLst>
              </a:tr>
              <a:tr h="195560"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8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72746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Уксусная кислота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u="none" strike="noStrike" dirty="0">
                          <a:effectLst/>
                        </a:rPr>
                        <a:t>Нефтегазохим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879556954"/>
                  </a:ext>
                </a:extLst>
              </a:tr>
            </a:tbl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E6D06C1A-43C7-F374-787A-C0C1CB0A91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082F338D-3BFD-082D-83D8-38326D4F99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1209" y="206548"/>
            <a:ext cx="839399" cy="67486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57C9F6E-0A98-85EB-E3E8-B786521236E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231392" y="517100"/>
            <a:ext cx="11011272" cy="467475"/>
          </a:xfrm>
          <a:prstGeom prst="rect">
            <a:avLst/>
          </a:prstGeom>
        </p:spPr>
      </p:pic>
      <p:sp>
        <p:nvSpPr>
          <p:cNvPr id="7" name="SlideTitle">
            <a:extLst>
              <a:ext uri="{FF2B5EF4-FFF2-40B4-BE49-F238E27FC236}">
                <a16:creationId xmlns="" xmlns:a16="http://schemas.microsoft.com/office/drawing/2014/main" id="{C85501EE-62F1-BC38-74E1-92E8F7D3F6FA}"/>
              </a:ext>
            </a:extLst>
          </p:cNvPr>
          <p:cNvSpPr txBox="1">
            <a:spLocks/>
          </p:cNvSpPr>
          <p:nvPr/>
        </p:nvSpPr>
        <p:spPr>
          <a:xfrm>
            <a:off x="740531" y="166526"/>
            <a:ext cx="10644986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5 стратегических продуктов 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KO 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Номер слайда 3">
            <a:extLst>
              <a:ext uri="{FF2B5EF4-FFF2-40B4-BE49-F238E27FC236}">
                <a16:creationId xmlns="" xmlns:a16="http://schemas.microsoft.com/office/drawing/2014/main" id="{24BD60B9-DF40-D4FB-F2B3-00FB17B3BF3E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18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0887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/>
        </p:nvGraphicFramePr>
        <p:xfrm>
          <a:off x="0" y="728727"/>
          <a:ext cx="12192000" cy="274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8" name="CorelDRAW" r:id="rId3" imgW="4187893" imgH="205149" progId="CorelDraw.Graphic.17">
                  <p:embed/>
                </p:oleObj>
              </mc:Choice>
              <mc:Fallback>
                <p:oleObj name="CorelDRAW" r:id="rId3" imgW="4187893" imgH="205149" progId="CorelDraw.Graphic.17">
                  <p:embed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728727"/>
                        <a:ext cx="12192000" cy="2748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735" y="5089255"/>
            <a:ext cx="1710529" cy="137523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831737" y="2819243"/>
            <a:ext cx="4277518" cy="8058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14403">
              <a:lnSpc>
                <a:spcPct val="150000"/>
              </a:lnSpc>
            </a:pPr>
            <a:r>
              <a:rPr lang="ru-RU" sz="3447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РТФЕЛЬ ПРОЕКТОВ</a:t>
            </a:r>
            <a:endParaRPr lang="en-US" sz="3447" b="1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417385" y="6070973"/>
            <a:ext cx="774615" cy="787027"/>
          </a:xfrm>
          <a:prstGeom prst="rect">
            <a:avLst/>
          </a:prstGeom>
        </p:spPr>
      </p:pic>
      <p:sp>
        <p:nvSpPr>
          <p:cNvPr id="2" name="Номер слайда 3">
            <a:extLst>
              <a:ext uri="{FF2B5EF4-FFF2-40B4-BE49-F238E27FC236}">
                <a16:creationId xmlns="" xmlns:a16="http://schemas.microsoft.com/office/drawing/2014/main" id="{F14F1E0F-9A82-5B12-7F46-EBEFED67B658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19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6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421801" y="6070973"/>
            <a:ext cx="774615" cy="787027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4D271F8D-ADAA-41E3-AD97-F1C4C95E12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396371" y="603043"/>
            <a:ext cx="10481426" cy="367433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="" xmlns:a16="http://schemas.microsoft.com/office/drawing/2014/main" id="{E9CE7309-2248-4653-B279-F91DD2247D3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5668" y="186922"/>
            <a:ext cx="974594" cy="783554"/>
          </a:xfrm>
          <a:prstGeom prst="rect">
            <a:avLst/>
          </a:prstGeom>
        </p:spPr>
      </p:pic>
      <p:sp>
        <p:nvSpPr>
          <p:cNvPr id="39" name="SlideTitle">
            <a:extLst>
              <a:ext uri="{FF2B5EF4-FFF2-40B4-BE49-F238E27FC236}">
                <a16:creationId xmlns="" xmlns:a16="http://schemas.microsoft.com/office/drawing/2014/main" id="{0AAF725C-DAC7-4795-86E0-76B2F45C4C00}"/>
              </a:ext>
            </a:extLst>
          </p:cNvPr>
          <p:cNvSpPr txBox="1">
            <a:spLocks/>
          </p:cNvSpPr>
          <p:nvPr/>
        </p:nvSpPr>
        <p:spPr>
          <a:xfrm>
            <a:off x="447389" y="206548"/>
            <a:ext cx="9658035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MRUK-KAZYNA ONDEU</a:t>
            </a:r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Общая информация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Текст 32">
            <a:extLst>
              <a:ext uri="{FF2B5EF4-FFF2-40B4-BE49-F238E27FC236}">
                <a16:creationId xmlns="" xmlns:a16="http://schemas.microsoft.com/office/drawing/2014/main" id="{B0C22663-77F6-1AFE-C42C-DDD27E24D9DB}"/>
              </a:ext>
            </a:extLst>
          </p:cNvPr>
          <p:cNvSpPr txBox="1">
            <a:spLocks/>
          </p:cNvSpPr>
          <p:nvPr/>
        </p:nvSpPr>
        <p:spPr>
          <a:xfrm>
            <a:off x="1133819" y="1323583"/>
            <a:ext cx="4665732" cy="5505912"/>
          </a:xfrm>
          <a:prstGeom prst="rect">
            <a:avLst/>
          </a:prstGeom>
        </p:spPr>
        <p:txBody>
          <a:bodyPr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600" b="1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ИМЕНОВАНИЕ</a:t>
            </a:r>
            <a:r>
              <a:rPr lang="ru-RU" sz="2000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just"/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Товарищество с ограниченной ответственностью «</a:t>
            </a:r>
            <a:r>
              <a:rPr lang="en-U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Samruk-Kazyna Ondeu</a:t>
            </a: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».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/>
            <a:endParaRPr lang="ru-RU" sz="700" b="1" dirty="0">
              <a:solidFill>
                <a:srgbClr val="17335D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just">
              <a:buNone/>
            </a:pPr>
            <a:r>
              <a:rPr lang="ru-RU" sz="1600" b="1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ОЗДАНО</a:t>
            </a:r>
            <a:r>
              <a:rPr lang="ru-RU" sz="1000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just"/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решением Совета директоров АО «Самрук-</a:t>
            </a:r>
            <a:r>
              <a:rPr lang="kk-KZ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Қ</a:t>
            </a:r>
            <a:r>
              <a:rPr lang="ru-RU" sz="11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азына</a:t>
            </a: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» 28 ноября 2008 года (протокол № 4) во исполнение поручения Президента Республики Казахстан, данного на расширенном заседании Правительства Республики Казахстан от 13 октября 2008 г. по «созданию специальной компании, которая будет заниматься проектами химической отрасли».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/>
            <a:endParaRPr lang="ru-RU" sz="600" b="1" dirty="0">
              <a:solidFill>
                <a:srgbClr val="17335D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just">
              <a:buNone/>
            </a:pPr>
            <a:r>
              <a:rPr lang="ru-RU" sz="1600" b="1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ЕДИНСТВЕННЫЙ УЧАСТНИК</a:t>
            </a:r>
            <a:r>
              <a:rPr lang="ru-RU" sz="2000" b="1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just"/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Акционерное общество «Фонд национального благосостояния «Самрук-</a:t>
            </a:r>
            <a:r>
              <a:rPr lang="kk-KZ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Қ</a:t>
            </a:r>
            <a:r>
              <a:rPr lang="ru-RU" sz="11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азына</a:t>
            </a: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».</a:t>
            </a:r>
          </a:p>
          <a:p>
            <a:pPr algn="just"/>
            <a:endParaRPr lang="ru-RU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just">
              <a:buNone/>
            </a:pPr>
            <a:r>
              <a:rPr lang="ru-RU" sz="1600" b="1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ПРАВЛЕНИЯ ДЕЯТЕЛЬНОСТИ</a:t>
            </a:r>
          </a:p>
          <a:p>
            <a:pPr marL="400050" indent="-400050" algn="just">
              <a:buAutoNum type="romanUcPeriod"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Операционная эффективность</a:t>
            </a:r>
          </a:p>
          <a:p>
            <a:pPr marL="400050" indent="-400050" algn="just">
              <a:buFont typeface="Arial" panose="020B0604020202020204" pitchFamily="34" charset="0"/>
              <a:buAutoNum type="romanUcPeriod"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Операционная эффективность</a:t>
            </a:r>
          </a:p>
          <a:p>
            <a:pPr marL="400050" indent="-400050" algn="just">
              <a:buFont typeface="Arial" panose="020B0604020202020204" pitchFamily="34" charset="0"/>
              <a:buAutoNum type="romanUcPeriod"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Устойчивое развитие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400050" indent="-400050" algn="just">
              <a:buFont typeface="Arial" panose="020B0604020202020204" pitchFamily="34" charset="0"/>
              <a:buAutoNum type="romanUcPeriod"/>
            </a:pPr>
            <a:endParaRPr lang="en-US" sz="1600" b="1" dirty="0">
              <a:solidFill>
                <a:prstClr val="white"/>
              </a:solidFill>
              <a:latin typeface="Segoe UI Light"/>
            </a:endParaRPr>
          </a:p>
          <a:p>
            <a:pPr marL="400050" indent="-400050" algn="just">
              <a:buAutoNum type="romanUcPeriod"/>
            </a:pPr>
            <a:endParaRPr lang="en-US" sz="1600" dirty="0">
              <a:solidFill>
                <a:prstClr val="white"/>
              </a:solidFill>
              <a:latin typeface="Segoe UI Light"/>
            </a:endParaRPr>
          </a:p>
          <a:p>
            <a:pPr marL="0" indent="0" algn="just">
              <a:buNone/>
            </a:pPr>
            <a:endParaRPr lang="ru-RU" sz="1600" b="1" dirty="0">
              <a:solidFill>
                <a:srgbClr val="17335D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just">
              <a:buNone/>
            </a:pPr>
            <a:endParaRPr lang="ru-RU" sz="1600" b="1" dirty="0">
              <a:solidFill>
                <a:srgbClr val="17335D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just">
              <a:buNone/>
            </a:pPr>
            <a:endParaRPr lang="ru-RU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indent="0" algn="just">
              <a:buNone/>
            </a:pP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122DE4EB-9BCC-BCF0-9044-3E68B48355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786" y="1323583"/>
            <a:ext cx="789632" cy="78963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F7C30206-22E9-AF72-691E-9E4785FE72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515" y="2294278"/>
            <a:ext cx="639545" cy="63954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B15F90C4-918F-D244-72F5-3A42A1A431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6371" y="3756766"/>
            <a:ext cx="639546" cy="639546"/>
          </a:xfrm>
          <a:prstGeom prst="rect">
            <a:avLst/>
          </a:prstGeom>
        </p:spPr>
      </p:pic>
      <p:sp>
        <p:nvSpPr>
          <p:cNvPr id="6" name="Текст 33">
            <a:extLst>
              <a:ext uri="{FF2B5EF4-FFF2-40B4-BE49-F238E27FC236}">
                <a16:creationId xmlns="" xmlns:a16="http://schemas.microsoft.com/office/drawing/2014/main" id="{8402BA76-E7DF-0D43-7031-B5F2127FB81C}"/>
              </a:ext>
            </a:extLst>
          </p:cNvPr>
          <p:cNvSpPr txBox="1">
            <a:spLocks/>
          </p:cNvSpPr>
          <p:nvPr/>
        </p:nvSpPr>
        <p:spPr>
          <a:xfrm>
            <a:off x="6155493" y="1490671"/>
            <a:ext cx="2741456" cy="2127716"/>
          </a:xfrm>
          <a:prstGeom prst="rect">
            <a:avLst/>
          </a:prstGeom>
        </p:spPr>
        <p:txBody>
          <a:bodyPr numCol="1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800" b="1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ИССИЯ </a:t>
            </a:r>
          </a:p>
          <a:p>
            <a:pPr marL="0" indent="0" algn="just">
              <a:buNone/>
            </a:pPr>
            <a:r>
              <a:rPr lang="ru-RU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Развитие химической отрасли в РК путем рациональных и эффективных инвестиций в химические проекты, а также формирование передовых компетенций.</a:t>
            </a: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/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Текст 33">
            <a:extLst>
              <a:ext uri="{FF2B5EF4-FFF2-40B4-BE49-F238E27FC236}">
                <a16:creationId xmlns="" xmlns:a16="http://schemas.microsoft.com/office/drawing/2014/main" id="{3BF01EAA-CEA6-7F28-1F77-8E235F975705}"/>
              </a:ext>
            </a:extLst>
          </p:cNvPr>
          <p:cNvSpPr txBox="1">
            <a:spLocks/>
          </p:cNvSpPr>
          <p:nvPr/>
        </p:nvSpPr>
        <p:spPr>
          <a:xfrm>
            <a:off x="9113873" y="1395828"/>
            <a:ext cx="2632532" cy="2203906"/>
          </a:xfrm>
          <a:prstGeom prst="rect">
            <a:avLst/>
          </a:prstGeom>
        </p:spPr>
        <p:txBody>
          <a:bodyPr vert="horz" lIns="91440" tIns="45720" rIns="91440" bIns="45720" numCol="1" spcCol="182880" rtlCol="0">
            <a:normAutofit/>
          </a:bodyPr>
          <a:lstStyle>
            <a:lvl1pPr marL="0" marR="0" indent="0" algn="l" defTabSz="1341150" rtl="0" eaLnBrk="1" fontAlgn="auto" latinLnBrk="0" hangingPunct="1">
              <a:lnSpc>
                <a:spcPct val="13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05863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76438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47013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7589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8816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8739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931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9890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b="1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ИДЕНИЕ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ru-RU" sz="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Ведущий производственный холдинг на рынке Центральной Азии по выпуску химической продукции с высокой добавленной стоимостью.</a:t>
            </a: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056051C-4AF3-1FB6-A57B-30380E2DCD26}"/>
              </a:ext>
            </a:extLst>
          </p:cNvPr>
          <p:cNvSpPr txBox="1"/>
          <p:nvPr/>
        </p:nvSpPr>
        <p:spPr>
          <a:xfrm>
            <a:off x="7526221" y="3005679"/>
            <a:ext cx="4773710" cy="423321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indent="450215" algn="just">
              <a:lnSpc>
                <a:spcPct val="130000"/>
              </a:lnSpc>
              <a:spcAft>
                <a:spcPts val="600"/>
              </a:spcAft>
            </a:pPr>
            <a:r>
              <a:rPr lang="kk-KZ" b="1" dirty="0">
                <a:solidFill>
                  <a:srgbClr val="17335D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ИДЫ ДЕЯТЕЛЬНОСТИ</a:t>
            </a:r>
            <a:endParaRPr lang="ru-KZ" b="1" dirty="0">
              <a:solidFill>
                <a:srgbClr val="17335D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66214D9E-E935-A9FD-73C2-B47ECB53122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73754" y="1009328"/>
            <a:ext cx="783837" cy="78383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CF5AA0B4-472F-6AFC-407D-9AEBD377E4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8409" y="1018742"/>
            <a:ext cx="898087" cy="89808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C8F8EB60-7811-BDF7-0080-5F3229222128}"/>
              </a:ext>
            </a:extLst>
          </p:cNvPr>
          <p:cNvSpPr txBox="1"/>
          <p:nvPr/>
        </p:nvSpPr>
        <p:spPr>
          <a:xfrm>
            <a:off x="6710211" y="3532813"/>
            <a:ext cx="5116033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1400"/>
              </a:spcBef>
              <a:spcAft>
                <a:spcPts val="600"/>
              </a:spcAft>
            </a:pPr>
            <a:r>
              <a:rPr lang="ru-RU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Организация и проведение исследований, экспертиз и других работ, для реализации инвестиционных проектов в химической отрасли;</a:t>
            </a: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spcBef>
                <a:spcPts val="1400"/>
              </a:spcBef>
              <a:spcAft>
                <a:spcPts val="600"/>
              </a:spcAft>
            </a:pPr>
            <a:r>
              <a:rPr lang="ru-RU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Организация и реализация проектов в области недропользования, необходимых для организации инвестиционных проектов в химической отрасли;</a:t>
            </a:r>
          </a:p>
          <a:p>
            <a:pPr algn="just">
              <a:spcBef>
                <a:spcPts val="1400"/>
              </a:spcBef>
              <a:spcAft>
                <a:spcPts val="600"/>
              </a:spcAft>
            </a:pPr>
            <a:r>
              <a:rPr lang="ru-RU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Участие Товарищества в учреждении и/или приобретение акций иных юридических лиц для реализации инвестиционных проектов в химической отрасли;</a:t>
            </a: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spcBef>
                <a:spcPts val="1400"/>
              </a:spcBef>
              <a:spcAft>
                <a:spcPts val="600"/>
              </a:spcAft>
            </a:pPr>
            <a:r>
              <a:rPr lang="ru-RU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Внедрение лучшей мировой практики корпоративного управления юридических лиц, более пятидесяти процентов голосующих акций которых принадлежит Товариществу</a:t>
            </a:r>
            <a:endParaRPr lang="ru-KZ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65437F33-677A-AB9F-4780-BCF709ACDD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08759" y="4175473"/>
            <a:ext cx="520059" cy="520059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2DCBE141-94A0-F85D-0BA7-BA401E3874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96000" y="3507592"/>
            <a:ext cx="580802" cy="580802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C573DC86-C2D2-D3C8-B64D-CBE05A532EE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56743" y="5029203"/>
            <a:ext cx="520059" cy="520059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4CEBEE00-1B2A-6EDC-8B39-0D5BBFF1F6D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68252" y="5831165"/>
            <a:ext cx="471259" cy="471259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72C56155-C083-C2F1-E289-FEBBA585679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15" y="4832764"/>
            <a:ext cx="659710" cy="659710"/>
          </a:xfrm>
          <a:prstGeom prst="rect">
            <a:avLst/>
          </a:prstGeom>
        </p:spPr>
      </p:pic>
      <p:sp>
        <p:nvSpPr>
          <p:cNvPr id="16" name="Номер слайда 3">
            <a:extLst>
              <a:ext uri="{FF2B5EF4-FFF2-40B4-BE49-F238E27FC236}">
                <a16:creationId xmlns="" xmlns:a16="http://schemas.microsoft.com/office/drawing/2014/main" id="{46D7C63C-F1D3-8C59-3F2C-8F0EDD7EDB38}"/>
              </a:ext>
            </a:extLst>
          </p:cNvPr>
          <p:cNvSpPr txBox="1">
            <a:spLocks/>
          </p:cNvSpPr>
          <p:nvPr/>
        </p:nvSpPr>
        <p:spPr>
          <a:xfrm>
            <a:off x="11826244" y="6522471"/>
            <a:ext cx="32969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2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2293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E6588DBA-2DCC-41C1-B47D-C153825D03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317" y="203642"/>
            <a:ext cx="7823558" cy="285632"/>
          </a:xfrm>
        </p:spPr>
        <p:txBody>
          <a:bodyPr>
            <a:noAutofit/>
          </a:bodyPr>
          <a:lstStyle/>
          <a:p>
            <a:pPr>
              <a:buClr>
                <a:srgbClr val="0C3054"/>
              </a:buClr>
            </a:pPr>
            <a:r>
              <a:rPr lang="ru-RU" sz="1800" kern="0" dirty="0">
                <a:solidFill>
                  <a:schemeClr val="tx1"/>
                </a:solidFill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Портфель проектов </a:t>
            </a:r>
            <a:r>
              <a:rPr lang="en-US" sz="1800" kern="0" dirty="0">
                <a:solidFill>
                  <a:schemeClr val="tx1"/>
                </a:solidFill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SKO</a:t>
            </a:r>
            <a:r>
              <a:rPr lang="ru-RU" sz="1800" kern="0" dirty="0">
                <a:solidFill>
                  <a:schemeClr val="tx1"/>
                </a:solidFill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 </a:t>
            </a:r>
            <a:r>
              <a:rPr lang="kk-KZ" altLang="ru-RU" sz="1800" kern="0" dirty="0">
                <a:solidFill>
                  <a:schemeClr val="tx1"/>
                </a:solidFill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(общая стоимость – более </a:t>
            </a:r>
            <a:r>
              <a:rPr lang="ru-RU" altLang="ru-RU" sz="1800" kern="0" dirty="0" smtClean="0"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3</a:t>
            </a:r>
            <a:r>
              <a:rPr lang="en-US" altLang="ru-RU" sz="1800" kern="0" dirty="0" smtClean="0"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21</a:t>
            </a:r>
            <a:r>
              <a:rPr lang="ru-RU" altLang="ru-RU" sz="1800" kern="0" dirty="0" smtClean="0">
                <a:solidFill>
                  <a:schemeClr val="tx1"/>
                </a:solidFill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 </a:t>
            </a:r>
            <a:r>
              <a:rPr lang="kk-KZ" altLang="ru-RU" sz="1800" kern="0" dirty="0">
                <a:solidFill>
                  <a:schemeClr val="tx1"/>
                </a:solidFill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млрд. тенге)</a:t>
            </a:r>
            <a:endParaRPr lang="en-US" sz="1800" kern="0" dirty="0">
              <a:solidFill>
                <a:schemeClr val="tx1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Прямоугольник 2">
            <a:extLst>
              <a:ext uri="{FF2B5EF4-FFF2-40B4-BE49-F238E27FC236}">
                <a16:creationId xmlns="" xmlns:a16="http://schemas.microsoft.com/office/drawing/2014/main" id="{E67ABB77-182E-4BD0-AF17-DDC0FD535357}"/>
              </a:ext>
            </a:extLst>
          </p:cNvPr>
          <p:cNvSpPr/>
          <p:nvPr/>
        </p:nvSpPr>
        <p:spPr bwMode="gray">
          <a:xfrm rot="16200000">
            <a:off x="-818067" y="3767869"/>
            <a:ext cx="4823897" cy="267429"/>
          </a:xfrm>
          <a:prstGeom prst="roundRect">
            <a:avLst>
              <a:gd name="adj" fmla="val 29976"/>
            </a:avLst>
          </a:prstGeom>
          <a:solidFill>
            <a:srgbClr val="0F4975"/>
          </a:solidFill>
          <a:ln w="19050" algn="ctr">
            <a:noFill/>
            <a:miter lim="800000"/>
            <a:headEnd/>
            <a:tailEnd/>
          </a:ln>
        </p:spPr>
        <p:txBody>
          <a:bodyPr wrap="square" lIns="64159" tIns="64159" rIns="64159" bIns="64159" rtlCol="0" anchor="ctr"/>
          <a:lstStyle/>
          <a:p>
            <a:pPr algn="ctr" defTabSz="727510">
              <a:lnSpc>
                <a:spcPct val="106000"/>
              </a:lnSpc>
            </a:pPr>
            <a:r>
              <a:rPr lang="ru-RU" sz="1270" b="1" dirty="0">
                <a:solidFill>
                  <a:prstClr val="white"/>
                </a:solidFill>
                <a:latin typeface="Segoe UI Light"/>
              </a:rPr>
              <a:t>Инвестиционные проекты</a:t>
            </a: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F508E016-CB4B-45EF-9E55-67AA449E48A8}"/>
              </a:ext>
            </a:extLst>
          </p:cNvPr>
          <p:cNvSpPr/>
          <p:nvPr/>
        </p:nvSpPr>
        <p:spPr bwMode="gray">
          <a:xfrm>
            <a:off x="1909502" y="1643749"/>
            <a:ext cx="145491" cy="145491"/>
          </a:xfrm>
          <a:prstGeom prst="ellipse">
            <a:avLst/>
          </a:prstGeom>
          <a:solidFill>
            <a:srgbClr val="0F4975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0725" tIns="70725" rIns="70725" bIns="70725" rtlCol="0" anchor="ctr"/>
          <a:lstStyle/>
          <a:p>
            <a:pPr algn="ctr" defTabSz="727510">
              <a:lnSpc>
                <a:spcPct val="106000"/>
              </a:lnSpc>
            </a:pPr>
            <a:r>
              <a:rPr lang="ru-RU" sz="816" b="1" dirty="0">
                <a:solidFill>
                  <a:prstClr val="white"/>
                </a:solidFill>
                <a:latin typeface="Segoe UI Light"/>
              </a:rPr>
              <a:t>1</a:t>
            </a:r>
            <a:endParaRPr lang="en-US" sz="816" b="1" dirty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3A45D5D9-B4C8-49D4-97B4-0534BEE150F2}"/>
              </a:ext>
            </a:extLst>
          </p:cNvPr>
          <p:cNvSpPr/>
          <p:nvPr/>
        </p:nvSpPr>
        <p:spPr bwMode="gray">
          <a:xfrm>
            <a:off x="1912334" y="3270702"/>
            <a:ext cx="145491" cy="145491"/>
          </a:xfrm>
          <a:prstGeom prst="ellipse">
            <a:avLst/>
          </a:prstGeom>
          <a:solidFill>
            <a:srgbClr val="0F4975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0725" tIns="70725" rIns="70725" bIns="70725" rtlCol="0" anchor="ctr"/>
          <a:lstStyle/>
          <a:p>
            <a:pPr algn="ctr" defTabSz="727510">
              <a:lnSpc>
                <a:spcPct val="106000"/>
              </a:lnSpc>
            </a:pPr>
            <a:r>
              <a:rPr lang="ru-RU" sz="816" b="1" dirty="0">
                <a:solidFill>
                  <a:prstClr val="white"/>
                </a:solidFill>
                <a:latin typeface="Segoe UI Light"/>
              </a:rPr>
              <a:t>2</a:t>
            </a:r>
            <a:endParaRPr lang="en-US" sz="816" b="1" dirty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="" xmlns:a16="http://schemas.microsoft.com/office/drawing/2014/main" id="{104DE676-42FD-413E-A460-C09D5BC0C1D4}"/>
              </a:ext>
            </a:extLst>
          </p:cNvPr>
          <p:cNvSpPr/>
          <p:nvPr/>
        </p:nvSpPr>
        <p:spPr bwMode="gray">
          <a:xfrm>
            <a:off x="1921890" y="4672572"/>
            <a:ext cx="145491" cy="145491"/>
          </a:xfrm>
          <a:prstGeom prst="ellipse">
            <a:avLst/>
          </a:prstGeom>
          <a:solidFill>
            <a:srgbClr val="0F4975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0725" tIns="70725" rIns="70725" bIns="70725" rtlCol="0" anchor="ctr"/>
          <a:lstStyle/>
          <a:p>
            <a:pPr algn="ctr" defTabSz="727510">
              <a:lnSpc>
                <a:spcPct val="106000"/>
              </a:lnSpc>
            </a:pPr>
            <a:r>
              <a:rPr lang="ru-RU" sz="816" b="1" dirty="0">
                <a:solidFill>
                  <a:prstClr val="white"/>
                </a:solidFill>
                <a:latin typeface="Segoe UI Light"/>
              </a:rPr>
              <a:t>3</a:t>
            </a:r>
            <a:endParaRPr lang="en-US" sz="816" b="1" dirty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64" name="Стрелка: шеврон 63">
            <a:extLst>
              <a:ext uri="{FF2B5EF4-FFF2-40B4-BE49-F238E27FC236}">
                <a16:creationId xmlns="" xmlns:a16="http://schemas.microsoft.com/office/drawing/2014/main" id="{F2C7F73A-F38C-4032-91C7-58B144FEE5DB}"/>
              </a:ext>
            </a:extLst>
          </p:cNvPr>
          <p:cNvSpPr/>
          <p:nvPr/>
        </p:nvSpPr>
        <p:spPr bwMode="gray">
          <a:xfrm>
            <a:off x="5949345" y="996803"/>
            <a:ext cx="4899304" cy="408348"/>
          </a:xfrm>
          <a:prstGeom prst="chevron">
            <a:avLst/>
          </a:prstGeom>
          <a:solidFill>
            <a:schemeClr val="bg1"/>
          </a:solidFill>
          <a:ln w="19050" algn="ctr">
            <a:solidFill>
              <a:srgbClr val="0F4975"/>
            </a:solidFill>
            <a:miter lim="800000"/>
            <a:headEnd/>
            <a:tailEnd/>
          </a:ln>
        </p:spPr>
        <p:txBody>
          <a:bodyPr wrap="square" lIns="64159" tIns="64159" rIns="64159" bIns="64159" rtlCol="0" anchor="ctr"/>
          <a:lstStyle/>
          <a:p>
            <a:pPr algn="ctr" defTabSz="727510">
              <a:lnSpc>
                <a:spcPct val="106000"/>
              </a:lnSpc>
            </a:pPr>
            <a:r>
              <a:rPr lang="ru-RU" sz="1273" b="1" dirty="0">
                <a:solidFill>
                  <a:prstClr val="black"/>
                </a:solidFill>
                <a:latin typeface="Segoe UI Light"/>
              </a:rPr>
              <a:t>Перспективные проекты</a:t>
            </a:r>
            <a:r>
              <a:rPr lang="en-US" sz="1273" b="1" dirty="0">
                <a:solidFill>
                  <a:prstClr val="black"/>
                </a:solidFill>
                <a:latin typeface="Segoe UI Light"/>
              </a:rPr>
              <a:t>                                                  </a:t>
            </a:r>
            <a:r>
              <a:rPr lang="ru-RU" sz="1273" b="1" dirty="0">
                <a:solidFill>
                  <a:prstClr val="black"/>
                </a:solidFill>
                <a:latin typeface="Segoe UI Light"/>
              </a:rPr>
              <a:t>более 143 млрд. тенге</a:t>
            </a:r>
          </a:p>
        </p:txBody>
      </p:sp>
      <p:sp>
        <p:nvSpPr>
          <p:cNvPr id="75" name="Стрелка: пятиугольник 74">
            <a:extLst>
              <a:ext uri="{FF2B5EF4-FFF2-40B4-BE49-F238E27FC236}">
                <a16:creationId xmlns="" xmlns:a16="http://schemas.microsoft.com/office/drawing/2014/main" id="{FA41BBC4-9A84-45B5-96B9-16D54FE988F0}"/>
              </a:ext>
            </a:extLst>
          </p:cNvPr>
          <p:cNvSpPr/>
          <p:nvPr/>
        </p:nvSpPr>
        <p:spPr bwMode="gray">
          <a:xfrm>
            <a:off x="1880288" y="1007076"/>
            <a:ext cx="3977461" cy="413218"/>
          </a:xfrm>
          <a:prstGeom prst="homePlate">
            <a:avLst/>
          </a:prstGeom>
          <a:solidFill>
            <a:srgbClr val="0F4975"/>
          </a:solidFill>
          <a:ln w="19050" algn="ctr">
            <a:solidFill>
              <a:srgbClr val="0F4975"/>
            </a:solidFill>
            <a:miter lim="800000"/>
            <a:headEnd/>
            <a:tailEnd/>
          </a:ln>
        </p:spPr>
        <p:txBody>
          <a:bodyPr wrap="square" lIns="64159" tIns="64159" rIns="64159" bIns="64159" rtlCol="0" anchor="ctr"/>
          <a:lstStyle/>
          <a:p>
            <a:pPr algn="ctr" defTabSz="727510">
              <a:lnSpc>
                <a:spcPct val="106000"/>
              </a:lnSpc>
            </a:pPr>
            <a:r>
              <a:rPr lang="ru-RU" sz="1273" b="1" dirty="0">
                <a:solidFill>
                  <a:prstClr val="white"/>
                </a:solidFill>
                <a:latin typeface="Segoe UI Light"/>
              </a:rPr>
              <a:t>Текущие проекты</a:t>
            </a:r>
            <a:endParaRPr lang="en-US" sz="1273" b="1" dirty="0">
              <a:solidFill>
                <a:prstClr val="white"/>
              </a:solidFill>
              <a:latin typeface="Segoe UI Light"/>
            </a:endParaRPr>
          </a:p>
          <a:p>
            <a:pPr algn="ctr" defTabSz="727510">
              <a:lnSpc>
                <a:spcPct val="106000"/>
              </a:lnSpc>
            </a:pPr>
            <a:r>
              <a:rPr lang="en-US" sz="1273" b="1" dirty="0">
                <a:solidFill>
                  <a:prstClr val="white"/>
                </a:solidFill>
                <a:latin typeface="Segoe UI Light"/>
              </a:rPr>
              <a:t> </a:t>
            </a:r>
            <a:r>
              <a:rPr lang="ru-RU" sz="1273" b="1" dirty="0">
                <a:solidFill>
                  <a:prstClr val="white"/>
                </a:solidFill>
                <a:latin typeface="Segoe UI Light"/>
              </a:rPr>
              <a:t>более </a:t>
            </a:r>
            <a:r>
              <a:rPr lang="ru-RU" sz="1273" b="1" dirty="0" smtClean="0">
                <a:solidFill>
                  <a:prstClr val="white"/>
                </a:solidFill>
                <a:latin typeface="Segoe UI Light"/>
              </a:rPr>
              <a:t>1</a:t>
            </a:r>
            <a:r>
              <a:rPr lang="en-US" sz="1273" b="1" dirty="0" smtClean="0">
                <a:solidFill>
                  <a:prstClr val="white"/>
                </a:solidFill>
                <a:latin typeface="Segoe UI Light"/>
              </a:rPr>
              <a:t>78</a:t>
            </a:r>
            <a:r>
              <a:rPr lang="ru-RU" sz="1273" b="1" dirty="0" smtClean="0">
                <a:solidFill>
                  <a:prstClr val="white"/>
                </a:solidFill>
                <a:latin typeface="Segoe UI Light"/>
              </a:rPr>
              <a:t> </a:t>
            </a:r>
            <a:r>
              <a:rPr lang="ru-RU" sz="1273" b="1" dirty="0">
                <a:solidFill>
                  <a:prstClr val="white"/>
                </a:solidFill>
                <a:latin typeface="Segoe UI Light"/>
              </a:rPr>
              <a:t>млрд. тенге</a:t>
            </a:r>
          </a:p>
        </p:txBody>
      </p:sp>
      <p:sp>
        <p:nvSpPr>
          <p:cNvPr id="81" name="Rectangle: Rounded Corners 21">
            <a:extLst>
              <a:ext uri="{FF2B5EF4-FFF2-40B4-BE49-F238E27FC236}">
                <a16:creationId xmlns="" xmlns:a16="http://schemas.microsoft.com/office/drawing/2014/main" id="{E6C720A3-AC67-4CE6-878A-9E1E0B592341}"/>
              </a:ext>
            </a:extLst>
          </p:cNvPr>
          <p:cNvSpPr/>
          <p:nvPr/>
        </p:nvSpPr>
        <p:spPr bwMode="gray">
          <a:xfrm>
            <a:off x="2157430" y="1489635"/>
            <a:ext cx="3519564" cy="1621602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0F4975"/>
            </a:solidFill>
            <a:miter lim="800000"/>
            <a:headEnd/>
            <a:tailEnd/>
          </a:ln>
        </p:spPr>
        <p:txBody>
          <a:bodyPr wrap="square" lIns="64159" tIns="64159" rIns="64159" bIns="64159" rtlCol="0" anchor="ctr"/>
          <a:lstStyle/>
          <a:p>
            <a:pPr algn="ctr" defTabSz="727510"/>
            <a:r>
              <a:rPr lang="ru-RU" sz="800" b="1" dirty="0">
                <a:solidFill>
                  <a:srgbClr val="ED8B00"/>
                </a:solidFill>
                <a:latin typeface="Segoe UI Light"/>
              </a:rPr>
              <a:t>Производство серной кислоты </a:t>
            </a:r>
          </a:p>
          <a:p>
            <a:pPr algn="ctr" defTabSz="727510"/>
            <a:r>
              <a:rPr lang="ru-RU" sz="800" dirty="0">
                <a:solidFill>
                  <a:srgbClr val="ED8B00"/>
                </a:solidFill>
                <a:latin typeface="Segoe UI Light"/>
              </a:rPr>
              <a:t>(расширение ТОО «</a:t>
            </a:r>
            <a:r>
              <a:rPr lang="en-US" sz="800" dirty="0">
                <a:solidFill>
                  <a:srgbClr val="ED8B00"/>
                </a:solidFill>
                <a:latin typeface="Segoe UI Light"/>
              </a:rPr>
              <a:t>SSAP</a:t>
            </a:r>
            <a:r>
              <a:rPr lang="en-US" sz="800" dirty="0" smtClean="0">
                <a:solidFill>
                  <a:srgbClr val="ED8B00"/>
                </a:solidFill>
                <a:latin typeface="Segoe UI Light"/>
              </a:rPr>
              <a:t>» </a:t>
            </a:r>
            <a:r>
              <a:rPr lang="ru-RU" sz="800" dirty="0" err="1" smtClean="0">
                <a:solidFill>
                  <a:srgbClr val="ED8B00"/>
                </a:solidFill>
                <a:latin typeface="Segoe UI Light"/>
              </a:rPr>
              <a:t>г.Степногорск</a:t>
            </a:r>
            <a:r>
              <a:rPr lang="ru-RU" sz="800" dirty="0" smtClean="0">
                <a:solidFill>
                  <a:srgbClr val="ED8B00"/>
                </a:solidFill>
                <a:latin typeface="Segoe UI Light"/>
              </a:rPr>
              <a:t>)</a:t>
            </a:r>
            <a:endParaRPr lang="ru-RU" sz="800" dirty="0">
              <a:solidFill>
                <a:srgbClr val="ED8B00"/>
              </a:solidFill>
              <a:latin typeface="Segoe UI Light"/>
            </a:endParaRPr>
          </a:p>
          <a:p>
            <a:pPr lvl="0" algn="just" defTabSz="742970">
              <a:spcBef>
                <a:spcPts val="600"/>
              </a:spcBef>
              <a:buClr>
                <a:srgbClr val="6DBFB4"/>
              </a:buClr>
            </a:pPr>
            <a:r>
              <a:rPr lang="kk-KZ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Участники: </a:t>
            </a:r>
            <a:r>
              <a:rPr lang="kk-KZ" alt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ТОО «</a:t>
            </a:r>
            <a:r>
              <a:rPr lang="en-US" altLang="ru-RU" sz="800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Samruk-Kazyna</a:t>
            </a:r>
            <a:r>
              <a:rPr lang="en-US" alt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</a:t>
            </a:r>
            <a:r>
              <a:rPr lang="en-US" altLang="ru-RU" sz="800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Ondeu</a:t>
            </a:r>
            <a:r>
              <a:rPr lang="kk-KZ" alt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»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-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90,11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%</a:t>
            </a:r>
            <a:endParaRPr lang="ru-RU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Arial"/>
            </a:endParaRPr>
          </a:p>
          <a:p>
            <a:pPr lvl="0" algn="just" defTabSz="742970">
              <a:buClr>
                <a:srgbClr val="6DBFB4"/>
              </a:buClr>
            </a:pPr>
            <a:r>
              <a:rPr lang="en-US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                 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АО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«НАК </a:t>
            </a:r>
            <a:r>
              <a:rPr lang="ru-RU" sz="800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Казатомпром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» - 9,89%</a:t>
            </a:r>
          </a:p>
          <a:p>
            <a:pPr marL="0" lvl="2" defTabSz="867948">
              <a:buClr>
                <a:srgbClr val="6DBFB4"/>
              </a:buClr>
              <a:buSzPct val="100000"/>
              <a:defRPr/>
            </a:pP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Стоимость проекта: 19,8 млрд. тенге</a:t>
            </a:r>
          </a:p>
          <a:p>
            <a:pPr marL="0" lvl="2" defTabSz="867948">
              <a:buClr>
                <a:srgbClr val="6DBFB4"/>
              </a:buClr>
              <a:buSzPct val="100000"/>
              <a:defRPr/>
            </a:pP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D/E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: 72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%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/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28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%</a:t>
            </a:r>
            <a:endParaRPr lang="ru-RU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Arial"/>
            </a:endParaRPr>
          </a:p>
          <a:p>
            <a:pPr marL="0" lvl="2" defTabSz="867948">
              <a:buClr>
                <a:srgbClr val="6DBFB4"/>
              </a:buClr>
              <a:buSzPct val="100000"/>
              <a:defRPr/>
            </a:pP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Дата ввода в эксплуатацию: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202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6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г.</a:t>
            </a:r>
          </a:p>
          <a:p>
            <a:pPr marL="0" lvl="2" defTabSz="867948">
              <a:buClr>
                <a:srgbClr val="6DBFB4"/>
              </a:buClr>
              <a:buSzPct val="100000"/>
              <a:defRPr/>
            </a:pP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Постоянные рабочие места – 122 человек</a:t>
            </a:r>
            <a:endParaRPr lang="en-US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Arial"/>
            </a:endParaRPr>
          </a:p>
          <a:p>
            <a:pPr marL="0" lvl="2" defTabSz="867948">
              <a:buClr>
                <a:srgbClr val="6DBFB4"/>
              </a:buClr>
              <a:buSzPct val="100000"/>
              <a:defRPr/>
            </a:pP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Параметры</a:t>
            </a:r>
          </a:p>
          <a:p>
            <a:pPr marL="0" lvl="2" defTabSz="867948">
              <a:buClr>
                <a:srgbClr val="6DBFB4"/>
              </a:buClr>
              <a:buSzPct val="100000"/>
              <a:defRPr/>
            </a:pP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NPV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FCF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Е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    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-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7,5 млрд. тенге</a:t>
            </a:r>
            <a:endParaRPr lang="en-US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Arial"/>
            </a:endParaRPr>
          </a:p>
          <a:p>
            <a:pPr marL="0" lvl="2" defTabSz="867948">
              <a:buClr>
                <a:srgbClr val="6DBFB4"/>
              </a:buClr>
              <a:buSzPct val="100000"/>
              <a:defRPr/>
            </a:pP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IRR             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  -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17,9%</a:t>
            </a:r>
            <a:endParaRPr lang="en-US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</a:endParaRPr>
          </a:p>
          <a:p>
            <a:pPr marL="0" lvl="2" defTabSz="867948">
              <a:buClr>
                <a:srgbClr val="6DBFB4"/>
              </a:buClr>
              <a:buSzPct val="100000"/>
              <a:defRPr/>
            </a:pP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DPBP     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 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    -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 10,8 лет</a:t>
            </a:r>
            <a:endParaRPr lang="en-US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Arial"/>
            </a:endParaRPr>
          </a:p>
        </p:txBody>
      </p:sp>
      <p:sp>
        <p:nvSpPr>
          <p:cNvPr id="83" name="Rectangle: Rounded Corners 21">
            <a:extLst>
              <a:ext uri="{FF2B5EF4-FFF2-40B4-BE49-F238E27FC236}">
                <a16:creationId xmlns="" xmlns:a16="http://schemas.microsoft.com/office/drawing/2014/main" id="{E6C720A3-AC67-4CE6-878A-9E1E0B592341}"/>
              </a:ext>
            </a:extLst>
          </p:cNvPr>
          <p:cNvSpPr/>
          <p:nvPr/>
        </p:nvSpPr>
        <p:spPr bwMode="gray">
          <a:xfrm>
            <a:off x="2109236" y="3146432"/>
            <a:ext cx="3567758" cy="1334507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0F4975"/>
            </a:solidFill>
            <a:miter lim="800000"/>
            <a:headEnd/>
            <a:tailEnd/>
          </a:ln>
        </p:spPr>
        <p:txBody>
          <a:bodyPr wrap="square" lIns="70725" tIns="70725" rIns="70725" bIns="70725" rtlCol="0" anchor="ctr"/>
          <a:lstStyle/>
          <a:p>
            <a:pPr algn="ctr" defTabSz="898646">
              <a:buClr>
                <a:srgbClr val="6FC2B4"/>
              </a:buClr>
              <a:buSzPct val="100000"/>
              <a:defRPr/>
            </a:pPr>
            <a:r>
              <a:rPr lang="ru-RU" sz="800" b="1" dirty="0">
                <a:solidFill>
                  <a:srgbClr val="ED8B00"/>
                </a:solidFill>
                <a:latin typeface="Segoe UI Light"/>
              </a:rPr>
              <a:t>Производство </a:t>
            </a:r>
            <a:r>
              <a:rPr lang="ru-RU" sz="800" b="1" dirty="0" smtClean="0">
                <a:solidFill>
                  <a:srgbClr val="ED8B00"/>
                </a:solidFill>
                <a:latin typeface="Segoe UI Light"/>
              </a:rPr>
              <a:t>метанола </a:t>
            </a:r>
          </a:p>
          <a:p>
            <a:pPr algn="ctr" defTabSz="898646">
              <a:buClr>
                <a:srgbClr val="6FC2B4"/>
              </a:buClr>
              <a:buSzPct val="100000"/>
              <a:defRPr/>
            </a:pPr>
            <a:r>
              <a:rPr lang="ru-RU" sz="800" b="1" dirty="0" smtClean="0">
                <a:solidFill>
                  <a:srgbClr val="ED8B00"/>
                </a:solidFill>
                <a:latin typeface="Segoe UI Light"/>
              </a:rPr>
              <a:t>(</a:t>
            </a:r>
            <a:r>
              <a:rPr lang="ru-RU" sz="800" b="1" dirty="0" err="1" smtClean="0">
                <a:solidFill>
                  <a:srgbClr val="ED8B00"/>
                </a:solidFill>
                <a:latin typeface="Segoe UI Light"/>
              </a:rPr>
              <a:t>г.Уральск</a:t>
            </a:r>
            <a:r>
              <a:rPr lang="ru-RU" sz="800" b="1" dirty="0" smtClean="0">
                <a:solidFill>
                  <a:srgbClr val="ED8B00"/>
                </a:solidFill>
                <a:latin typeface="Segoe UI Light"/>
              </a:rPr>
              <a:t>, до </a:t>
            </a:r>
            <a:r>
              <a:rPr lang="ru-RU" sz="800" b="1" dirty="0">
                <a:solidFill>
                  <a:srgbClr val="ED8B00"/>
                </a:solidFill>
                <a:latin typeface="Segoe UI Light"/>
              </a:rPr>
              <a:t>130 тыс. тонн метанола в год)</a:t>
            </a:r>
          </a:p>
          <a:p>
            <a:pPr fontAlgn="ctr">
              <a:spcBef>
                <a:spcPts val="600"/>
              </a:spcBef>
            </a:pPr>
            <a:r>
              <a:rPr lang="kk-KZ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Участники: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Физические лица – не менее 51%;</a:t>
            </a:r>
          </a:p>
          <a:p>
            <a:pPr fontAlgn="ctr"/>
            <a:r>
              <a:rPr lang="kk-KZ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                 СК </a:t>
            </a:r>
            <a:r>
              <a:rPr lang="kk-KZ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Инвест – до 49%, в т.ч. доля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SKO</a:t>
            </a:r>
            <a:r>
              <a:rPr lang="kk-KZ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(по </a:t>
            </a:r>
            <a:r>
              <a:rPr lang="kk-KZ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согласованию</a:t>
            </a:r>
            <a:r>
              <a:rPr lang="kk-KZ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)</a:t>
            </a:r>
            <a:endParaRPr lang="ru-RU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</a:endParaRPr>
          </a:p>
          <a:p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Стоимость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проекта: 75 млрд. 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тенге</a:t>
            </a:r>
          </a:p>
          <a:p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Arial"/>
              </a:rPr>
              <a:t>Дата запуска: 2 полугодие 2025 г.</a:t>
            </a:r>
          </a:p>
          <a:p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Постоянные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рабочие места – 231 человек</a:t>
            </a:r>
          </a:p>
          <a:p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Параметры: Р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I </a:t>
            </a:r>
            <a:r>
              <a:rPr lang="en-US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1,22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, </a:t>
            </a:r>
            <a:r>
              <a:rPr lang="en-US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PBP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8,9 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лет, </a:t>
            </a:r>
            <a:r>
              <a:rPr lang="en-US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NPV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15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,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7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млрд.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</a:t>
            </a:r>
            <a:r>
              <a:rPr lang="ru-RU" sz="800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тг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. </a:t>
            </a:r>
          </a:p>
          <a:p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IRR 18,65%</a:t>
            </a:r>
            <a:endParaRPr lang="ru-RU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</a:endParaRPr>
          </a:p>
          <a:p>
            <a:pPr defTabSz="898646">
              <a:spcAft>
                <a:spcPts val="544"/>
              </a:spcAft>
              <a:defRPr/>
            </a:pPr>
            <a:endParaRPr lang="ru-RU" sz="800" b="1" dirty="0">
              <a:solidFill>
                <a:prstClr val="black"/>
              </a:solidFill>
              <a:sym typeface="Segoe UI Black"/>
            </a:endParaRPr>
          </a:p>
        </p:txBody>
      </p:sp>
      <p:sp>
        <p:nvSpPr>
          <p:cNvPr id="84" name="Rectangle: Rounded Corners 21">
            <a:extLst>
              <a:ext uri="{FF2B5EF4-FFF2-40B4-BE49-F238E27FC236}">
                <a16:creationId xmlns="" xmlns:a16="http://schemas.microsoft.com/office/drawing/2014/main" id="{E6C720A3-AC67-4CE6-878A-9E1E0B592341}"/>
              </a:ext>
            </a:extLst>
          </p:cNvPr>
          <p:cNvSpPr/>
          <p:nvPr/>
        </p:nvSpPr>
        <p:spPr bwMode="gray">
          <a:xfrm>
            <a:off x="2109236" y="4535104"/>
            <a:ext cx="3519564" cy="177843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0F4975"/>
            </a:solidFill>
            <a:miter lim="800000"/>
            <a:headEnd/>
            <a:tailEnd/>
          </a:ln>
        </p:spPr>
        <p:txBody>
          <a:bodyPr wrap="square" lIns="70725" tIns="70725" rIns="70725" bIns="70725" rtlCol="0" anchor="ctr"/>
          <a:lstStyle/>
          <a:p>
            <a:pPr algn="ctr" defTabSz="898646">
              <a:lnSpc>
                <a:spcPct val="110000"/>
              </a:lnSpc>
              <a:buClr>
                <a:srgbClr val="6FC2B4"/>
              </a:buClr>
              <a:buSzPct val="100000"/>
              <a:defRPr/>
            </a:pPr>
            <a:r>
              <a:rPr lang="ru-RU" sz="800" b="1" dirty="0">
                <a:solidFill>
                  <a:srgbClr val="ED8B00"/>
                </a:solidFill>
                <a:latin typeface="Segoe UI Light"/>
              </a:rPr>
              <a:t>Производство серной кислоты </a:t>
            </a:r>
            <a:endParaRPr lang="ru-RU" sz="800" b="1" dirty="0" smtClean="0">
              <a:solidFill>
                <a:srgbClr val="ED8B00"/>
              </a:solidFill>
              <a:latin typeface="Segoe UI Light"/>
            </a:endParaRPr>
          </a:p>
          <a:p>
            <a:pPr algn="ctr" defTabSz="898646">
              <a:lnSpc>
                <a:spcPct val="110000"/>
              </a:lnSpc>
              <a:buClr>
                <a:srgbClr val="6FC2B4"/>
              </a:buClr>
              <a:buSzPct val="100000"/>
              <a:defRPr/>
            </a:pPr>
            <a:r>
              <a:rPr lang="ru-RU" sz="800" dirty="0" smtClean="0">
                <a:solidFill>
                  <a:srgbClr val="ED8B00"/>
                </a:solidFill>
                <a:latin typeface="Segoe UI Light"/>
              </a:rPr>
              <a:t>(</a:t>
            </a:r>
            <a:r>
              <a:rPr lang="ru-RU" sz="800" dirty="0">
                <a:solidFill>
                  <a:srgbClr val="ED8B00"/>
                </a:solidFill>
                <a:latin typeface="Segoe UI Light"/>
              </a:rPr>
              <a:t>800 тыс. </a:t>
            </a:r>
            <a:r>
              <a:rPr lang="ru-RU" sz="800" dirty="0" smtClean="0">
                <a:solidFill>
                  <a:srgbClr val="ED8B00"/>
                </a:solidFill>
                <a:latin typeface="Segoe UI Light"/>
              </a:rPr>
              <a:t>тонн, </a:t>
            </a:r>
            <a:r>
              <a:rPr lang="ru-RU" sz="800" dirty="0">
                <a:solidFill>
                  <a:srgbClr val="ED8B00"/>
                </a:solidFill>
                <a:latin typeface="Segoe UI Light"/>
              </a:rPr>
              <a:t>п. </a:t>
            </a:r>
            <a:r>
              <a:rPr lang="ru-RU" sz="800" dirty="0" err="1">
                <a:solidFill>
                  <a:srgbClr val="ED8B00"/>
                </a:solidFill>
                <a:latin typeface="Segoe UI Light"/>
              </a:rPr>
              <a:t>Тайконур</a:t>
            </a:r>
            <a:r>
              <a:rPr lang="ru-RU" sz="800" dirty="0">
                <a:solidFill>
                  <a:srgbClr val="ED8B00"/>
                </a:solidFill>
                <a:latin typeface="Segoe UI Light"/>
              </a:rPr>
              <a:t>, </a:t>
            </a:r>
            <a:r>
              <a:rPr lang="ru-RU" sz="800" dirty="0" err="1">
                <a:solidFill>
                  <a:srgbClr val="ED8B00"/>
                </a:solidFill>
                <a:latin typeface="Segoe UI Light"/>
              </a:rPr>
              <a:t>Созакский</a:t>
            </a:r>
            <a:r>
              <a:rPr lang="ru-RU" sz="800" dirty="0">
                <a:solidFill>
                  <a:srgbClr val="ED8B00"/>
                </a:solidFill>
                <a:latin typeface="Segoe UI Light"/>
              </a:rPr>
              <a:t> район, Туркестанская область)</a:t>
            </a:r>
          </a:p>
          <a:p>
            <a:pPr defTabSz="898646">
              <a:lnSpc>
                <a:spcPct val="110000"/>
              </a:lnSpc>
              <a:spcBef>
                <a:spcPts val="600"/>
              </a:spcBef>
              <a:buClr>
                <a:srgbClr val="6FC2B4"/>
              </a:buClr>
              <a:buSzPct val="100000"/>
              <a:defRPr/>
            </a:pPr>
            <a:r>
              <a:rPr lang="kk-KZ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Участники</a:t>
            </a:r>
            <a:r>
              <a:rPr lang="kk-KZ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: </a:t>
            </a:r>
            <a:r>
              <a:rPr lang="kk-KZ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АО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«НАК «</a:t>
            </a:r>
            <a:r>
              <a:rPr lang="ru-RU" sz="800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Казатомпром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»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-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75</a:t>
            </a:r>
            <a:r>
              <a:rPr lang="en-US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%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, </a:t>
            </a:r>
          </a:p>
          <a:p>
            <a:pPr defTabSz="898646">
              <a:lnSpc>
                <a:spcPct val="110000"/>
              </a:lnSpc>
              <a:buClr>
                <a:srgbClr val="6FC2B4"/>
              </a:buClr>
              <a:buSzPct val="100000"/>
              <a:defRPr/>
            </a:pP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               </a:t>
            </a:r>
            <a:r>
              <a:rPr lang="kk-KZ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ТОО </a:t>
            </a:r>
            <a:r>
              <a:rPr lang="kk-KZ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«</a:t>
            </a:r>
            <a:r>
              <a:rPr lang="en-US" sz="800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Samruk-Kazyna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</a:t>
            </a:r>
            <a:r>
              <a:rPr lang="en-US" sz="800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Ondeu</a:t>
            </a:r>
            <a:r>
              <a:rPr lang="kk-KZ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»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-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25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%</a:t>
            </a:r>
            <a:endParaRPr lang="ru-RU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</a:endParaRPr>
          </a:p>
          <a:p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Стоимость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проекта: 83 млрд. тенге</a:t>
            </a:r>
          </a:p>
          <a:p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D/E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: 60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%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/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40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%</a:t>
            </a:r>
            <a:endParaRPr lang="ru-RU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</a:endParaRPr>
          </a:p>
          <a:p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Дата ввода в эксплуатацию: </a:t>
            </a:r>
            <a:r>
              <a:rPr lang="en-US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202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5</a:t>
            </a:r>
            <a:r>
              <a:rPr lang="en-US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</a:t>
            </a:r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г.</a:t>
            </a:r>
          </a:p>
          <a:p>
            <a:r>
              <a:rPr lang="ru-RU" sz="800" dirty="0" smtClean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Постоянные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рабочие места – 300 человек</a:t>
            </a:r>
          </a:p>
          <a:p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Параметры</a:t>
            </a:r>
          </a:p>
          <a:p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NPV             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-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6,2 млрд. тенге</a:t>
            </a:r>
          </a:p>
          <a:p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IRR             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  -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14,94%</a:t>
            </a:r>
          </a:p>
          <a:p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DPBP      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  </a:t>
            </a:r>
            <a:r>
              <a:rPr lang="en-US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    -</a:t>
            </a:r>
            <a:r>
              <a:rPr lang="ru-RU" sz="800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</a:rPr>
              <a:t> 9 лет</a:t>
            </a:r>
          </a:p>
          <a:p>
            <a:pPr algn="ctr" defTabSz="898646"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endParaRPr lang="ru-RU" sz="800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Segoe UI Black"/>
            </a:endParaRPr>
          </a:p>
        </p:txBody>
      </p:sp>
      <p:sp>
        <p:nvSpPr>
          <p:cNvPr id="86" name="Rectangle: Rounded Corners 21">
            <a:extLst>
              <a:ext uri="{FF2B5EF4-FFF2-40B4-BE49-F238E27FC236}">
                <a16:creationId xmlns="" xmlns:a16="http://schemas.microsoft.com/office/drawing/2014/main" id="{E6C720A3-AC67-4CE6-878A-9E1E0B592341}"/>
              </a:ext>
            </a:extLst>
          </p:cNvPr>
          <p:cNvSpPr/>
          <p:nvPr/>
        </p:nvSpPr>
        <p:spPr bwMode="gray">
          <a:xfrm>
            <a:off x="6122307" y="1761369"/>
            <a:ext cx="4726342" cy="85622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0F4975"/>
            </a:solidFill>
            <a:miter lim="800000"/>
            <a:headEnd/>
            <a:tailEnd/>
          </a:ln>
        </p:spPr>
        <p:txBody>
          <a:bodyPr wrap="square" lIns="70725" tIns="70725" rIns="70725" bIns="70725" rtlCol="0" anchor="ctr"/>
          <a:lstStyle/>
          <a:p>
            <a:pPr algn="ctr" defTabSz="898646">
              <a:buClr>
                <a:srgbClr val="6FC2B4"/>
              </a:buClr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ru-RU" sz="1089" b="1" dirty="0">
                <a:solidFill>
                  <a:srgbClr val="43B02A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Производство сульфата аммония</a:t>
            </a:r>
            <a:endParaRPr lang="en-US" sz="1089" b="1" dirty="0">
              <a:solidFill>
                <a:srgbClr val="43B02A"/>
              </a:solidFill>
              <a:latin typeface="Segoe UI Light"/>
              <a:ea typeface="Segoe UI Light"/>
              <a:cs typeface="Segoe UI Light"/>
              <a:sym typeface="Segoe UI Light"/>
            </a:endParaRPr>
          </a:p>
          <a:p>
            <a:pPr algn="ctr" defTabSz="898646"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kk-KZ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Участники: </a:t>
            </a:r>
            <a:r>
              <a:rPr lang="en-US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SKO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, </a:t>
            </a:r>
            <a:r>
              <a:rPr lang="en-US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Chevron Direct Investment Fund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, </a:t>
            </a:r>
            <a:r>
              <a:rPr lang="kk-KZ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ТОО 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«</a:t>
            </a:r>
            <a:r>
              <a:rPr lang="ru-RU" sz="953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КазФосфат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»</a:t>
            </a:r>
          </a:p>
          <a:p>
            <a:pPr algn="ctr" defTabSz="898646"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kk-KZ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Стоимость:</a:t>
            </a:r>
            <a:r>
              <a:rPr lang="en-US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 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30 млрд. тенге </a:t>
            </a:r>
            <a:endParaRPr lang="en-US" sz="953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Segoe UI Light"/>
            </a:endParaRPr>
          </a:p>
          <a:p>
            <a:pPr marL="155539" indent="-155539" algn="ctr" defTabSz="898646">
              <a:buClr>
                <a:srgbClr val="6FC2B4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Проводится техническое обследование потенциальной площадки для проекта</a:t>
            </a:r>
          </a:p>
          <a:p>
            <a:pPr marL="155539" indent="-155539" algn="ctr" defTabSz="898646">
              <a:buClr>
                <a:srgbClr val="6FC2B4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Ведется разработка Бизнес-плана</a:t>
            </a:r>
          </a:p>
        </p:txBody>
      </p:sp>
      <p:sp>
        <p:nvSpPr>
          <p:cNvPr id="92" name="Rectangle: Rounded Corners 21">
            <a:extLst>
              <a:ext uri="{FF2B5EF4-FFF2-40B4-BE49-F238E27FC236}">
                <a16:creationId xmlns="" xmlns:a16="http://schemas.microsoft.com/office/drawing/2014/main" id="{E6C720A3-AC67-4CE6-878A-9E1E0B592341}"/>
              </a:ext>
            </a:extLst>
          </p:cNvPr>
          <p:cNvSpPr/>
          <p:nvPr/>
        </p:nvSpPr>
        <p:spPr bwMode="gray">
          <a:xfrm>
            <a:off x="6122307" y="2699677"/>
            <a:ext cx="4726342" cy="103508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0F4975"/>
            </a:solidFill>
            <a:miter lim="800000"/>
            <a:headEnd/>
            <a:tailEnd/>
          </a:ln>
        </p:spPr>
        <p:txBody>
          <a:bodyPr wrap="square" lIns="70725" tIns="70725" rIns="70725" bIns="70725" rtlCol="0" anchor="ctr"/>
          <a:lstStyle/>
          <a:p>
            <a:pPr algn="ctr" defTabSz="898646">
              <a:lnSpc>
                <a:spcPct val="110000"/>
              </a:lnSpc>
              <a:buClr>
                <a:srgbClr val="6FC2B4"/>
              </a:buClr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ru-RU" sz="1089" b="1" dirty="0">
                <a:solidFill>
                  <a:srgbClr val="43B02A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Производство серной кислоты </a:t>
            </a:r>
            <a:r>
              <a:rPr lang="ru-RU" sz="1089" dirty="0">
                <a:solidFill>
                  <a:srgbClr val="43B02A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(1 млн тонн)</a:t>
            </a:r>
          </a:p>
          <a:p>
            <a:pPr algn="ctr" defTabSz="898646"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kk-KZ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Участники: </a:t>
            </a:r>
            <a:r>
              <a:rPr lang="en-US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SKO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, </a:t>
            </a:r>
            <a:r>
              <a:rPr lang="en-US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Chevron Direct Investment Fund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, </a:t>
            </a:r>
            <a:r>
              <a:rPr lang="kk-KZ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ТОО 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«</a:t>
            </a:r>
            <a:r>
              <a:rPr lang="ru-RU" sz="953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КазФосфат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»</a:t>
            </a:r>
          </a:p>
          <a:p>
            <a:pPr algn="ctr" defTabSz="898646"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kk-KZ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Стоимость: 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95 млрд. тенге</a:t>
            </a:r>
            <a:endParaRPr lang="kk-KZ" sz="953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Segoe UI Light"/>
            </a:endParaRPr>
          </a:p>
          <a:p>
            <a:pPr marL="155539" indent="-155539" algn="ctr" defTabSz="898646">
              <a:buClr>
                <a:srgbClr val="6FC2B4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Ведутся переговоры по согласованию и подписанию базового соглашения</a:t>
            </a:r>
            <a:endParaRPr lang="en-US" sz="953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Segoe UI Light"/>
            </a:endParaRPr>
          </a:p>
          <a:p>
            <a:pPr marL="155539" indent="-155539" algn="ctr" defTabSz="898646">
              <a:buClr>
                <a:srgbClr val="6FC2B4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Достигнута договоренность: разработка ТЭО за счет средств с ТОО «</a:t>
            </a:r>
            <a:r>
              <a:rPr lang="ru-RU" sz="953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КазФосфат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»</a:t>
            </a:r>
          </a:p>
        </p:txBody>
      </p:sp>
      <p:sp>
        <p:nvSpPr>
          <p:cNvPr id="93" name="Rectangle: Rounded Corners 21">
            <a:extLst>
              <a:ext uri="{FF2B5EF4-FFF2-40B4-BE49-F238E27FC236}">
                <a16:creationId xmlns="" xmlns:a16="http://schemas.microsoft.com/office/drawing/2014/main" id="{E6C720A3-AC67-4CE6-878A-9E1E0B592341}"/>
              </a:ext>
            </a:extLst>
          </p:cNvPr>
          <p:cNvSpPr/>
          <p:nvPr/>
        </p:nvSpPr>
        <p:spPr bwMode="gray">
          <a:xfrm>
            <a:off x="6122307" y="3822144"/>
            <a:ext cx="4726342" cy="93176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rgbClr val="0F4975"/>
            </a:solidFill>
            <a:miter lim="800000"/>
            <a:headEnd/>
            <a:tailEnd/>
          </a:ln>
        </p:spPr>
        <p:txBody>
          <a:bodyPr wrap="square" lIns="70725" tIns="70725" rIns="70725" bIns="70725" rtlCol="0" anchor="ctr"/>
          <a:lstStyle/>
          <a:p>
            <a:pPr algn="ctr" defTabSz="898646">
              <a:lnSpc>
                <a:spcPct val="110000"/>
              </a:lnSpc>
              <a:buClr>
                <a:srgbClr val="6FC2B4"/>
              </a:buClr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kk-KZ" sz="1089" b="1" dirty="0">
                <a:solidFill>
                  <a:srgbClr val="43B02A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Переработка свинцового шлака </a:t>
            </a:r>
          </a:p>
          <a:p>
            <a:pPr algn="ctr" defTabSz="898646"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kk-KZ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Участники: </a:t>
            </a:r>
            <a:r>
              <a:rPr lang="en-US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SKO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, ФПК «</a:t>
            </a:r>
            <a:r>
              <a:rPr lang="ru-RU" sz="953" dirty="0" err="1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Онтустик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» </a:t>
            </a:r>
          </a:p>
          <a:p>
            <a:pPr algn="ctr" defTabSz="898646"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kk-KZ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Стоимость: </a:t>
            </a: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18 млрд. тенге</a:t>
            </a:r>
            <a:endParaRPr lang="kk-KZ" sz="953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Segoe UI Light"/>
            </a:endParaRPr>
          </a:p>
          <a:p>
            <a:pPr algn="ctr" defTabSz="898646">
              <a:buSzPct val="100000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endParaRPr lang="kk-KZ" sz="953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Segoe UI Light"/>
            </a:endParaRPr>
          </a:p>
          <a:p>
            <a:pPr marL="155539" indent="-155539" algn="ctr" defTabSz="898646">
              <a:buClr>
                <a:srgbClr val="6FC2B4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pPr>
            <a:r>
              <a:rPr lang="ru-RU" sz="953" dirty="0">
                <a:solidFill>
                  <a:srgbClr val="5E5E5E"/>
                </a:solidFill>
                <a:latin typeface="Segoe UI Light"/>
                <a:ea typeface="Segoe UI Light"/>
                <a:cs typeface="Segoe UI Light"/>
                <a:sym typeface="Segoe UI Light"/>
              </a:rPr>
              <a:t>Ведется разработка Концепции и финансовой модели проекта</a:t>
            </a:r>
            <a:endParaRPr lang="kk-KZ" sz="953" dirty="0">
              <a:solidFill>
                <a:srgbClr val="5E5E5E"/>
              </a:solidFill>
              <a:latin typeface="Segoe UI Light"/>
              <a:ea typeface="Segoe UI Light"/>
              <a:cs typeface="Segoe UI Light"/>
              <a:sym typeface="Segoe UI Light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058C5C12-2A46-12D4-B4EE-932AB41E0C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3874568-3365-7BB9-1274-CA953D9622A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1209" y="206548"/>
            <a:ext cx="839399" cy="67486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7F263571-9D72-7256-A430-5425D280EC9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231392" y="517100"/>
            <a:ext cx="11011272" cy="467475"/>
          </a:xfrm>
          <a:prstGeom prst="rect">
            <a:avLst/>
          </a:prstGeom>
        </p:spPr>
      </p:pic>
      <p:sp>
        <p:nvSpPr>
          <p:cNvPr id="7" name="Номер слайда 3">
            <a:extLst>
              <a:ext uri="{FF2B5EF4-FFF2-40B4-BE49-F238E27FC236}">
                <a16:creationId xmlns="" xmlns:a16="http://schemas.microsoft.com/office/drawing/2014/main" id="{45A4171A-D9A3-DDD3-C722-70F51C4D32E5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20</a:t>
            </a:fld>
            <a:endParaRPr lang="ru-RU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508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00891" y="6309098"/>
            <a:ext cx="4258556" cy="153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544"/>
              </a:spcBef>
              <a:buSzPct val="100000"/>
            </a:pPr>
            <a:r>
              <a:rPr lang="ru-RU" sz="998" baseline="30000" dirty="0">
                <a:solidFill>
                  <a:srgbClr val="313131"/>
                </a:solidFill>
              </a:rPr>
              <a:t>*</a:t>
            </a:r>
            <a:r>
              <a:rPr lang="ru-RU" sz="998" dirty="0">
                <a:solidFill>
                  <a:srgbClr val="313131"/>
                </a:solidFill>
              </a:rPr>
              <a:t> </a:t>
            </a:r>
            <a:r>
              <a:rPr lang="ru-RU" sz="998" dirty="0">
                <a:latin typeface="Segoe UI Light" panose="020B0502040204020203" pitchFamily="34" charset="0"/>
                <a:cs typeface="Segoe UI Light" panose="020B0502040204020203" pitchFamily="34" charset="0"/>
              </a:rPr>
              <a:t>Центр научно-технологических инициатив </a:t>
            </a:r>
            <a:endParaRPr lang="ru-RU" sz="998" dirty="0">
              <a:solidFill>
                <a:srgbClr val="31313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="" xmlns:a16="http://schemas.microsoft.com/office/drawing/2014/main" id="{3D0F20E7-467F-4219-AD20-DD7B786D933E}"/>
              </a:ext>
            </a:extLst>
          </p:cNvPr>
          <p:cNvSpPr/>
          <p:nvPr/>
        </p:nvSpPr>
        <p:spPr bwMode="gray">
          <a:xfrm rot="16200000">
            <a:off x="78741" y="2714569"/>
            <a:ext cx="3092166" cy="3637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70725" tIns="70725" rIns="70725" bIns="70725" rtlCol="0" anchor="ctr"/>
          <a:lstStyle/>
          <a:p>
            <a:pPr algn="ctr" defTabSz="727510">
              <a:lnSpc>
                <a:spcPct val="106000"/>
              </a:lnSpc>
            </a:pPr>
            <a:r>
              <a:rPr lang="ru-RU" sz="127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Light"/>
              </a:rPr>
              <a:t>2022 год</a:t>
            </a:r>
            <a:endParaRPr lang="en-US" sz="1270" b="1" dirty="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2" name="Rectangle: Rounded Corners 10">
            <a:extLst>
              <a:ext uri="{FF2B5EF4-FFF2-40B4-BE49-F238E27FC236}">
                <a16:creationId xmlns="" xmlns:a16="http://schemas.microsoft.com/office/drawing/2014/main" id="{3D0F20E7-467F-4219-AD20-DD7B786D933E}"/>
              </a:ext>
            </a:extLst>
          </p:cNvPr>
          <p:cNvSpPr/>
          <p:nvPr/>
        </p:nvSpPr>
        <p:spPr bwMode="gray">
          <a:xfrm rot="16200000">
            <a:off x="779079" y="5203699"/>
            <a:ext cx="1691494" cy="363728"/>
          </a:xfrm>
          <a:prstGeom prst="roundRect">
            <a:avLst/>
          </a:prstGeom>
          <a:solidFill>
            <a:srgbClr val="0F4975"/>
          </a:solidFill>
          <a:ln w="19050" algn="ctr">
            <a:noFill/>
            <a:miter lim="800000"/>
            <a:headEnd/>
            <a:tailEnd/>
          </a:ln>
        </p:spPr>
        <p:txBody>
          <a:bodyPr wrap="square" lIns="70725" tIns="70725" rIns="70725" bIns="70725" rtlCol="0" anchor="ctr"/>
          <a:lstStyle/>
          <a:p>
            <a:pPr algn="ctr" defTabSz="727510">
              <a:lnSpc>
                <a:spcPct val="106000"/>
              </a:lnSpc>
            </a:pPr>
            <a:r>
              <a:rPr lang="ru-RU" sz="1270" b="1" dirty="0">
                <a:solidFill>
                  <a:schemeClr val="bg1"/>
                </a:solidFill>
                <a:latin typeface="Segoe UI Light"/>
              </a:rPr>
              <a:t>2023 год</a:t>
            </a:r>
            <a:endParaRPr lang="en-US" sz="1270" b="1" dirty="0">
              <a:solidFill>
                <a:schemeClr val="bg1"/>
              </a:solidFill>
              <a:latin typeface="Segoe UI Light"/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="" xmlns:a16="http://schemas.microsoft.com/office/drawing/2014/main" id="{70C09C51-C320-4540-803A-F31BCC13D13B}"/>
              </a:ext>
            </a:extLst>
          </p:cNvPr>
          <p:cNvSpPr/>
          <p:nvPr/>
        </p:nvSpPr>
        <p:spPr>
          <a:xfrm>
            <a:off x="1900891" y="1357363"/>
            <a:ext cx="3184926" cy="249480"/>
          </a:xfrm>
          <a:prstGeom prst="rect">
            <a:avLst/>
          </a:prstGeom>
          <a:solidFill>
            <a:srgbClr val="EE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4764" tIns="32659" rIns="0" bIns="32659" rtlCol="0" anchor="ctr"/>
          <a:lstStyle/>
          <a:p>
            <a:pPr defTabSz="829544">
              <a:defRPr/>
            </a:pPr>
            <a:r>
              <a:rPr lang="ru-RU" sz="1270" b="1" dirty="0">
                <a:solidFill>
                  <a:schemeClr val="tx1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Наименование проекта</a:t>
            </a:r>
            <a:endParaRPr lang="en-US" sz="1270" b="1" dirty="0">
              <a:solidFill>
                <a:schemeClr val="tx1"/>
              </a:solidFill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6" name="Gráfico 3">
            <a:extLst>
              <a:ext uri="{FF2B5EF4-FFF2-40B4-BE49-F238E27FC236}">
                <a16:creationId xmlns="" xmlns:a16="http://schemas.microsoft.com/office/drawing/2014/main" id="{29B306A1-D987-2148-8808-E355C78EB6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65970" y="1368761"/>
            <a:ext cx="209880" cy="222053"/>
          </a:xfrm>
          <a:prstGeom prst="rect">
            <a:avLst/>
          </a:prstGeom>
        </p:spPr>
      </p:pic>
      <p:sp>
        <p:nvSpPr>
          <p:cNvPr id="17" name="Rectangle 3">
            <a:extLst>
              <a:ext uri="{FF2B5EF4-FFF2-40B4-BE49-F238E27FC236}">
                <a16:creationId xmlns="" xmlns:a16="http://schemas.microsoft.com/office/drawing/2014/main" id="{70C09C51-C320-4540-803A-F31BCC13D13B}"/>
              </a:ext>
            </a:extLst>
          </p:cNvPr>
          <p:cNvSpPr/>
          <p:nvPr/>
        </p:nvSpPr>
        <p:spPr>
          <a:xfrm>
            <a:off x="5219297" y="1360488"/>
            <a:ext cx="5457704" cy="249481"/>
          </a:xfrm>
          <a:prstGeom prst="rect">
            <a:avLst/>
          </a:prstGeom>
          <a:solidFill>
            <a:srgbClr val="EEF4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4764" tIns="32659" rIns="0" bIns="32659" rtlCol="0" anchor="ctr"/>
          <a:lstStyle/>
          <a:p>
            <a:pPr defTabSz="103693">
              <a:defRPr/>
            </a:pPr>
            <a:r>
              <a:rPr lang="ru-RU" sz="1270" b="1" dirty="0">
                <a:solidFill>
                  <a:schemeClr val="tx1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Текущий статус</a:t>
            </a:r>
            <a:endParaRPr lang="en-US" sz="1270" b="1" dirty="0">
              <a:solidFill>
                <a:schemeClr val="tx1"/>
              </a:solidFill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graphicFrame>
        <p:nvGraphicFramePr>
          <p:cNvPr id="18" name="Table 50"/>
          <p:cNvGraphicFramePr>
            <a:graphicFrameLocks noGrp="1"/>
          </p:cNvGraphicFramePr>
          <p:nvPr/>
        </p:nvGraphicFramePr>
        <p:xfrm>
          <a:off x="1900891" y="1710381"/>
          <a:ext cx="8734847" cy="27627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811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867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28350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Экспериментальные исследования новой ионообменной смолы для извлечения урана из растворов</a:t>
                      </a:r>
                      <a:endParaRPr lang="en-GB" sz="11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1" marR="0" lvl="0" indent="-158751" algn="just" defTabSz="893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51"/>
                        </a:spcAft>
                        <a:buClr>
                          <a:srgbClr val="6DBFB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Одобрен решением НТС Фонда (протокол №17 от 03.11.2022</a:t>
                      </a:r>
                      <a:r>
                        <a:rPr 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</a:t>
                      </a: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г.)</a:t>
                      </a:r>
                    </a:p>
                    <a:p>
                      <a:pPr marL="158751" indent="-158751" algn="just" defTabSz="893444" rtl="0" eaLnBrk="1" latinLnBrk="0" hangingPunct="1">
                        <a:spcAft>
                          <a:spcPts val="351"/>
                        </a:spcAft>
                        <a:buClr>
                          <a:srgbClr val="6DBFB4"/>
                        </a:buClr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ru-RU" sz="1100" b="0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Договор заключен. С 18 апреля начата реализация проекта</a:t>
                      </a:r>
                      <a:endParaRPr lang="ru-RU" sz="11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9717">
                <a:tc>
                  <a:txBody>
                    <a:bodyPr/>
                    <a:lstStyle/>
                    <a:p>
                      <a:pPr marL="0" marR="0" lvl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Получение бактерицидно-</a:t>
                      </a:r>
                      <a:r>
                        <a:rPr lang="ru-RU" sz="1100" b="1" kern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фунгицидного</a:t>
                      </a:r>
                      <a:r>
                        <a:rPr lang="ru-RU" sz="11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препарата на основе серы </a:t>
                      </a: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1" marR="0" lvl="0" indent="-158751" algn="just" defTabSz="893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51"/>
                        </a:spcAft>
                        <a:buClr>
                          <a:srgbClr val="6DBFB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Успешно завершена 1 стадия проекта – отчет одобрен НТС </a:t>
                      </a:r>
                      <a:r>
                        <a:rPr 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SKO</a:t>
                      </a: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в декабре 2022 г.</a:t>
                      </a:r>
                    </a:p>
                    <a:p>
                      <a:pPr marL="158751" indent="-158751" algn="just" defTabSz="893444" rtl="0" eaLnBrk="1" latinLnBrk="0" hangingPunct="1">
                        <a:spcAft>
                          <a:spcPts val="351"/>
                        </a:spcAft>
                        <a:buClr>
                          <a:srgbClr val="6DBFB4"/>
                        </a:buClr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ru-RU" sz="1100" b="0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Договор заключен. С 4 мая </a:t>
                      </a:r>
                      <a:r>
                        <a:rPr lang="ru-RU" sz="1100" b="0" kern="1200" baseline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т.г</a:t>
                      </a:r>
                      <a:r>
                        <a:rPr lang="ru-RU" sz="1100" b="0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. начата реализация 2 стадия проекта</a:t>
                      </a:r>
                      <a:endParaRPr lang="ru-RU" sz="11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09717">
                <a:tc>
                  <a:txBody>
                    <a:bodyPr/>
                    <a:lstStyle/>
                    <a:p>
                      <a:pPr marL="0" algn="l" defTabSz="990571" rtl="0" eaLnBrk="1" latinLnBrk="0" hangingPunct="1"/>
                      <a:r>
                        <a:rPr lang="ru-RU" sz="11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Получение композитного материала на основе модифицированной серы для применения в дорожно-строительных материалах</a:t>
                      </a:r>
                      <a:endParaRPr lang="en-GB" sz="11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1" marR="0" lvl="0" indent="-158751" algn="just" defTabSz="893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51"/>
                        </a:spcAft>
                        <a:buClr>
                          <a:srgbClr val="6DBFB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Одобрен решением НТС Фонда (протокол №17 от 03.11.2022 г.)</a:t>
                      </a:r>
                    </a:p>
                    <a:p>
                      <a:pPr marL="158751" indent="-158751" algn="just" defTabSz="893444" rtl="0" eaLnBrk="1" latinLnBrk="0" hangingPunct="1">
                        <a:spcAft>
                          <a:spcPts val="351"/>
                        </a:spcAft>
                        <a:buClr>
                          <a:srgbClr val="6DBFB4"/>
                        </a:buClr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Тендер завершен. Договор на стадии подписания</a:t>
                      </a: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84179207"/>
                  </a:ext>
                </a:extLst>
              </a:tr>
              <a:tr h="709717">
                <a:tc>
                  <a:txBody>
                    <a:bodyPr/>
                    <a:lstStyle/>
                    <a:p>
                      <a:r>
                        <a:rPr lang="ru-RU" sz="11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Получение комплексного гуминового препарата на основе окисленных углей для повышения плодородия почвы</a:t>
                      </a:r>
                      <a:endParaRPr lang="en-US" sz="11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1" marR="0" lvl="0" indent="-158751" algn="just" defTabSz="893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51"/>
                        </a:spcAft>
                        <a:buClr>
                          <a:srgbClr val="6DBFB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Одобрен решением НТС Фонда (протокол №17 от 03.11.2022 г.)</a:t>
                      </a:r>
                    </a:p>
                    <a:p>
                      <a:pPr marL="158751" indent="-158751" algn="just" defTabSz="893444" rtl="0" eaLnBrk="1" latinLnBrk="0" hangingPunct="1">
                        <a:spcAft>
                          <a:spcPts val="351"/>
                        </a:spcAft>
                        <a:buClr>
                          <a:srgbClr val="6DBFB4"/>
                        </a:buClr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Тендер</a:t>
                      </a:r>
                      <a:r>
                        <a:rPr 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</a:t>
                      </a:r>
                      <a:r>
                        <a:rPr lang="kk-KZ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на стадии завершения</a:t>
                      </a:r>
                      <a:endParaRPr lang="ru-RU" sz="11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19690844"/>
                  </a:ext>
                </a:extLst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/>
        </p:nvGraphicFramePr>
        <p:xfrm>
          <a:off x="1900891" y="4539816"/>
          <a:ext cx="8734847" cy="17177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4811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867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6540">
                <a:tc gridSpan="2">
                  <a:txBody>
                    <a:bodyPr/>
                    <a:lstStyle/>
                    <a:p>
                      <a:pPr marL="0" algn="l" defTabSz="990571" rtl="0" eaLnBrk="1" latinLnBrk="0" hangingPunct="1"/>
                      <a:r>
                        <a:rPr lang="ru-RU" sz="1100" kern="0" dirty="0">
                          <a:solidFill>
                            <a:srgbClr val="ED8B00"/>
                          </a:solidFill>
                          <a:latin typeface="Segoe UI Semilight" panose="020B0402040204020203" pitchFamily="34" charset="0"/>
                          <a:ea typeface="Segoe UI Black" panose="020B0A02040204020203" pitchFamily="34" charset="0"/>
                          <a:cs typeface="Segoe UI Semilight" panose="020B0402040204020203" pitchFamily="34" charset="0"/>
                        </a:rPr>
                        <a:t>План 2023 года – 6 НИОКР проектов</a:t>
                      </a: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, в том числе:</a:t>
                      </a:r>
                      <a:endParaRPr lang="en-GB" sz="1100" b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86426">
                <a:tc>
                  <a:txBody>
                    <a:bodyPr/>
                    <a:lstStyle/>
                    <a:p>
                      <a:pPr marL="0" algn="l" defTabSz="990571" rtl="0" eaLnBrk="1" latinLnBrk="0" hangingPunct="1"/>
                      <a:r>
                        <a:rPr lang="kk-KZ" sz="11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Получение эффективных сорбентов на основе природного сырья - каолина для очистки воды от загрязнителей</a:t>
                      </a:r>
                      <a:endParaRPr lang="en-GB" sz="11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1" marR="0" lvl="0" indent="-158751" algn="just" defTabSz="893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51"/>
                        </a:spcAft>
                        <a:buClr>
                          <a:srgbClr val="6DBFB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Получено положительное утверждение ЦНТИ* предварительной заявки по проекту</a:t>
                      </a:r>
                    </a:p>
                    <a:p>
                      <a:pPr marL="158751" marR="0" lvl="0" indent="-158751" algn="just" defTabSz="893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51"/>
                        </a:spcAft>
                        <a:buClr>
                          <a:srgbClr val="6DBFB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Предварительная заявка одобрена и рекомендована для </a:t>
                      </a:r>
                      <a:r>
                        <a:rPr lang="kk-KZ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дальнейшего рассмотрения</a:t>
                      </a: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НТС </a:t>
                      </a:r>
                      <a:r>
                        <a:rPr 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SKO</a:t>
                      </a: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(Протокол №5 от 31.03.2023</a:t>
                      </a:r>
                      <a:r>
                        <a:rPr lang="en-US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</a:t>
                      </a: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г.)</a:t>
                      </a:r>
                    </a:p>
                    <a:p>
                      <a:pPr marL="158751" marR="0" lvl="0" indent="-158751" algn="just" defTabSz="893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51"/>
                        </a:spcAft>
                        <a:buClr>
                          <a:srgbClr val="6DBFB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Заявителями</a:t>
                      </a:r>
                      <a:r>
                        <a:rPr lang="ru-RU" sz="1100" b="0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з</a:t>
                      </a: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аполняется основная заявка для внешней экспертизы</a:t>
                      </a: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8530">
                <a:tc>
                  <a:txBody>
                    <a:bodyPr/>
                    <a:lstStyle/>
                    <a:p>
                      <a:pPr marL="0" algn="l" defTabSz="990571" rtl="0" eaLnBrk="1" latinLnBrk="0" hangingPunct="1"/>
                      <a:r>
                        <a:rPr lang="ru-RU" sz="11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Антибактериальные биоразлагаемые нанокомпо-зиты на основе полимолочной кислоты</a:t>
                      </a:r>
                      <a:endParaRPr lang="en-GB" sz="11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egoe UI Light"/>
                        <a:ea typeface="+mn-ea"/>
                        <a:cs typeface="Segoe UI Light"/>
                      </a:endParaRP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51" marR="0" lvl="0" indent="-158751" algn="just" defTabSz="893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51"/>
                        </a:spcAft>
                        <a:buClr>
                          <a:srgbClr val="6DBFB4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Получено положительное утверждение ЦНТИ предварительной заявки по проекту</a:t>
                      </a:r>
                    </a:p>
                    <a:p>
                      <a:pPr marL="171450" indent="-171450" fontAlgn="base">
                        <a:buClr>
                          <a:srgbClr val="6FC2B4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Заявителями</a:t>
                      </a:r>
                      <a:r>
                        <a:rPr lang="ru-RU" sz="1100" b="0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 з</a:t>
                      </a:r>
                      <a:r>
                        <a:rPr lang="ru-RU" sz="1100" b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Segoe UI Light"/>
                          <a:ea typeface="+mn-ea"/>
                          <a:cs typeface="Segoe UI Light"/>
                        </a:rPr>
                        <a:t>аполняется основная заявка для внешней экспертизы</a:t>
                      </a:r>
                    </a:p>
                  </a:txBody>
                  <a:tcPr marL="65317" marR="65317" marT="65317" marB="6531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578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2" name="SlideTitle">
            <a:extLst>
              <a:ext uri="{FF2B5EF4-FFF2-40B4-BE49-F238E27FC236}">
                <a16:creationId xmlns="" xmlns:a16="http://schemas.microsoft.com/office/drawing/2014/main" id="{23BCD773-BB7E-4D74-92F2-FEE11E714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69" y="206548"/>
            <a:ext cx="6441770" cy="391896"/>
          </a:xfr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kk-KZ" sz="1800" kern="0" dirty="0">
                <a:solidFill>
                  <a:srgbClr val="000000"/>
                </a:solidFill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НИОКР проекты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708D2BAF-A461-D829-90D5-76142452E2B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D6B01565-62B2-C136-84E9-BB5CA500AE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1209" y="206548"/>
            <a:ext cx="839399" cy="67486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F5008ABE-BA24-FA2F-5E03-5D3C675BEFC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231392" y="517100"/>
            <a:ext cx="11011272" cy="467475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="" xmlns:a16="http://schemas.microsoft.com/office/drawing/2014/main" id="{ACE2D9B0-93C1-75FB-7D55-646538F9C5E1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21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333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6296614"/>
              </p:ext>
            </p:extLst>
          </p:nvPr>
        </p:nvGraphicFramePr>
        <p:xfrm>
          <a:off x="0" y="728727"/>
          <a:ext cx="12192000" cy="274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8" name="CorelDRAW" r:id="rId3" imgW="4187893" imgH="205149" progId="CorelDraw.Graphic.17">
                  <p:embed/>
                </p:oleObj>
              </mc:Choice>
              <mc:Fallback>
                <p:oleObj name="CorelDRAW" r:id="rId3" imgW="4187893" imgH="205149" progId="CorelDraw.Graphic.1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728727"/>
                        <a:ext cx="12192000" cy="2748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156" y="3772809"/>
            <a:ext cx="1710529" cy="1375231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477268" y="5660991"/>
            <a:ext cx="1200265" cy="3308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14403"/>
            <a:r>
              <a:rPr lang="en-US" sz="1550" dirty="0">
                <a:solidFill>
                  <a:prstClr val="black"/>
                </a:solidFill>
              </a:rPr>
              <a:t>www.o-sk.kz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28715" y="2111070"/>
            <a:ext cx="6207405" cy="8880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14403">
              <a:lnSpc>
                <a:spcPct val="150000"/>
              </a:lnSpc>
            </a:pPr>
            <a:r>
              <a:rPr lang="ru-RU" sz="3447" dirty="0">
                <a:solidFill>
                  <a:prstClr val="black"/>
                </a:solidFill>
                <a:cs typeface="Segoe UI Light" panose="020B0502040204020203" pitchFamily="34" charset="0"/>
              </a:rPr>
              <a:t>БЛАГОДАРИМ ЗА ВНИМАНИЕ!</a:t>
            </a:r>
            <a:endParaRPr lang="en-US" sz="3447" dirty="0">
              <a:solidFill>
                <a:prstClr val="black"/>
              </a:solidFill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414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3047262" y="1519091"/>
            <a:ext cx="1155730" cy="431208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en-US" sz="1452" b="1" dirty="0">
              <a:solidFill>
                <a:prstClr val="white"/>
              </a:solidFill>
            </a:endParaRPr>
          </a:p>
        </p:txBody>
      </p:sp>
      <p:sp>
        <p:nvSpPr>
          <p:cNvPr id="103" name="Прямоугольник 102"/>
          <p:cNvSpPr/>
          <p:nvPr/>
        </p:nvSpPr>
        <p:spPr bwMode="gray">
          <a:xfrm>
            <a:off x="6727859" y="1508298"/>
            <a:ext cx="1866617" cy="43394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sp>
        <p:nvSpPr>
          <p:cNvPr id="104" name="Прямоугольник 103"/>
          <p:cNvSpPr/>
          <p:nvPr/>
        </p:nvSpPr>
        <p:spPr bwMode="gray">
          <a:xfrm>
            <a:off x="8656406" y="1512289"/>
            <a:ext cx="1679884" cy="433126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4280579" y="1504141"/>
            <a:ext cx="2387694" cy="43394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graphicFrame>
        <p:nvGraphicFramePr>
          <p:cNvPr id="133" name="Диаграмма 132"/>
          <p:cNvGraphicFramePr/>
          <p:nvPr/>
        </p:nvGraphicFramePr>
        <p:xfrm>
          <a:off x="1357520" y="1457390"/>
          <a:ext cx="9273403" cy="4730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think-cell data - do not delete" hidden="1">
            <a:extLst>
              <a:ext uri="{FF2B5EF4-FFF2-40B4-BE49-F238E27FC236}">
                <a16:creationId xmlns="" xmlns:a16="http://schemas.microsoft.com/office/drawing/2014/main" id="{D0BDD009-EEF5-4BC1-98BE-0A433EF508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Слайд think-cell" r:id="rId5" imgW="384" imgH="384" progId="TCLayout.ActiveDocument.1">
                  <p:embed/>
                </p:oleObj>
              </mc:Choice>
              <mc:Fallback>
                <p:oleObj name="Слайд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88" name="Номер слайда 1"/>
          <p:cNvSpPr txBox="1">
            <a:spLocks noGrp="1"/>
          </p:cNvSpPr>
          <p:nvPr>
            <p:ph type="sldNum" sz="quarter" idx="2"/>
          </p:nvPr>
        </p:nvSpPr>
        <p:spPr>
          <a:xfrm>
            <a:off x="10307831" y="6462818"/>
            <a:ext cx="217274" cy="238756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anchor="t"/>
          <a:lstStyle>
            <a:lvl1pPr algn="l" defTabSz="895327">
              <a:defRPr sz="881">
                <a:solidFill>
                  <a:srgbClr val="FFFFFF"/>
                </a:solidFill>
                <a:latin typeface="Segoe UI Light"/>
                <a:ea typeface="Segoe UI Light"/>
                <a:cs typeface="Segoe UI Light"/>
                <a:sym typeface="Segoe UI Light"/>
              </a:defRPr>
            </a:lvl1pPr>
          </a:lstStyle>
          <a:p>
            <a:pPr>
              <a:defRPr/>
            </a:pPr>
            <a:fld id="{86CB4B4D-7CA3-9044-876B-883B54F8677D}" type="slidenum">
              <a:rPr sz="907"/>
              <a:pPr>
                <a:defRPr/>
              </a:pPr>
              <a:t>3</a:t>
            </a:fld>
            <a:endParaRPr sz="907"/>
          </a:p>
        </p:txBody>
      </p:sp>
      <p:pic>
        <p:nvPicPr>
          <p:cNvPr id="145" name="Рисунок 1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095" y="103462"/>
            <a:ext cx="974594" cy="783554"/>
          </a:xfrm>
          <a:prstGeom prst="rect">
            <a:avLst/>
          </a:prstGeom>
        </p:spPr>
      </p:pic>
      <p:cxnSp>
        <p:nvCxnSpPr>
          <p:cNvPr id="26" name="Прямая соединительная линия 25"/>
          <p:cNvCxnSpPr/>
          <p:nvPr/>
        </p:nvCxnSpPr>
        <p:spPr>
          <a:xfrm flipV="1">
            <a:off x="3382114" y="3968928"/>
            <a:ext cx="2041618" cy="0"/>
          </a:xfrm>
          <a:prstGeom prst="line">
            <a:avLst/>
          </a:prstGeom>
          <a:ln w="88900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3870955" y="4214504"/>
            <a:ext cx="2808635" cy="0"/>
          </a:xfrm>
          <a:prstGeom prst="line">
            <a:avLst/>
          </a:prstGeom>
          <a:ln w="88900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077700" y="4451909"/>
            <a:ext cx="1600269" cy="0"/>
          </a:xfrm>
          <a:prstGeom prst="line">
            <a:avLst/>
          </a:prstGeom>
          <a:ln w="88900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4264922" y="3410869"/>
            <a:ext cx="1143049" cy="0"/>
          </a:xfrm>
          <a:prstGeom prst="line">
            <a:avLst/>
          </a:prstGeom>
          <a:ln w="88900" cap="rnd">
            <a:solidFill>
              <a:srgbClr val="9DD4C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4264921" y="3148934"/>
            <a:ext cx="2384074" cy="0"/>
          </a:xfrm>
          <a:prstGeom prst="line">
            <a:avLst/>
          </a:prstGeom>
          <a:ln w="88900" cap="rnd">
            <a:solidFill>
              <a:srgbClr val="9DD4C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4280579" y="3681336"/>
            <a:ext cx="2808635" cy="0"/>
          </a:xfrm>
          <a:prstGeom prst="line">
            <a:avLst/>
          </a:prstGeom>
          <a:ln w="88900" cap="rnd">
            <a:solidFill>
              <a:srgbClr val="9DD4C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7141454" y="3681336"/>
            <a:ext cx="1567610" cy="0"/>
          </a:xfrm>
          <a:prstGeom prst="line">
            <a:avLst/>
          </a:prstGeom>
          <a:ln w="88900" cap="rnd">
            <a:solidFill>
              <a:schemeClr val="accent6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Овал 35"/>
          <p:cNvSpPr/>
          <p:nvPr/>
        </p:nvSpPr>
        <p:spPr bwMode="gray">
          <a:xfrm>
            <a:off x="4168201" y="2835377"/>
            <a:ext cx="119118" cy="115752"/>
          </a:xfrm>
          <a:prstGeom prst="ellipse">
            <a:avLst/>
          </a:prstGeom>
          <a:solidFill>
            <a:schemeClr val="bg1"/>
          </a:solidFill>
          <a:ln w="25400" algn="ctr">
            <a:solidFill>
              <a:srgbClr val="9DD4CF"/>
            </a:solidFill>
            <a:miter lim="800000"/>
            <a:headEnd/>
            <a:tailEnd/>
          </a:ln>
          <a:effectLst/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  <a:defRPr/>
            </a:pPr>
            <a:endParaRPr lang="ru-RU" sz="1452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9" name="Овал 38"/>
          <p:cNvSpPr/>
          <p:nvPr/>
        </p:nvSpPr>
        <p:spPr bwMode="gray">
          <a:xfrm>
            <a:off x="2948225" y="2587367"/>
            <a:ext cx="117480" cy="121222"/>
          </a:xfrm>
          <a:prstGeom prst="ellipse">
            <a:avLst/>
          </a:prstGeom>
          <a:solidFill>
            <a:schemeClr val="bg1"/>
          </a:solidFill>
          <a:ln w="25400" algn="ctr">
            <a:solidFill>
              <a:srgbClr val="9DD4CF"/>
            </a:solidFill>
            <a:miter lim="800000"/>
            <a:headEnd/>
            <a:tailEnd/>
          </a:ln>
          <a:effectLst/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  <a:defRPr/>
            </a:pPr>
            <a:endParaRPr lang="ru-RU" sz="1452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0" name="Rectangle 24"/>
          <p:cNvSpPr/>
          <p:nvPr/>
        </p:nvSpPr>
        <p:spPr bwMode="gray">
          <a:xfrm>
            <a:off x="1538367" y="2559235"/>
            <a:ext cx="1544267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ru-RU" sz="907" b="1" dirty="0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СЭЗ НИНТ</a:t>
            </a:r>
            <a:endParaRPr lang="en-US" sz="907" b="1" dirty="0">
              <a:solidFill>
                <a:srgbClr val="75787B">
                  <a:lumMod val="75000"/>
                </a:srgbClr>
              </a:solidFill>
              <a:cs typeface="Segoe UI Light" panose="020B0502040204020203" pitchFamily="34" charset="0"/>
            </a:endParaRPr>
          </a:p>
        </p:txBody>
      </p:sp>
      <p:sp>
        <p:nvSpPr>
          <p:cNvPr id="41" name="Rectangle 25"/>
          <p:cNvSpPr/>
          <p:nvPr/>
        </p:nvSpPr>
        <p:spPr bwMode="gray">
          <a:xfrm>
            <a:off x="1538367" y="2817032"/>
            <a:ext cx="1544267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ru-RU" sz="907" b="1" dirty="0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СЭЗ ХПТ</a:t>
            </a:r>
            <a:endParaRPr lang="en-US" sz="907" b="1" dirty="0">
              <a:solidFill>
                <a:srgbClr val="75787B">
                  <a:lumMod val="75000"/>
                </a:srgbClr>
              </a:solidFill>
              <a:cs typeface="Segoe UI Light" panose="020B0502040204020203" pitchFamily="34" charset="0"/>
            </a:endParaRPr>
          </a:p>
        </p:txBody>
      </p:sp>
      <p:sp>
        <p:nvSpPr>
          <p:cNvPr id="45" name="Rectangle 27"/>
          <p:cNvSpPr/>
          <p:nvPr/>
        </p:nvSpPr>
        <p:spPr bwMode="gray">
          <a:xfrm>
            <a:off x="1538367" y="3065797"/>
            <a:ext cx="1544267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ru-RU" sz="907" b="1" dirty="0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ХИМ-плюс» (</a:t>
            </a:r>
            <a:r>
              <a:rPr lang="ru-RU" sz="907" b="1" dirty="0" err="1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инфрастр</a:t>
            </a:r>
            <a:r>
              <a:rPr lang="ru-RU" sz="907" b="1" dirty="0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.)</a:t>
            </a:r>
            <a:endParaRPr lang="en-US" sz="907" b="1" dirty="0">
              <a:solidFill>
                <a:srgbClr val="75787B">
                  <a:lumMod val="75000"/>
                </a:srgbClr>
              </a:solidFill>
              <a:cs typeface="Segoe UI Light" panose="020B0502040204020203" pitchFamily="34" charset="0"/>
            </a:endParaRPr>
          </a:p>
        </p:txBody>
      </p:sp>
      <p:sp>
        <p:nvSpPr>
          <p:cNvPr id="46" name="Rectangle 29"/>
          <p:cNvSpPr/>
          <p:nvPr/>
        </p:nvSpPr>
        <p:spPr bwMode="gray">
          <a:xfrm>
            <a:off x="1538368" y="3331207"/>
            <a:ext cx="1536424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ru-RU" sz="907" b="1" dirty="0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Полимер Продакшн</a:t>
            </a:r>
            <a:endParaRPr lang="en-US" sz="907" b="1" dirty="0">
              <a:solidFill>
                <a:srgbClr val="75787B">
                  <a:lumMod val="75000"/>
                </a:srgbClr>
              </a:solidFill>
              <a:cs typeface="Segoe UI Light" panose="020B0502040204020203" pitchFamily="34" charset="0"/>
            </a:endParaRPr>
          </a:p>
        </p:txBody>
      </p:sp>
      <p:sp>
        <p:nvSpPr>
          <p:cNvPr id="47" name="Rectangle 30"/>
          <p:cNvSpPr/>
          <p:nvPr/>
        </p:nvSpPr>
        <p:spPr bwMode="gray">
          <a:xfrm>
            <a:off x="1988679" y="4382183"/>
            <a:ext cx="1536424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en-US" sz="907" b="1" dirty="0">
                <a:solidFill>
                  <a:srgbClr val="D0D0CE">
                    <a:lumMod val="50000"/>
                  </a:srgbClr>
                </a:solidFill>
                <a:cs typeface="Segoe UI Light" panose="020B0502040204020203" pitchFamily="34" charset="0"/>
              </a:rPr>
              <a:t>KUS</a:t>
            </a:r>
          </a:p>
        </p:txBody>
      </p:sp>
      <p:sp>
        <p:nvSpPr>
          <p:cNvPr id="48" name="Rectangle 31"/>
          <p:cNvSpPr/>
          <p:nvPr/>
        </p:nvSpPr>
        <p:spPr bwMode="gray">
          <a:xfrm>
            <a:off x="1538368" y="3609510"/>
            <a:ext cx="1536424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en-US" sz="907" b="1" dirty="0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KLPE</a:t>
            </a:r>
            <a:r>
              <a:rPr lang="ru-RU" sz="907" b="1" dirty="0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 </a:t>
            </a:r>
            <a:r>
              <a:rPr lang="en-US" sz="907" b="1" dirty="0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&amp; </a:t>
            </a:r>
            <a:r>
              <a:rPr lang="ru-RU" sz="907" b="1" dirty="0" err="1">
                <a:solidFill>
                  <a:srgbClr val="75787B">
                    <a:lumMod val="75000"/>
                  </a:srgbClr>
                </a:solidFill>
                <a:cs typeface="Segoe UI Light" panose="020B0502040204020203" pitchFamily="34" charset="0"/>
              </a:rPr>
              <a:t>Силлено</a:t>
            </a:r>
            <a:endParaRPr lang="en-US" sz="907" b="1" dirty="0">
              <a:solidFill>
                <a:srgbClr val="75787B">
                  <a:lumMod val="75000"/>
                </a:srgbClr>
              </a:solidFill>
              <a:cs typeface="Segoe UI Light" panose="020B0502040204020203" pitchFamily="34" charset="0"/>
            </a:endParaRPr>
          </a:p>
        </p:txBody>
      </p:sp>
      <p:sp>
        <p:nvSpPr>
          <p:cNvPr id="49" name="Rectangle 32"/>
          <p:cNvSpPr/>
          <p:nvPr/>
        </p:nvSpPr>
        <p:spPr bwMode="gray">
          <a:xfrm>
            <a:off x="1988679" y="4125467"/>
            <a:ext cx="1544267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en-US" sz="907" b="1" dirty="0">
                <a:solidFill>
                  <a:srgbClr val="D0D0CE">
                    <a:lumMod val="50000"/>
                  </a:srgbClr>
                </a:solidFill>
                <a:cs typeface="Segoe UI Light" panose="020B0502040204020203" pitchFamily="34" charset="0"/>
              </a:rPr>
              <a:t>KPI</a:t>
            </a:r>
          </a:p>
        </p:txBody>
      </p:sp>
      <p:sp>
        <p:nvSpPr>
          <p:cNvPr id="50" name="Rectangle 33"/>
          <p:cNvSpPr/>
          <p:nvPr/>
        </p:nvSpPr>
        <p:spPr bwMode="gray">
          <a:xfrm>
            <a:off x="1988679" y="3875476"/>
            <a:ext cx="1544267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en-US" sz="907" b="1" dirty="0">
                <a:solidFill>
                  <a:srgbClr val="D0D0CE">
                    <a:lumMod val="50000"/>
                  </a:srgbClr>
                </a:solidFill>
                <a:cs typeface="Segoe UI Light" panose="020B0502040204020203" pitchFamily="34" charset="0"/>
              </a:rPr>
              <a:t>SSAP</a:t>
            </a:r>
          </a:p>
        </p:txBody>
      </p:sp>
      <p:sp>
        <p:nvSpPr>
          <p:cNvPr id="73" name="Rectangle 24"/>
          <p:cNvSpPr/>
          <p:nvPr/>
        </p:nvSpPr>
        <p:spPr bwMode="gray">
          <a:xfrm>
            <a:off x="3042142" y="6273713"/>
            <a:ext cx="406653" cy="94018"/>
          </a:xfrm>
          <a:prstGeom prst="rect">
            <a:avLst/>
          </a:prstGeom>
          <a:solidFill>
            <a:srgbClr val="9DD4CF"/>
          </a:solidFill>
          <a:ln>
            <a:solidFill>
              <a:srgbClr val="9DD4CF"/>
            </a:solidFill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en-US" sz="635" b="1" dirty="0">
              <a:solidFill>
                <a:srgbClr val="75787B">
                  <a:lumMod val="75000"/>
                </a:srgbClr>
              </a:solidFill>
              <a:cs typeface="Segoe UI Light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13771" y="6247429"/>
            <a:ext cx="2087110" cy="111697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sp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ru-RU" sz="726" dirty="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еденные/планируемые к выведению активы</a:t>
            </a:r>
          </a:p>
        </p:txBody>
      </p:sp>
      <p:sp>
        <p:nvSpPr>
          <p:cNvPr id="74" name="Rectangle 24"/>
          <p:cNvSpPr/>
          <p:nvPr/>
        </p:nvSpPr>
        <p:spPr bwMode="gray">
          <a:xfrm>
            <a:off x="3042142" y="6430544"/>
            <a:ext cx="406653" cy="94018"/>
          </a:xfrm>
          <a:prstGeom prst="rect">
            <a:avLst/>
          </a:prstGeom>
          <a:solidFill>
            <a:srgbClr val="00ABAB"/>
          </a:solidFill>
          <a:ln>
            <a:solidFill>
              <a:srgbClr val="00ABAB"/>
            </a:solidFill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en-US" sz="635" b="1" dirty="0">
              <a:solidFill>
                <a:prstClr val="white"/>
              </a:solidFill>
              <a:cs typeface="Segoe UI Light" panose="020B0502040204020203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513771" y="6404260"/>
            <a:ext cx="695703" cy="111697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sp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ru-RU" sz="726" dirty="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кущие активы</a:t>
            </a: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>
            <a:off x="6157132" y="6518997"/>
            <a:ext cx="326585" cy="0"/>
          </a:xfrm>
          <a:prstGeom prst="line">
            <a:avLst/>
          </a:prstGeom>
          <a:ln w="88900" cap="rnd">
            <a:solidFill>
              <a:schemeClr val="accent6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6591894" y="6446497"/>
            <a:ext cx="820738" cy="111697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sp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ru-RU" sz="726" dirty="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нные в ДДУ</a:t>
            </a:r>
          </a:p>
        </p:txBody>
      </p:sp>
      <p:sp>
        <p:nvSpPr>
          <p:cNvPr id="10" name="Скругленный прямоугольник 9"/>
          <p:cNvSpPr/>
          <p:nvPr/>
        </p:nvSpPr>
        <p:spPr bwMode="gray">
          <a:xfrm>
            <a:off x="4308926" y="1215254"/>
            <a:ext cx="2340069" cy="237026"/>
          </a:xfrm>
          <a:prstGeom prst="roundRect">
            <a:avLst/>
          </a:prstGeom>
          <a:solidFill>
            <a:schemeClr val="bg2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816" b="1" dirty="0">
                <a:solidFill>
                  <a:prstClr val="white"/>
                </a:solidFill>
              </a:rPr>
              <a:t>Стратегия 2012-2022</a:t>
            </a:r>
          </a:p>
        </p:txBody>
      </p:sp>
      <p:sp>
        <p:nvSpPr>
          <p:cNvPr id="92" name="Скругленный прямоугольник 91"/>
          <p:cNvSpPr/>
          <p:nvPr/>
        </p:nvSpPr>
        <p:spPr bwMode="gray">
          <a:xfrm>
            <a:off x="6774261" y="1215254"/>
            <a:ext cx="1764747" cy="237026"/>
          </a:xfrm>
          <a:prstGeom prst="roundRect">
            <a:avLst/>
          </a:prstGeom>
          <a:solidFill>
            <a:schemeClr val="bg2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816" b="1" dirty="0">
                <a:solidFill>
                  <a:prstClr val="white"/>
                </a:solidFill>
              </a:rPr>
              <a:t>Стратегия 2018-2028</a:t>
            </a:r>
          </a:p>
        </p:txBody>
      </p:sp>
      <p:sp>
        <p:nvSpPr>
          <p:cNvPr id="11" name="Скругленный прямоугольник 10"/>
          <p:cNvSpPr/>
          <p:nvPr/>
        </p:nvSpPr>
        <p:spPr bwMode="gray">
          <a:xfrm>
            <a:off x="4308926" y="952417"/>
            <a:ext cx="2340068" cy="26421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816" dirty="0">
                <a:solidFill>
                  <a:prstClr val="black"/>
                </a:solidFill>
              </a:rPr>
              <a:t>Лидер в ЕАЭС</a:t>
            </a:r>
          </a:p>
        </p:txBody>
      </p:sp>
      <p:sp>
        <p:nvSpPr>
          <p:cNvPr id="93" name="Скругленный прямоугольник 92"/>
          <p:cNvSpPr/>
          <p:nvPr/>
        </p:nvSpPr>
        <p:spPr bwMode="gray">
          <a:xfrm>
            <a:off x="6774261" y="954938"/>
            <a:ext cx="1764747" cy="26421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816" dirty="0">
                <a:solidFill>
                  <a:prstClr val="black"/>
                </a:solidFill>
              </a:rPr>
              <a:t>    Оптимизация: компактная проектная компания</a:t>
            </a:r>
            <a:r>
              <a:rPr lang="ru-RU" sz="816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94" name="Скругленный прямоугольник 93"/>
          <p:cNvSpPr/>
          <p:nvPr/>
        </p:nvSpPr>
        <p:spPr bwMode="gray">
          <a:xfrm>
            <a:off x="8658524" y="1210496"/>
            <a:ext cx="1670157" cy="237781"/>
          </a:xfrm>
          <a:prstGeom prst="roundRect">
            <a:avLst/>
          </a:prstGeom>
          <a:solidFill>
            <a:schemeClr val="bg2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816" b="1" dirty="0">
                <a:solidFill>
                  <a:prstClr val="white"/>
                </a:solidFill>
              </a:rPr>
              <a:t>Стратегия 2023-2032</a:t>
            </a: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 flipV="1">
            <a:off x="5474985" y="3964811"/>
            <a:ext cx="4833465" cy="0"/>
          </a:xfrm>
          <a:prstGeom prst="line">
            <a:avLst/>
          </a:prstGeom>
          <a:ln w="34925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Скругленный прямоугольник 94"/>
          <p:cNvSpPr/>
          <p:nvPr/>
        </p:nvSpPr>
        <p:spPr bwMode="gray">
          <a:xfrm>
            <a:off x="8658524" y="946458"/>
            <a:ext cx="1670158" cy="26421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726" dirty="0">
                <a:solidFill>
                  <a:prstClr val="black"/>
                </a:solidFill>
              </a:rPr>
              <a:t>        </a:t>
            </a:r>
            <a:r>
              <a:rPr lang="ru-RU" sz="816" dirty="0">
                <a:solidFill>
                  <a:prstClr val="black"/>
                </a:solidFill>
              </a:rPr>
              <a:t>Трансформация                  и рост</a:t>
            </a:r>
            <a:endParaRPr lang="ru-RU" sz="816" dirty="0">
              <a:solidFill>
                <a:prstClr val="white"/>
              </a:solidFill>
            </a:endParaRPr>
          </a:p>
        </p:txBody>
      </p:sp>
      <p:sp>
        <p:nvSpPr>
          <p:cNvPr id="16" name="Стрелка вниз 15"/>
          <p:cNvSpPr/>
          <p:nvPr/>
        </p:nvSpPr>
        <p:spPr bwMode="gray">
          <a:xfrm rot="10800000">
            <a:off x="4411465" y="981179"/>
            <a:ext cx="123968" cy="205399"/>
          </a:xfrm>
          <a:prstGeom prst="downArrow">
            <a:avLst>
              <a:gd name="adj1" fmla="val 50000"/>
              <a:gd name="adj2" fmla="val 64584"/>
            </a:avLst>
          </a:prstGeom>
          <a:solidFill>
            <a:srgbClr val="009A44"/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dirty="0">
              <a:solidFill>
                <a:prstClr val="white"/>
              </a:solidFill>
            </a:endParaRPr>
          </a:p>
        </p:txBody>
      </p:sp>
      <p:sp>
        <p:nvSpPr>
          <p:cNvPr id="106" name="Стрелка вниз 105"/>
          <p:cNvSpPr/>
          <p:nvPr/>
        </p:nvSpPr>
        <p:spPr bwMode="gray">
          <a:xfrm rot="10800000" flipV="1">
            <a:off x="6831539" y="985785"/>
            <a:ext cx="132596" cy="212281"/>
          </a:xfrm>
          <a:prstGeom prst="downArrow">
            <a:avLst>
              <a:gd name="adj1" fmla="val 50000"/>
              <a:gd name="adj2" fmla="val 64584"/>
            </a:avLst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dirty="0">
              <a:solidFill>
                <a:prstClr val="white"/>
              </a:solidFill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8725462" y="970534"/>
            <a:ext cx="290075" cy="210195"/>
            <a:chOff x="7927977" y="699015"/>
            <a:chExt cx="319754" cy="231701"/>
          </a:xfrm>
          <a:solidFill>
            <a:srgbClr val="009A44"/>
          </a:solidFill>
        </p:grpSpPr>
        <p:sp>
          <p:nvSpPr>
            <p:cNvPr id="107" name="Стрелка вниз 106"/>
            <p:cNvSpPr/>
            <p:nvPr/>
          </p:nvSpPr>
          <p:spPr bwMode="gray">
            <a:xfrm rot="13136835">
              <a:off x="8105408" y="699015"/>
              <a:ext cx="142323" cy="231514"/>
            </a:xfrm>
            <a:prstGeom prst="downArrow">
              <a:avLst>
                <a:gd name="adj1" fmla="val 50000"/>
                <a:gd name="adj2" fmla="val 64584"/>
              </a:avLst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0648" tIns="80648" rIns="80648" bIns="80648" rtlCol="0" anchor="ctr"/>
            <a:lstStyle/>
            <a:p>
              <a:pPr algn="ctr" defTabSz="714403">
                <a:lnSpc>
                  <a:spcPct val="106000"/>
                </a:lnSpc>
              </a:pPr>
              <a:endParaRPr lang="ru-RU" sz="1452" dirty="0">
                <a:solidFill>
                  <a:prstClr val="white"/>
                </a:solidFill>
              </a:endParaRPr>
            </a:p>
          </p:txBody>
        </p:sp>
        <p:sp>
          <p:nvSpPr>
            <p:cNvPr id="17" name="Прямоугольник 16"/>
            <p:cNvSpPr/>
            <p:nvPr/>
          </p:nvSpPr>
          <p:spPr bwMode="gray">
            <a:xfrm>
              <a:off x="7927977" y="857825"/>
              <a:ext cx="208657" cy="72891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wrap="square" lIns="80648" tIns="80648" rIns="80648" bIns="80648" rtlCol="0" anchor="ctr"/>
            <a:lstStyle/>
            <a:p>
              <a:pPr algn="ctr" defTabSz="714403">
                <a:lnSpc>
                  <a:spcPct val="106000"/>
                </a:lnSpc>
              </a:pPr>
              <a:endParaRPr lang="ru-RU" sz="1452" dirty="0">
                <a:solidFill>
                  <a:prstClr val="white"/>
                </a:solidFill>
              </a:endParaRPr>
            </a:p>
          </p:txBody>
        </p:sp>
      </p:grpSp>
      <p:sp>
        <p:nvSpPr>
          <p:cNvPr id="134" name="Скругленная прямоугольная выноска 133"/>
          <p:cNvSpPr/>
          <p:nvPr/>
        </p:nvSpPr>
        <p:spPr bwMode="gray">
          <a:xfrm>
            <a:off x="8995372" y="2437097"/>
            <a:ext cx="420640" cy="126760"/>
          </a:xfrm>
          <a:prstGeom prst="wedgeRoundRectCallout">
            <a:avLst>
              <a:gd name="adj1" fmla="val -49164"/>
              <a:gd name="adj2" fmla="val 76098"/>
              <a:gd name="adj3" fmla="val 16667"/>
            </a:avLst>
          </a:prstGeom>
          <a:solidFill>
            <a:schemeClr val="bg1"/>
          </a:solidFill>
          <a:ln w="12700" algn="ctr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726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en-US" sz="726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US</a:t>
            </a:r>
            <a:endParaRPr lang="ru-RU" sz="726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Скругленная прямоугольная выноска 140"/>
          <p:cNvSpPr/>
          <p:nvPr/>
        </p:nvSpPr>
        <p:spPr bwMode="gray">
          <a:xfrm>
            <a:off x="8236007" y="3446729"/>
            <a:ext cx="462704" cy="139436"/>
          </a:xfrm>
          <a:prstGeom prst="wedgeRoundRectCallout">
            <a:avLst>
              <a:gd name="adj1" fmla="val 39480"/>
              <a:gd name="adj2" fmla="val 78046"/>
              <a:gd name="adj3" fmla="val 16667"/>
            </a:avLst>
          </a:prstGeom>
          <a:solidFill>
            <a:schemeClr val="bg1"/>
          </a:solidFill>
          <a:ln w="12700" algn="ctr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726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КМГ</a:t>
            </a:r>
          </a:p>
        </p:txBody>
      </p:sp>
      <p:sp>
        <p:nvSpPr>
          <p:cNvPr id="147" name="Скругленная прямоугольная выноска 146"/>
          <p:cNvSpPr/>
          <p:nvPr/>
        </p:nvSpPr>
        <p:spPr bwMode="gray">
          <a:xfrm>
            <a:off x="6703729" y="2842198"/>
            <a:ext cx="852077" cy="159728"/>
          </a:xfrm>
          <a:prstGeom prst="wedgeRoundRectCallout">
            <a:avLst>
              <a:gd name="adj1" fmla="val -49724"/>
              <a:gd name="adj2" fmla="val 132467"/>
              <a:gd name="adj3" fmla="val 16667"/>
            </a:avLst>
          </a:prstGeom>
          <a:solidFill>
            <a:schemeClr val="bg1"/>
          </a:solidFill>
          <a:ln w="12700" algn="ctr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726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остановлен</a:t>
            </a:r>
          </a:p>
        </p:txBody>
      </p:sp>
      <p:sp>
        <p:nvSpPr>
          <p:cNvPr id="22" name="Овал 21"/>
          <p:cNvSpPr/>
          <p:nvPr/>
        </p:nvSpPr>
        <p:spPr bwMode="gray">
          <a:xfrm>
            <a:off x="8654779" y="6284267"/>
            <a:ext cx="101668" cy="101367"/>
          </a:xfrm>
          <a:prstGeom prst="ellipse">
            <a:avLst/>
          </a:prstGeom>
          <a:pattFill prst="ltUpDiag">
            <a:fgClr>
              <a:srgbClr val="FF0000"/>
            </a:fgClr>
            <a:bgClr>
              <a:schemeClr val="bg1"/>
            </a:bgClr>
          </a:patt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270" b="1" dirty="0">
              <a:solidFill>
                <a:prstClr val="white"/>
              </a:solidFill>
            </a:endParaRPr>
          </a:p>
        </p:txBody>
      </p:sp>
      <p:sp>
        <p:nvSpPr>
          <p:cNvPr id="155" name="Овал 154"/>
          <p:cNvSpPr/>
          <p:nvPr/>
        </p:nvSpPr>
        <p:spPr bwMode="gray">
          <a:xfrm>
            <a:off x="8848015" y="2546610"/>
            <a:ext cx="101668" cy="101367"/>
          </a:xfrm>
          <a:prstGeom prst="ellipse">
            <a:avLst/>
          </a:prstGeom>
          <a:pattFill prst="ltUpDiag">
            <a:fgClr>
              <a:srgbClr val="FF0000"/>
            </a:fgClr>
            <a:bgClr>
              <a:schemeClr val="bg1"/>
            </a:bgClr>
          </a:patt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sp>
        <p:nvSpPr>
          <p:cNvPr id="156" name="Овал 155"/>
          <p:cNvSpPr/>
          <p:nvPr/>
        </p:nvSpPr>
        <p:spPr bwMode="gray">
          <a:xfrm>
            <a:off x="8640390" y="3633397"/>
            <a:ext cx="101668" cy="101367"/>
          </a:xfrm>
          <a:prstGeom prst="ellipse">
            <a:avLst/>
          </a:prstGeom>
          <a:pattFill prst="ltUpDiag">
            <a:fgClr>
              <a:srgbClr val="FF0000"/>
            </a:fgClr>
            <a:bgClr>
              <a:schemeClr val="bg1"/>
            </a:bgClr>
          </a:patt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sp>
        <p:nvSpPr>
          <p:cNvPr id="157" name="Овал 156"/>
          <p:cNvSpPr/>
          <p:nvPr/>
        </p:nvSpPr>
        <p:spPr bwMode="gray">
          <a:xfrm>
            <a:off x="8654586" y="6456237"/>
            <a:ext cx="101668" cy="101367"/>
          </a:xfrm>
          <a:prstGeom prst="ellipse">
            <a:avLst/>
          </a:prstGeom>
          <a:solidFill>
            <a:srgbClr val="FF0000"/>
          </a:solid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270" b="1" dirty="0">
              <a:solidFill>
                <a:prstClr val="white"/>
              </a:solidFill>
            </a:endParaRPr>
          </a:p>
        </p:txBody>
      </p:sp>
      <p:sp>
        <p:nvSpPr>
          <p:cNvPr id="158" name="Овал 157"/>
          <p:cNvSpPr/>
          <p:nvPr/>
        </p:nvSpPr>
        <p:spPr bwMode="gray">
          <a:xfrm>
            <a:off x="9053535" y="3096623"/>
            <a:ext cx="101668" cy="101367"/>
          </a:xfrm>
          <a:prstGeom prst="ellipse">
            <a:avLst/>
          </a:prstGeom>
          <a:solidFill>
            <a:srgbClr val="FF0000"/>
          </a:solid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8807996" y="6278424"/>
            <a:ext cx="633187" cy="1116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ru-RU" sz="726" dirty="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ктив передан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8808449" y="6454195"/>
            <a:ext cx="1170192" cy="1116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ru-RU" sz="726" dirty="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ктив в плане по передаче</a:t>
            </a:r>
          </a:p>
        </p:txBody>
      </p:sp>
      <p:sp>
        <p:nvSpPr>
          <p:cNvPr id="163" name="Овал 162"/>
          <p:cNvSpPr/>
          <p:nvPr/>
        </p:nvSpPr>
        <p:spPr bwMode="gray">
          <a:xfrm>
            <a:off x="8655574" y="6635528"/>
            <a:ext cx="101668" cy="101367"/>
          </a:xfrm>
          <a:prstGeom prst="ellipse">
            <a:avLst/>
          </a:prstGeom>
          <a:pattFill prst="lgCheck">
            <a:fgClr>
              <a:srgbClr val="FF0000"/>
            </a:fgClr>
            <a:bgClr>
              <a:schemeClr val="bg1"/>
            </a:bgClr>
          </a:patt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270" b="1" dirty="0">
              <a:solidFill>
                <a:prstClr val="white"/>
              </a:solidFill>
            </a:endParaRPr>
          </a:p>
        </p:txBody>
      </p:sp>
      <p:sp>
        <p:nvSpPr>
          <p:cNvPr id="164" name="Овал 163"/>
          <p:cNvSpPr/>
          <p:nvPr/>
        </p:nvSpPr>
        <p:spPr bwMode="gray">
          <a:xfrm>
            <a:off x="6579324" y="3096039"/>
            <a:ext cx="101668" cy="101367"/>
          </a:xfrm>
          <a:prstGeom prst="ellipse">
            <a:avLst/>
          </a:prstGeom>
          <a:pattFill prst="lgCheck">
            <a:fgClr>
              <a:srgbClr val="FF0000"/>
            </a:fgClr>
            <a:bgClr>
              <a:schemeClr val="bg1"/>
            </a:bgClr>
          </a:patt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sp>
        <p:nvSpPr>
          <p:cNvPr id="165" name="Овал 164"/>
          <p:cNvSpPr/>
          <p:nvPr/>
        </p:nvSpPr>
        <p:spPr bwMode="gray">
          <a:xfrm>
            <a:off x="9053535" y="2835827"/>
            <a:ext cx="101668" cy="101367"/>
          </a:xfrm>
          <a:prstGeom prst="ellipse">
            <a:avLst/>
          </a:prstGeom>
          <a:solidFill>
            <a:srgbClr val="FF0000"/>
          </a:solid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cxnSp>
        <p:nvCxnSpPr>
          <p:cNvPr id="167" name="Прямая соединительная линия 166"/>
          <p:cNvCxnSpPr/>
          <p:nvPr/>
        </p:nvCxnSpPr>
        <p:spPr>
          <a:xfrm>
            <a:off x="8685908" y="4223145"/>
            <a:ext cx="1614927" cy="386"/>
          </a:xfrm>
          <a:prstGeom prst="line">
            <a:avLst/>
          </a:prstGeom>
          <a:ln w="34925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/>
          <p:cNvSpPr txBox="1"/>
          <p:nvPr/>
        </p:nvSpPr>
        <p:spPr>
          <a:xfrm>
            <a:off x="8800637" y="6629890"/>
            <a:ext cx="992259" cy="1116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ru-RU" sz="726" dirty="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ект приостановлен</a:t>
            </a: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6728008" y="4214504"/>
            <a:ext cx="1930517" cy="0"/>
          </a:xfrm>
          <a:prstGeom prst="line">
            <a:avLst/>
          </a:prstGeom>
          <a:ln w="88900" cap="rnd">
            <a:solidFill>
              <a:schemeClr val="accent6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/>
          <p:cNvCxnSpPr/>
          <p:nvPr/>
        </p:nvCxnSpPr>
        <p:spPr>
          <a:xfrm>
            <a:off x="7324038" y="4457493"/>
            <a:ext cx="2988000" cy="738"/>
          </a:xfrm>
          <a:prstGeom prst="line">
            <a:avLst/>
          </a:prstGeom>
          <a:ln w="34925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V="1">
            <a:off x="6721307" y="4451631"/>
            <a:ext cx="667213" cy="279"/>
          </a:xfrm>
          <a:prstGeom prst="line">
            <a:avLst/>
          </a:prstGeom>
          <a:ln w="88900" cap="rnd">
            <a:solidFill>
              <a:schemeClr val="accent6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25"/>
          <p:cNvCxnSpPr/>
          <p:nvPr/>
        </p:nvCxnSpPr>
        <p:spPr>
          <a:xfrm flipV="1">
            <a:off x="1948404" y="3902100"/>
            <a:ext cx="0" cy="947098"/>
          </a:xfrm>
          <a:prstGeom prst="line">
            <a:avLst/>
          </a:prstGeom>
          <a:ln w="88900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единительная линия 31"/>
          <p:cNvCxnSpPr/>
          <p:nvPr/>
        </p:nvCxnSpPr>
        <p:spPr>
          <a:xfrm flipH="1">
            <a:off x="1493798" y="2587093"/>
            <a:ext cx="0" cy="1143049"/>
          </a:xfrm>
          <a:prstGeom prst="line">
            <a:avLst/>
          </a:prstGeom>
          <a:ln w="88900" cap="rnd">
            <a:solidFill>
              <a:srgbClr val="9DD4C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Скругленная прямоугольная выноска 133"/>
          <p:cNvSpPr/>
          <p:nvPr/>
        </p:nvSpPr>
        <p:spPr bwMode="gray">
          <a:xfrm>
            <a:off x="9538606" y="4782702"/>
            <a:ext cx="819710" cy="126760"/>
          </a:xfrm>
          <a:prstGeom prst="wedgeRoundRectCallout">
            <a:avLst>
              <a:gd name="adj1" fmla="val 3135"/>
              <a:gd name="adj2" fmla="val -101047"/>
              <a:gd name="adj3" fmla="val 16667"/>
            </a:avLst>
          </a:prstGeom>
          <a:solidFill>
            <a:schemeClr val="bg1"/>
          </a:solidFill>
          <a:ln w="12700" algn="ctr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726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ватизация</a:t>
            </a:r>
          </a:p>
        </p:txBody>
      </p:sp>
      <p:sp>
        <p:nvSpPr>
          <p:cNvPr id="142" name="Скругленная прямоугольная выноска 140"/>
          <p:cNvSpPr/>
          <p:nvPr/>
        </p:nvSpPr>
        <p:spPr bwMode="gray">
          <a:xfrm>
            <a:off x="8519053" y="3126243"/>
            <a:ext cx="462704" cy="139436"/>
          </a:xfrm>
          <a:prstGeom prst="wedgeRoundRectCallout">
            <a:avLst>
              <a:gd name="adj1" fmla="val 33878"/>
              <a:gd name="adj2" fmla="val 133819"/>
              <a:gd name="adj3" fmla="val 16667"/>
            </a:avLst>
          </a:prstGeom>
          <a:solidFill>
            <a:schemeClr val="bg1"/>
          </a:solidFill>
          <a:ln w="12700" algn="ctr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726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КМГ</a:t>
            </a:r>
          </a:p>
        </p:txBody>
      </p:sp>
      <p:cxnSp>
        <p:nvCxnSpPr>
          <p:cNvPr id="143" name="Прямая соединительная линия 167"/>
          <p:cNvCxnSpPr/>
          <p:nvPr/>
        </p:nvCxnSpPr>
        <p:spPr>
          <a:xfrm>
            <a:off x="5445684" y="3424629"/>
            <a:ext cx="3456000" cy="738"/>
          </a:xfrm>
          <a:prstGeom prst="line">
            <a:avLst/>
          </a:prstGeom>
          <a:ln w="34925" cap="rnd">
            <a:solidFill>
              <a:srgbClr val="9DD4CF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Овал 158"/>
          <p:cNvSpPr/>
          <p:nvPr/>
        </p:nvSpPr>
        <p:spPr bwMode="gray">
          <a:xfrm>
            <a:off x="8917763" y="3370720"/>
            <a:ext cx="101668" cy="101367"/>
          </a:xfrm>
          <a:prstGeom prst="ellipse">
            <a:avLst/>
          </a:prstGeom>
          <a:solidFill>
            <a:srgbClr val="FF0000"/>
          </a:solid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cxnSp>
        <p:nvCxnSpPr>
          <p:cNvPr id="132" name="Прямая соединительная линия 131"/>
          <p:cNvCxnSpPr/>
          <p:nvPr/>
        </p:nvCxnSpPr>
        <p:spPr>
          <a:xfrm>
            <a:off x="6323592" y="4692085"/>
            <a:ext cx="751147" cy="528"/>
          </a:xfrm>
          <a:prstGeom prst="line">
            <a:avLst/>
          </a:prstGeom>
          <a:ln w="88900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tangle 26"/>
          <p:cNvSpPr/>
          <p:nvPr/>
        </p:nvSpPr>
        <p:spPr bwMode="gray">
          <a:xfrm>
            <a:off x="1990606" y="4626134"/>
            <a:ext cx="871698" cy="1665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648" tIns="80648" rIns="80648" bIns="80648" rtlCol="0" anchor="ctr"/>
          <a:lstStyle/>
          <a:p>
            <a:pPr defTabSz="714403">
              <a:lnSpc>
                <a:spcPct val="106000"/>
              </a:lnSpc>
            </a:pPr>
            <a:r>
              <a:rPr lang="ru-RU" sz="907" b="1" dirty="0">
                <a:solidFill>
                  <a:srgbClr val="D0D0CE">
                    <a:lumMod val="50000"/>
                  </a:srgbClr>
                </a:solidFill>
                <a:cs typeface="Segoe UI Light" panose="020B0502040204020203" pitchFamily="34" charset="0"/>
              </a:rPr>
              <a:t>ХИМ-плюс</a:t>
            </a:r>
            <a:r>
              <a:rPr lang="en-US" sz="907" b="1" dirty="0">
                <a:solidFill>
                  <a:srgbClr val="D0D0CE">
                    <a:lumMod val="50000"/>
                  </a:srgbClr>
                </a:solidFill>
                <a:cs typeface="Segoe UI Light" panose="020B0502040204020203" pitchFamily="34" charset="0"/>
              </a:rPr>
              <a:t> </a:t>
            </a:r>
            <a:r>
              <a:rPr lang="ru-RU" sz="907" b="1" dirty="0">
                <a:solidFill>
                  <a:srgbClr val="D0D0CE">
                    <a:lumMod val="50000"/>
                  </a:srgbClr>
                </a:solidFill>
                <a:cs typeface="Segoe UI Light" panose="020B0502040204020203" pitchFamily="34" charset="0"/>
              </a:rPr>
              <a:t>(формуляция)</a:t>
            </a:r>
            <a:endParaRPr lang="en-US" sz="907" b="1" dirty="0">
              <a:solidFill>
                <a:srgbClr val="D0D0CE">
                  <a:lumMod val="50000"/>
                </a:srgbClr>
              </a:solidFill>
              <a:cs typeface="Segoe UI Light" panose="020B0502040204020203" pitchFamily="34" charset="0"/>
            </a:endParaRPr>
          </a:p>
        </p:txBody>
      </p:sp>
      <p:cxnSp>
        <p:nvCxnSpPr>
          <p:cNvPr id="148" name="Прямая соединительная линия 147"/>
          <p:cNvCxnSpPr/>
          <p:nvPr/>
        </p:nvCxnSpPr>
        <p:spPr>
          <a:xfrm flipV="1">
            <a:off x="7126233" y="4698934"/>
            <a:ext cx="2748306" cy="0"/>
          </a:xfrm>
          <a:prstGeom prst="line">
            <a:avLst/>
          </a:prstGeom>
          <a:ln w="34925" cap="rnd">
            <a:solidFill>
              <a:srgbClr val="00ABAB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Скругленный прямоугольник 9"/>
          <p:cNvSpPr/>
          <p:nvPr/>
        </p:nvSpPr>
        <p:spPr bwMode="gray">
          <a:xfrm>
            <a:off x="3047262" y="1217392"/>
            <a:ext cx="1161338" cy="248858"/>
          </a:xfrm>
          <a:prstGeom prst="roundRect">
            <a:avLst/>
          </a:prstGeom>
          <a:solidFill>
            <a:schemeClr val="bg2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816" b="1" dirty="0">
                <a:solidFill>
                  <a:prstClr val="white"/>
                </a:solidFill>
              </a:rPr>
              <a:t>2009 – 2011</a:t>
            </a:r>
          </a:p>
        </p:txBody>
      </p:sp>
      <p:sp>
        <p:nvSpPr>
          <p:cNvPr id="152" name="Скругленный прямоугольник 94"/>
          <p:cNvSpPr/>
          <p:nvPr/>
        </p:nvSpPr>
        <p:spPr bwMode="gray">
          <a:xfrm>
            <a:off x="3047261" y="948626"/>
            <a:ext cx="1161338" cy="27502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816" dirty="0">
                <a:solidFill>
                  <a:prstClr val="black"/>
                </a:solidFill>
              </a:rPr>
              <a:t>Становление Товарищества</a:t>
            </a:r>
          </a:p>
        </p:txBody>
      </p:sp>
      <p:sp>
        <p:nvSpPr>
          <p:cNvPr id="150" name="SlideTitle">
            <a:extLst>
              <a:ext uri="{FF2B5EF4-FFF2-40B4-BE49-F238E27FC236}">
                <a16:creationId xmlns="" xmlns:a16="http://schemas.microsoft.com/office/drawing/2014/main" id="{A841D725-075E-4463-85A7-EFD29B9C4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206" y="166453"/>
            <a:ext cx="8707997" cy="391896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ru-RU" sz="2000" kern="0" dirty="0"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Динамика развития </a:t>
            </a:r>
            <a:r>
              <a:rPr lang="en-US" sz="2000" kern="0" dirty="0" err="1"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Samruk-Kazyna</a:t>
            </a:r>
            <a:r>
              <a:rPr lang="en-US" sz="2000" kern="0" dirty="0"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 </a:t>
            </a:r>
            <a:r>
              <a:rPr lang="en-US" sz="2000" kern="0" dirty="0" err="1">
                <a:latin typeface="Calibri Light" panose="020F0302020204030204" pitchFamily="34" charset="0"/>
                <a:ea typeface="Segoe UI Black" panose="020B0A02040204020203" pitchFamily="34" charset="0"/>
                <a:cs typeface="Calibri Light" panose="020F0302020204030204" pitchFamily="34" charset="0"/>
              </a:rPr>
              <a:t>Ondeu</a:t>
            </a:r>
            <a:endParaRPr lang="en-US" sz="2000" kern="0" dirty="0"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sp>
        <p:nvSpPr>
          <p:cNvPr id="151" name="Скругленная прямоугольная выноска 140">
            <a:extLst>
              <a:ext uri="{FF2B5EF4-FFF2-40B4-BE49-F238E27FC236}">
                <a16:creationId xmlns="" xmlns:a16="http://schemas.microsoft.com/office/drawing/2014/main" id="{451C46B6-D9BC-4C41-AE62-7F7156FFBB7D}"/>
              </a:ext>
            </a:extLst>
          </p:cNvPr>
          <p:cNvSpPr/>
          <p:nvPr/>
        </p:nvSpPr>
        <p:spPr bwMode="gray">
          <a:xfrm>
            <a:off x="9381347" y="3001926"/>
            <a:ext cx="462704" cy="139436"/>
          </a:xfrm>
          <a:prstGeom prst="wedgeRoundRectCallout">
            <a:avLst>
              <a:gd name="adj1" fmla="val -90083"/>
              <a:gd name="adj2" fmla="val 53274"/>
              <a:gd name="adj3" fmla="val 16667"/>
            </a:avLst>
          </a:prstGeom>
          <a:solidFill>
            <a:schemeClr val="bg1"/>
          </a:solidFill>
          <a:ln w="12700" algn="ctr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r>
              <a:rPr lang="ru-RU" sz="726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ХПТ</a:t>
            </a:r>
          </a:p>
        </p:txBody>
      </p:sp>
      <p:sp>
        <p:nvSpPr>
          <p:cNvPr id="146" name="Овал 145"/>
          <p:cNvSpPr/>
          <p:nvPr/>
        </p:nvSpPr>
        <p:spPr bwMode="gray">
          <a:xfrm>
            <a:off x="9874538" y="4634978"/>
            <a:ext cx="101668" cy="101367"/>
          </a:xfrm>
          <a:prstGeom prst="ellipse">
            <a:avLst/>
          </a:prstGeom>
          <a:solidFill>
            <a:srgbClr val="FF0000"/>
          </a:solidFill>
          <a:ln w="317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80648" tIns="80648" rIns="80648" bIns="80648" rtlCol="0" anchor="ctr"/>
          <a:lstStyle/>
          <a:p>
            <a:pPr algn="ctr" defTabSz="714403">
              <a:lnSpc>
                <a:spcPct val="106000"/>
              </a:lnSpc>
            </a:pPr>
            <a:endParaRPr lang="ru-RU" sz="1452" b="1" dirty="0">
              <a:solidFill>
                <a:prstClr val="white"/>
              </a:solidFill>
            </a:endParaRPr>
          </a:p>
        </p:txBody>
      </p:sp>
      <p:pic>
        <p:nvPicPr>
          <p:cNvPr id="98" name="Рисунок 97">
            <a:extLst>
              <a:ext uri="{FF2B5EF4-FFF2-40B4-BE49-F238E27FC236}">
                <a16:creationId xmlns="" xmlns:a16="http://schemas.microsoft.com/office/drawing/2014/main" id="{4D271F8D-ADAA-41E3-AD97-F1C4C95E12E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183019" y="474798"/>
            <a:ext cx="10481426" cy="367433"/>
          </a:xfrm>
          <a:prstGeom prst="rect">
            <a:avLst/>
          </a:prstGeom>
        </p:spPr>
      </p:pic>
      <p:pic>
        <p:nvPicPr>
          <p:cNvPr id="100" name="Рисунок 9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421801" y="6070973"/>
            <a:ext cx="774615" cy="787027"/>
          </a:xfrm>
          <a:prstGeom prst="rect">
            <a:avLst/>
          </a:prstGeom>
        </p:spPr>
      </p:pic>
      <p:sp>
        <p:nvSpPr>
          <p:cNvPr id="101" name="Номер слайда 3">
            <a:extLst>
              <a:ext uri="{FF2B5EF4-FFF2-40B4-BE49-F238E27FC236}">
                <a16:creationId xmlns="" xmlns:a16="http://schemas.microsoft.com/office/drawing/2014/main" id="{46D7C63C-F1D3-8C59-3F2C-8F0EDD7EDB38}"/>
              </a:ext>
            </a:extLst>
          </p:cNvPr>
          <p:cNvSpPr txBox="1">
            <a:spLocks/>
          </p:cNvSpPr>
          <p:nvPr/>
        </p:nvSpPr>
        <p:spPr>
          <a:xfrm>
            <a:off x="11826244" y="6522471"/>
            <a:ext cx="32969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3205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9">
            <a:extLst>
              <a:ext uri="{FF2B5EF4-FFF2-40B4-BE49-F238E27FC236}">
                <a16:creationId xmlns="" xmlns:a16="http://schemas.microsoft.com/office/drawing/2014/main" id="{0DA91394-DCCD-1A24-95CD-15B4FA1EBCCA}"/>
              </a:ext>
            </a:extLst>
          </p:cNvPr>
          <p:cNvSpPr txBox="1">
            <a:spLocks/>
          </p:cNvSpPr>
          <p:nvPr/>
        </p:nvSpPr>
        <p:spPr>
          <a:xfrm>
            <a:off x="6017344" y="6621392"/>
            <a:ext cx="1545383" cy="217389"/>
          </a:xfrm>
          <a:prstGeom prst="rect">
            <a:avLst/>
          </a:prstGeom>
        </p:spPr>
        <p:txBody>
          <a:bodyPr vert="horz" lIns="62345" tIns="31173" rIns="62345" bIns="31173" rtlCol="0" anchor="ctr">
            <a:noAutofit/>
          </a:bodyPr>
          <a:lstStyle>
            <a:lvl1pPr marL="0" indent="0" algn="l" defTabSz="1341150" rtl="0" eaLnBrk="1" latinLnBrk="0" hangingPunct="1">
              <a:lnSpc>
                <a:spcPct val="90000"/>
              </a:lnSpc>
              <a:spcBef>
                <a:spcPts val="1467"/>
              </a:spcBef>
              <a:buFontTx/>
              <a:buNone/>
              <a:defRPr sz="1600" b="1" u="none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70575" indent="0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Tx/>
              <a:buNone/>
              <a:defRPr sz="352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341150" indent="0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Tx/>
              <a:buNone/>
              <a:defRPr sz="29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011725" indent="0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Tx/>
              <a:buNone/>
              <a:defRPr sz="264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682301" indent="0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Tx/>
              <a:buNone/>
              <a:defRPr sz="264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368816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58739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29314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99890" indent="-335288" algn="l" defTabSz="1341150" rtl="0" eaLnBrk="1" latinLnBrk="0" hangingPunct="1">
              <a:lnSpc>
                <a:spcPct val="90000"/>
              </a:lnSpc>
              <a:spcBef>
                <a:spcPts val="733"/>
              </a:spcBef>
              <a:buFont typeface="Arial" panose="020B0604020202020204" pitchFamily="34" charset="0"/>
              <a:buChar char="•"/>
              <a:defRPr sz="26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91" dirty="0">
                <a:solidFill>
                  <a:schemeClr val="bg1"/>
                </a:solidFill>
              </a:rPr>
              <a:t>О КОМПАНИИ</a:t>
            </a:r>
            <a:endParaRPr lang="ru-KZ" sz="1091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49291EC7-C0C8-4508-FB16-758193633380}"/>
              </a:ext>
            </a:extLst>
          </p:cNvPr>
          <p:cNvSpPr/>
          <p:nvPr/>
        </p:nvSpPr>
        <p:spPr>
          <a:xfrm>
            <a:off x="796637" y="3249728"/>
            <a:ext cx="2567787" cy="31969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8F796E6F-E1DF-338F-CD8A-F6199DAA4D4F}"/>
              </a:ext>
            </a:extLst>
          </p:cNvPr>
          <p:cNvSpPr txBox="1"/>
          <p:nvPr/>
        </p:nvSpPr>
        <p:spPr>
          <a:xfrm flipH="1">
            <a:off x="929688" y="3302544"/>
            <a:ext cx="2388677" cy="34323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just">
              <a:lnSpc>
                <a:spcPct val="130000"/>
              </a:lnSpc>
              <a:spcAft>
                <a:spcPts val="409"/>
              </a:spcAft>
            </a:pPr>
            <a:r>
              <a:rPr lang="ru-RU" sz="1364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НЕОРГАНИЧЕСКАЯ ХИМИЯ</a:t>
            </a:r>
            <a:endParaRPr lang="ru-KZ" sz="1364" b="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="" xmlns:a16="http://schemas.microsoft.com/office/drawing/2014/main" id="{43A2F8EC-FD61-6A63-A23B-DD059B966D5B}"/>
              </a:ext>
            </a:extLst>
          </p:cNvPr>
          <p:cNvGrpSpPr/>
          <p:nvPr/>
        </p:nvGrpSpPr>
        <p:grpSpPr>
          <a:xfrm>
            <a:off x="1023563" y="4103958"/>
            <a:ext cx="450764" cy="200449"/>
            <a:chOff x="408694" y="7033905"/>
            <a:chExt cx="766793" cy="293992"/>
          </a:xfrm>
        </p:grpSpPr>
        <p:sp>
          <p:nvSpPr>
            <p:cNvPr id="19" name="Скругленный прямоугольник 160">
              <a:extLst>
                <a:ext uri="{FF2B5EF4-FFF2-40B4-BE49-F238E27FC236}">
                  <a16:creationId xmlns="" xmlns:a16="http://schemas.microsoft.com/office/drawing/2014/main" id="{CC442B69-D306-487A-C75E-38B5B7D45846}"/>
                </a:ext>
              </a:extLst>
            </p:cNvPr>
            <p:cNvSpPr/>
            <p:nvPr/>
          </p:nvSpPr>
          <p:spPr>
            <a:xfrm>
              <a:off x="484161" y="7033905"/>
              <a:ext cx="427873" cy="250843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1EC18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7"/>
            </a:p>
          </p:txBody>
        </p: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6D6B09F7-37F1-8E56-E27F-AD9A4B95D5A9}"/>
                </a:ext>
              </a:extLst>
            </p:cNvPr>
            <p:cNvSpPr txBox="1"/>
            <p:nvPr/>
          </p:nvSpPr>
          <p:spPr>
            <a:xfrm>
              <a:off x="408694" y="7038526"/>
              <a:ext cx="766793" cy="28937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ru-RU" sz="682" b="1" dirty="0"/>
                <a:t>90,11%</a:t>
              </a:r>
              <a:endParaRPr lang="en-US" sz="682" b="1" dirty="0"/>
            </a:p>
          </p:txBody>
        </p:sp>
      </p:grpSp>
      <p:graphicFrame>
        <p:nvGraphicFramePr>
          <p:cNvPr id="21" name="Диаграмма 20">
            <a:extLst>
              <a:ext uri="{FF2B5EF4-FFF2-40B4-BE49-F238E27FC236}">
                <a16:creationId xmlns="" xmlns:a16="http://schemas.microsoft.com/office/drawing/2014/main" id="{5AAE7D27-1799-435F-E050-D570357195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8784997"/>
              </p:ext>
            </p:extLst>
          </p:nvPr>
        </p:nvGraphicFramePr>
        <p:xfrm>
          <a:off x="946595" y="3783967"/>
          <a:ext cx="507766" cy="450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C48C54A3-CA40-0F6C-EB92-6AAE1056B90B}"/>
              </a:ext>
            </a:extLst>
          </p:cNvPr>
          <p:cNvSpPr txBox="1"/>
          <p:nvPr/>
        </p:nvSpPr>
        <p:spPr>
          <a:xfrm>
            <a:off x="1626959" y="3937292"/>
            <a:ext cx="782587" cy="2392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ТОО «</a:t>
            </a:r>
            <a:r>
              <a:rPr lang="en-US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SAP</a:t>
            </a:r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»</a:t>
            </a:r>
            <a:endParaRPr lang="en-US" sz="955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70E417D2-0CA5-11AB-4B02-DFA95084E29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8092" y="3850141"/>
            <a:ext cx="413665" cy="413665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D85148DA-B127-438F-4D2B-374A94F41756}"/>
              </a:ext>
            </a:extLst>
          </p:cNvPr>
          <p:cNvSpPr/>
          <p:nvPr/>
        </p:nvSpPr>
        <p:spPr>
          <a:xfrm>
            <a:off x="3359703" y="3244578"/>
            <a:ext cx="2607614" cy="32157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A6901987-0129-AFBD-A5B9-6E1CAB7D91F8}"/>
              </a:ext>
            </a:extLst>
          </p:cNvPr>
          <p:cNvSpPr txBox="1"/>
          <p:nvPr/>
        </p:nvSpPr>
        <p:spPr>
          <a:xfrm flipH="1">
            <a:off x="3538814" y="3291106"/>
            <a:ext cx="2388677" cy="343235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algn="just">
              <a:lnSpc>
                <a:spcPct val="130000"/>
              </a:lnSpc>
              <a:spcAft>
                <a:spcPts val="409"/>
              </a:spcAft>
            </a:pPr>
            <a:r>
              <a:rPr lang="ru-RU" sz="1364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АГРОХИМИЯ</a:t>
            </a:r>
            <a:endParaRPr lang="ru-KZ" sz="1364" b="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1A2472F9-4DAF-D66A-566E-9DE032DD1362}"/>
              </a:ext>
            </a:extLst>
          </p:cNvPr>
          <p:cNvSpPr txBox="1"/>
          <p:nvPr/>
        </p:nvSpPr>
        <p:spPr>
          <a:xfrm>
            <a:off x="4183173" y="3979617"/>
            <a:ext cx="1079142" cy="2392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ТОО «</a:t>
            </a:r>
            <a:r>
              <a:rPr lang="kk-KZ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ХИМ-плюс</a:t>
            </a:r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»</a:t>
            </a:r>
            <a:endParaRPr lang="en-US" sz="955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Скругленный прямоугольник 151">
            <a:extLst>
              <a:ext uri="{FF2B5EF4-FFF2-40B4-BE49-F238E27FC236}">
                <a16:creationId xmlns="" xmlns:a16="http://schemas.microsoft.com/office/drawing/2014/main" id="{A4DF0753-6D33-3E77-311D-12CA9671DB25}"/>
              </a:ext>
            </a:extLst>
          </p:cNvPr>
          <p:cNvSpPr/>
          <p:nvPr/>
        </p:nvSpPr>
        <p:spPr>
          <a:xfrm>
            <a:off x="3721568" y="4133758"/>
            <a:ext cx="251528" cy="171029"/>
          </a:xfrm>
          <a:prstGeom prst="roundRect">
            <a:avLst/>
          </a:prstGeom>
          <a:solidFill>
            <a:schemeClr val="bg1"/>
          </a:solidFill>
          <a:ln>
            <a:solidFill>
              <a:srgbClr val="1EC1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7" dirty="0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8DEB3A89-6939-29C8-EE18-5429C3BC0838}"/>
              </a:ext>
            </a:extLst>
          </p:cNvPr>
          <p:cNvSpPr txBox="1"/>
          <p:nvPr/>
        </p:nvSpPr>
        <p:spPr>
          <a:xfrm>
            <a:off x="3667751" y="4132178"/>
            <a:ext cx="423514" cy="18684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ru-RU" sz="614" b="1" dirty="0"/>
              <a:t>99,93%</a:t>
            </a:r>
            <a:endParaRPr lang="en-US" sz="614" b="1" dirty="0"/>
          </a:p>
        </p:txBody>
      </p:sp>
      <p:graphicFrame>
        <p:nvGraphicFramePr>
          <p:cNvPr id="34" name="Диаграмма 33">
            <a:extLst>
              <a:ext uri="{FF2B5EF4-FFF2-40B4-BE49-F238E27FC236}">
                <a16:creationId xmlns="" xmlns:a16="http://schemas.microsoft.com/office/drawing/2014/main" id="{06C895DF-6B0B-83FF-2F8D-E9912ABF8E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9989327"/>
              </p:ext>
            </p:extLst>
          </p:nvPr>
        </p:nvGraphicFramePr>
        <p:xfrm>
          <a:off x="3598126" y="3806617"/>
          <a:ext cx="507766" cy="450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A3D8A2C3-CF49-3856-D641-BCD276232923}"/>
              </a:ext>
            </a:extLst>
          </p:cNvPr>
          <p:cNvSpPr/>
          <p:nvPr/>
        </p:nvSpPr>
        <p:spPr>
          <a:xfrm>
            <a:off x="8657682" y="3217695"/>
            <a:ext cx="2448878" cy="3238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AB408D42-7425-E652-072D-A4893F3E39D2}"/>
              </a:ext>
            </a:extLst>
          </p:cNvPr>
          <p:cNvSpPr txBox="1"/>
          <p:nvPr/>
        </p:nvSpPr>
        <p:spPr>
          <a:xfrm flipH="1">
            <a:off x="8683442" y="3317960"/>
            <a:ext cx="2568038" cy="30226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just"/>
            <a:r>
              <a:rPr lang="ru-RU" sz="1364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ИНФРАСТРУКТУРНЫЕ ПРОЕКТЫ</a:t>
            </a:r>
            <a:endParaRPr lang="ru-KZ" sz="1364" b="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0261E48B-D13B-E442-BDB8-03F934B7422C}"/>
              </a:ext>
            </a:extLst>
          </p:cNvPr>
          <p:cNvGrpSpPr/>
          <p:nvPr/>
        </p:nvGrpSpPr>
        <p:grpSpPr>
          <a:xfrm>
            <a:off x="8948780" y="4905488"/>
            <a:ext cx="405880" cy="200273"/>
            <a:chOff x="400204" y="7033905"/>
            <a:chExt cx="752706" cy="311124"/>
          </a:xfrm>
        </p:grpSpPr>
        <p:sp>
          <p:nvSpPr>
            <p:cNvPr id="38" name="Скругленный прямоугольник 157">
              <a:extLst>
                <a:ext uri="{FF2B5EF4-FFF2-40B4-BE49-F238E27FC236}">
                  <a16:creationId xmlns="" xmlns:a16="http://schemas.microsoft.com/office/drawing/2014/main" id="{C2D169D3-3136-6B47-1858-92AB5E806E05}"/>
                </a:ext>
              </a:extLst>
            </p:cNvPr>
            <p:cNvSpPr/>
            <p:nvPr/>
          </p:nvSpPr>
          <p:spPr>
            <a:xfrm>
              <a:off x="484161" y="7033905"/>
              <a:ext cx="427873" cy="250843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1EC18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7"/>
            </a:p>
          </p:txBody>
        </p: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69EE6FD9-32C9-3358-5FDF-BDDC406BFE15}"/>
                </a:ext>
              </a:extLst>
            </p:cNvPr>
            <p:cNvSpPr txBox="1"/>
            <p:nvPr/>
          </p:nvSpPr>
          <p:spPr>
            <a:xfrm>
              <a:off x="400204" y="7038527"/>
              <a:ext cx="752706" cy="306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ru-RU" sz="682" b="1" dirty="0"/>
                <a:t>18,5%</a:t>
              </a:r>
              <a:endParaRPr lang="en-US" sz="682" b="1" dirty="0"/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DD794EB3-D351-E9D4-A5BC-46B8802A6A37}"/>
              </a:ext>
            </a:extLst>
          </p:cNvPr>
          <p:cNvSpPr txBox="1"/>
          <p:nvPr/>
        </p:nvSpPr>
        <p:spPr>
          <a:xfrm>
            <a:off x="9329576" y="4690325"/>
            <a:ext cx="1100431" cy="386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АО «УК СЭЗ </a:t>
            </a:r>
          </a:p>
          <a:p>
            <a:pPr algn="ctr"/>
            <a:r>
              <a:rPr lang="ru-RU" sz="955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Хим</a:t>
            </a:r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Парк </a:t>
            </a:r>
            <a:r>
              <a:rPr lang="ru-RU" sz="955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Тараз</a:t>
            </a:r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»</a:t>
            </a:r>
            <a:endParaRPr lang="en-US" sz="955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7" name="Рисунок 46">
            <a:extLst>
              <a:ext uri="{FF2B5EF4-FFF2-40B4-BE49-F238E27FC236}">
                <a16:creationId xmlns="" xmlns:a16="http://schemas.microsoft.com/office/drawing/2014/main" id="{3BE559C2-3AC9-5070-DFE6-41C00C2547E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7188" y="4489557"/>
            <a:ext cx="699372" cy="662171"/>
          </a:xfrm>
          <a:prstGeom prst="rect">
            <a:avLst/>
          </a:prstGeom>
        </p:spPr>
      </p:pic>
      <p:graphicFrame>
        <p:nvGraphicFramePr>
          <p:cNvPr id="50" name="Диаграмма 49">
            <a:extLst>
              <a:ext uri="{FF2B5EF4-FFF2-40B4-BE49-F238E27FC236}">
                <a16:creationId xmlns="" xmlns:a16="http://schemas.microsoft.com/office/drawing/2014/main" id="{3B435D65-38E9-B701-1312-148B962FE5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0836593"/>
              </p:ext>
            </p:extLst>
          </p:nvPr>
        </p:nvGraphicFramePr>
        <p:xfrm>
          <a:off x="8881599" y="4617249"/>
          <a:ext cx="465763" cy="42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395DB566-1007-E3C1-D157-DBAA509C522B}"/>
              </a:ext>
            </a:extLst>
          </p:cNvPr>
          <p:cNvSpPr/>
          <p:nvPr/>
        </p:nvSpPr>
        <p:spPr>
          <a:xfrm>
            <a:off x="5966612" y="3227216"/>
            <a:ext cx="2682680" cy="32289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43EBB82D-A6BA-CB5A-4FD6-529B33FD482B}"/>
              </a:ext>
            </a:extLst>
          </p:cNvPr>
          <p:cNvSpPr txBox="1"/>
          <p:nvPr/>
        </p:nvSpPr>
        <p:spPr>
          <a:xfrm flipH="1">
            <a:off x="6095955" y="3292703"/>
            <a:ext cx="2388677" cy="34323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just">
              <a:lnSpc>
                <a:spcPct val="130000"/>
              </a:lnSpc>
              <a:spcAft>
                <a:spcPts val="409"/>
              </a:spcAft>
            </a:pPr>
            <a:r>
              <a:rPr lang="ru-RU" sz="1364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НЕФТЕГАЗОХИМИЯ</a:t>
            </a:r>
            <a:endParaRPr lang="ru-KZ" sz="1364" b="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B21AEAD5-C2DA-4BE4-F6CF-4DBDC0ACE263}"/>
              </a:ext>
            </a:extLst>
          </p:cNvPr>
          <p:cNvSpPr txBox="1"/>
          <p:nvPr/>
        </p:nvSpPr>
        <p:spPr>
          <a:xfrm>
            <a:off x="6479593" y="3983437"/>
            <a:ext cx="1143730" cy="386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ТОО «Полимер </a:t>
            </a:r>
          </a:p>
          <a:p>
            <a:pPr algn="ctr"/>
            <a:r>
              <a:rPr lang="ru-RU" sz="955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Продакшн</a:t>
            </a:r>
            <a:r>
              <a:rPr lang="ru-RU" sz="955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»</a:t>
            </a:r>
            <a:endParaRPr lang="en-US" sz="955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2" name="Овал 61">
            <a:extLst>
              <a:ext uri="{FF2B5EF4-FFF2-40B4-BE49-F238E27FC236}">
                <a16:creationId xmlns="" xmlns:a16="http://schemas.microsoft.com/office/drawing/2014/main" id="{F5D66E8D-C059-6269-A9D8-94310605C6D5}"/>
              </a:ext>
            </a:extLst>
          </p:cNvPr>
          <p:cNvSpPr/>
          <p:nvPr/>
        </p:nvSpPr>
        <p:spPr>
          <a:xfrm>
            <a:off x="6204028" y="3931466"/>
            <a:ext cx="237507" cy="237507"/>
          </a:xfrm>
          <a:prstGeom prst="ellipse">
            <a:avLst/>
          </a:prstGeom>
          <a:solidFill>
            <a:srgbClr val="28C4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7"/>
          </a:p>
        </p:txBody>
      </p:sp>
      <p:pic>
        <p:nvPicPr>
          <p:cNvPr id="63" name="Рисунок 62">
            <a:extLst>
              <a:ext uri="{FF2B5EF4-FFF2-40B4-BE49-F238E27FC236}">
                <a16:creationId xmlns="" xmlns:a16="http://schemas.microsoft.com/office/drawing/2014/main" id="{6518F8FC-763A-FD2E-9DAA-580CC512ADB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0327" y="3949404"/>
            <a:ext cx="598270" cy="299135"/>
          </a:xfrm>
          <a:prstGeom prst="rect">
            <a:avLst/>
          </a:prstGeom>
        </p:spPr>
      </p:pic>
      <p:grpSp>
        <p:nvGrpSpPr>
          <p:cNvPr id="64" name="Группа 63">
            <a:extLst>
              <a:ext uri="{FF2B5EF4-FFF2-40B4-BE49-F238E27FC236}">
                <a16:creationId xmlns="" xmlns:a16="http://schemas.microsoft.com/office/drawing/2014/main" id="{8A384FBE-54EF-58D0-C901-0C6ECA88F460}"/>
              </a:ext>
            </a:extLst>
          </p:cNvPr>
          <p:cNvGrpSpPr/>
          <p:nvPr/>
        </p:nvGrpSpPr>
        <p:grpSpPr>
          <a:xfrm>
            <a:off x="6146456" y="4151794"/>
            <a:ext cx="423514" cy="189996"/>
            <a:chOff x="405034" y="7033905"/>
            <a:chExt cx="720436" cy="278662"/>
          </a:xfrm>
        </p:grpSpPr>
        <p:sp>
          <p:nvSpPr>
            <p:cNvPr id="65" name="Скругленный прямоугольник 164">
              <a:extLst>
                <a:ext uri="{FF2B5EF4-FFF2-40B4-BE49-F238E27FC236}">
                  <a16:creationId xmlns="" xmlns:a16="http://schemas.microsoft.com/office/drawing/2014/main" id="{3255D659-4312-6B06-FE9E-2B0273479E4B}"/>
                </a:ext>
              </a:extLst>
            </p:cNvPr>
            <p:cNvSpPr/>
            <p:nvPr/>
          </p:nvSpPr>
          <p:spPr>
            <a:xfrm>
              <a:off x="484161" y="7033905"/>
              <a:ext cx="427873" cy="250843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1EC18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7"/>
            </a:p>
          </p:txBody>
        </p:sp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1A1CF4B1-54C4-A2F2-5472-6569B4A59908}"/>
                </a:ext>
              </a:extLst>
            </p:cNvPr>
            <p:cNvSpPr txBox="1"/>
            <p:nvPr/>
          </p:nvSpPr>
          <p:spPr>
            <a:xfrm>
              <a:off x="405034" y="7038526"/>
              <a:ext cx="720436" cy="27404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ru-RU" sz="614" b="1" dirty="0"/>
                <a:t>9</a:t>
              </a:r>
              <a:r>
                <a:rPr lang="en-US" sz="614" b="1" dirty="0"/>
                <a:t>9</a:t>
              </a:r>
              <a:r>
                <a:rPr lang="ru-RU" sz="614" b="1" dirty="0"/>
                <a:t>,83%</a:t>
              </a:r>
              <a:endParaRPr lang="en-US" sz="614" b="1" dirty="0"/>
            </a:p>
          </p:txBody>
        </p:sp>
      </p:grpSp>
      <p:graphicFrame>
        <p:nvGraphicFramePr>
          <p:cNvPr id="67" name="Диаграмма 66">
            <a:extLst>
              <a:ext uri="{FF2B5EF4-FFF2-40B4-BE49-F238E27FC236}">
                <a16:creationId xmlns="" xmlns:a16="http://schemas.microsoft.com/office/drawing/2014/main" id="{76E23AB9-0A76-93A9-85B0-DD5D7DCBFD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42519"/>
              </p:ext>
            </p:extLst>
          </p:nvPr>
        </p:nvGraphicFramePr>
        <p:xfrm>
          <a:off x="6068897" y="3806617"/>
          <a:ext cx="488528" cy="420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123" name="Рисунок 122">
            <a:extLst>
              <a:ext uri="{FF2B5EF4-FFF2-40B4-BE49-F238E27FC236}">
                <a16:creationId xmlns="" xmlns:a16="http://schemas.microsoft.com/office/drawing/2014/main" id="{00212674-F424-BCCC-EFD1-F1510A48073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26339" y="3838687"/>
            <a:ext cx="509685" cy="418808"/>
          </a:xfrm>
          <a:prstGeom prst="rect">
            <a:avLst/>
          </a:prstGeom>
        </p:spPr>
      </p:pic>
      <p:grpSp>
        <p:nvGrpSpPr>
          <p:cNvPr id="161" name="Группа 160">
            <a:extLst>
              <a:ext uri="{FF2B5EF4-FFF2-40B4-BE49-F238E27FC236}">
                <a16:creationId xmlns="" xmlns:a16="http://schemas.microsoft.com/office/drawing/2014/main" id="{98FA2CF5-D35D-19B6-FDE6-C0B3B07929F6}"/>
              </a:ext>
            </a:extLst>
          </p:cNvPr>
          <p:cNvGrpSpPr/>
          <p:nvPr/>
        </p:nvGrpSpPr>
        <p:grpSpPr>
          <a:xfrm>
            <a:off x="8832420" y="3815190"/>
            <a:ext cx="2160573" cy="515354"/>
            <a:chOff x="7720081" y="5173771"/>
            <a:chExt cx="3168841" cy="755852"/>
          </a:xfrm>
        </p:grpSpPr>
        <p:sp>
          <p:nvSpPr>
            <p:cNvPr id="70" name="TextBox 69">
              <a:extLst>
                <a:ext uri="{FF2B5EF4-FFF2-40B4-BE49-F238E27FC236}">
                  <a16:creationId xmlns="" xmlns:a16="http://schemas.microsoft.com/office/drawing/2014/main" id="{593A1AB2-FF72-2187-344A-21EDF23589D5}"/>
                </a:ext>
              </a:extLst>
            </p:cNvPr>
            <p:cNvSpPr txBox="1"/>
            <p:nvPr/>
          </p:nvSpPr>
          <p:spPr>
            <a:xfrm>
              <a:off x="8401924" y="5463223"/>
              <a:ext cx="1168953" cy="3509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55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ТОО «</a:t>
              </a:r>
              <a:r>
                <a:rPr lang="en-US" sz="955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KUS</a:t>
              </a:r>
              <a:r>
                <a:rPr lang="ru-RU" sz="955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»*</a:t>
              </a:r>
              <a:endParaRPr lang="en-US" sz="955" b="1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grpSp>
          <p:nvGrpSpPr>
            <p:cNvPr id="72" name="Группа 71">
              <a:extLst>
                <a:ext uri="{FF2B5EF4-FFF2-40B4-BE49-F238E27FC236}">
                  <a16:creationId xmlns="" xmlns:a16="http://schemas.microsoft.com/office/drawing/2014/main" id="{AB3EC7DE-D726-4971-F6A9-CD146B0E8506}"/>
                </a:ext>
              </a:extLst>
            </p:cNvPr>
            <p:cNvGrpSpPr/>
            <p:nvPr/>
          </p:nvGrpSpPr>
          <p:grpSpPr>
            <a:xfrm>
              <a:off x="7720081" y="5173771"/>
              <a:ext cx="734904" cy="755852"/>
              <a:chOff x="10722173" y="4025404"/>
              <a:chExt cx="734904" cy="755852"/>
            </a:xfrm>
          </p:grpSpPr>
          <p:grpSp>
            <p:nvGrpSpPr>
              <p:cNvPr id="73" name="Группа 72">
                <a:extLst>
                  <a:ext uri="{FF2B5EF4-FFF2-40B4-BE49-F238E27FC236}">
                    <a16:creationId xmlns="" xmlns:a16="http://schemas.microsoft.com/office/drawing/2014/main" id="{0855EB61-06FE-79FB-CF65-1E23A4E4E267}"/>
                  </a:ext>
                </a:extLst>
              </p:cNvPr>
              <p:cNvGrpSpPr/>
              <p:nvPr/>
            </p:nvGrpSpPr>
            <p:grpSpPr>
              <a:xfrm>
                <a:off x="10835924" y="4179431"/>
                <a:ext cx="621153" cy="601825"/>
                <a:chOff x="10835924" y="4179431"/>
                <a:chExt cx="621153" cy="601825"/>
              </a:xfrm>
            </p:grpSpPr>
            <p:sp>
              <p:nvSpPr>
                <p:cNvPr id="76" name="Овал 75">
                  <a:extLst>
                    <a:ext uri="{FF2B5EF4-FFF2-40B4-BE49-F238E27FC236}">
                      <a16:creationId xmlns="" xmlns:a16="http://schemas.microsoft.com/office/drawing/2014/main" id="{29CBAF6B-DB0C-2D4B-8259-FCFF46A41CF3}"/>
                    </a:ext>
                  </a:extLst>
                </p:cNvPr>
                <p:cNvSpPr/>
                <p:nvPr/>
              </p:nvSpPr>
              <p:spPr>
                <a:xfrm>
                  <a:off x="10920363" y="4179431"/>
                  <a:ext cx="342415" cy="348343"/>
                </a:xfrm>
                <a:prstGeom prst="ellipse">
                  <a:avLst/>
                </a:prstGeom>
                <a:solidFill>
                  <a:srgbClr val="28C48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27"/>
                </a:p>
              </p:txBody>
            </p:sp>
            <p:grpSp>
              <p:nvGrpSpPr>
                <p:cNvPr id="77" name="Группа 76">
                  <a:extLst>
                    <a:ext uri="{FF2B5EF4-FFF2-40B4-BE49-F238E27FC236}">
                      <a16:creationId xmlns="" xmlns:a16="http://schemas.microsoft.com/office/drawing/2014/main" id="{AB85248E-B73D-8802-8A39-FDF1AC8DFBED}"/>
                    </a:ext>
                  </a:extLst>
                </p:cNvPr>
                <p:cNvGrpSpPr/>
                <p:nvPr/>
              </p:nvGrpSpPr>
              <p:grpSpPr>
                <a:xfrm>
                  <a:off x="10835924" y="4502595"/>
                  <a:ext cx="621153" cy="278661"/>
                  <a:chOff x="405034" y="7033905"/>
                  <a:chExt cx="732906" cy="278661"/>
                </a:xfrm>
              </p:grpSpPr>
              <p:sp>
                <p:nvSpPr>
                  <p:cNvPr id="78" name="Скругленный прямоугольник 171">
                    <a:extLst>
                      <a:ext uri="{FF2B5EF4-FFF2-40B4-BE49-F238E27FC236}">
                        <a16:creationId xmlns="" xmlns:a16="http://schemas.microsoft.com/office/drawing/2014/main" id="{92887A11-4F46-CC87-1D9C-7690BA9ED02F}"/>
                      </a:ext>
                    </a:extLst>
                  </p:cNvPr>
                  <p:cNvSpPr/>
                  <p:nvPr/>
                </p:nvSpPr>
                <p:spPr>
                  <a:xfrm>
                    <a:off x="484161" y="7033905"/>
                    <a:ext cx="427873" cy="250843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rgbClr val="1EC18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227"/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="" xmlns:a16="http://schemas.microsoft.com/office/drawing/2014/main" id="{620BF5F3-0CDF-BEA7-9BF4-19309E759F53}"/>
                      </a:ext>
                    </a:extLst>
                  </p:cNvPr>
                  <p:cNvSpPr txBox="1"/>
                  <p:nvPr/>
                </p:nvSpPr>
                <p:spPr>
                  <a:xfrm>
                    <a:off x="405034" y="7038526"/>
                    <a:ext cx="732906" cy="27404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ru-RU" sz="614" b="1" dirty="0"/>
                      <a:t>9</a:t>
                    </a:r>
                    <a:r>
                      <a:rPr lang="en-US" sz="614" b="1" dirty="0"/>
                      <a:t>9,9</a:t>
                    </a:r>
                    <a:r>
                      <a:rPr lang="ru-RU" sz="614" b="1" dirty="0"/>
                      <a:t>9</a:t>
                    </a:r>
                    <a:r>
                      <a:rPr lang="en-US" sz="614" b="1" dirty="0"/>
                      <a:t>%</a:t>
                    </a:r>
                  </a:p>
                </p:txBody>
              </p:sp>
            </p:grpSp>
          </p:grpSp>
          <p:graphicFrame>
            <p:nvGraphicFramePr>
              <p:cNvPr id="74" name="Диаграмма 73">
                <a:extLst>
                  <a:ext uri="{FF2B5EF4-FFF2-40B4-BE49-F238E27FC236}">
                    <a16:creationId xmlns="" xmlns:a16="http://schemas.microsoft.com/office/drawing/2014/main" id="{A6EA9BAE-22AB-D1A0-FBDC-9CFB770D6C41}"/>
                  </a:ext>
                </a:extLst>
              </p:cNvPr>
              <p:cNvGraphicFramePr/>
              <p:nvPr/>
            </p:nvGraphicFramePr>
            <p:xfrm>
              <a:off x="10722173" y="4025404"/>
              <a:ext cx="732051" cy="66128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1"/>
              </a:graphicData>
            </a:graphic>
          </p:graphicFrame>
        </p:grpSp>
        <p:pic>
          <p:nvPicPr>
            <p:cNvPr id="129" name="Рисунок 128">
              <a:extLst>
                <a:ext uri="{FF2B5EF4-FFF2-40B4-BE49-F238E27FC236}">
                  <a16:creationId xmlns="" xmlns:a16="http://schemas.microsoft.com/office/drawing/2014/main" id="{469713F7-F1FE-0815-433F-7019AC9E7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0" b="98990" l="0" r="100000">
                          <a14:foregroundMark x1="39583" y1="25253" x2="39583" y2="25253"/>
                          <a14:foregroundMark x1="39583" y1="19192" x2="39583" y2="19192"/>
                          <a14:foregroundMark x1="45000" y1="24242" x2="45000" y2="24242"/>
                          <a14:foregroundMark x1="52917" y1="27273" x2="52917" y2="27273"/>
                          <a14:foregroundMark x1="57500" y1="28283" x2="57500" y2="28283"/>
                          <a14:foregroundMark x1="65417" y1="23232" x2="65417" y2="23232"/>
                          <a14:foregroundMark x1="69583" y1="24242" x2="69583" y2="24242"/>
                          <a14:foregroundMark x1="78333" y1="26263" x2="78333" y2="26263"/>
                          <a14:foregroundMark x1="84167" y1="27273" x2="84167" y2="27273"/>
                          <a14:foregroundMark x1="90000" y1="24242" x2="90000" y2="24242"/>
                          <a14:foregroundMark x1="95833" y1="25253" x2="95833" y2="25253"/>
                          <a14:foregroundMark x1="44583" y1="46465" x2="44583" y2="46465"/>
                          <a14:foregroundMark x1="53750" y1="45455" x2="53750" y2="45455"/>
                          <a14:foregroundMark x1="57917" y1="47475" x2="57917" y2="47475"/>
                          <a14:foregroundMark x1="61667" y1="47475" x2="61667" y2="47475"/>
                          <a14:foregroundMark x1="67083" y1="48485" x2="67083" y2="48485"/>
                          <a14:foregroundMark x1="71250" y1="46465" x2="71250" y2="46465"/>
                          <a14:foregroundMark x1="76250" y1="46465" x2="76250" y2="46465"/>
                          <a14:foregroundMark x1="44583" y1="69697" x2="44583" y2="69697"/>
                          <a14:foregroundMark x1="40000" y1="62626" x2="40000" y2="62626"/>
                          <a14:foregroundMark x1="55417" y1="72727" x2="55417" y2="72727"/>
                          <a14:foregroundMark x1="58333" y1="72727" x2="58333" y2="72727"/>
                          <a14:foregroundMark x1="62917" y1="69697" x2="62917" y2="69697"/>
                          <a14:foregroundMark x1="67500" y1="69697" x2="67500" y2="69697"/>
                          <a14:foregroundMark x1="72083" y1="71717" x2="72083" y2="71717"/>
                          <a14:foregroundMark x1="77083" y1="71717" x2="77083" y2="71717"/>
                          <a14:foregroundMark x1="80000" y1="70707" x2="80000" y2="70707"/>
                          <a14:foregroundMark x1="89167" y1="69697" x2="89167" y2="69697"/>
                          <a14:foregroundMark x1="96667" y1="70707" x2="96667" y2="70707"/>
                          <a14:foregroundMark x1="96250" y1="79798" x2="96250" y2="79798"/>
                          <a14:backgroundMark x1="51667" y1="69697" x2="51667" y2="69697"/>
                          <a14:backgroundMark x1="82917" y1="70707" x2="82917" y2="70707"/>
                          <a14:backgroundMark x1="71250" y1="31313" x2="71250" y2="31313"/>
                          <a14:backgroundMark x1="71250" y1="23232" x2="71250" y2="23232"/>
                          <a14:backgroundMark x1="64583" y1="26263" x2="64583" y2="26263"/>
                          <a14:backgroundMark x1="58750" y1="23232" x2="58750" y2="23232"/>
                          <a14:backgroundMark x1="38750" y1="21212" x2="38750" y2="21212"/>
                          <a14:backgroundMark x1="77083" y1="26263" x2="77083" y2="26263"/>
                          <a14:backgroundMark x1="89167" y1="26263" x2="89167" y2="26263"/>
                          <a14:backgroundMark x1="51667" y1="26263" x2="51667" y2="26263"/>
                          <a14:backgroundMark x1="97500" y1="68687" x2="97500" y2="6868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618769" y="5326258"/>
              <a:ext cx="1270153" cy="523938"/>
            </a:xfrm>
            <a:prstGeom prst="rect">
              <a:avLst/>
            </a:prstGeom>
          </p:spPr>
        </p:pic>
      </p:grpSp>
      <p:sp>
        <p:nvSpPr>
          <p:cNvPr id="130" name="Прямоугольник 129">
            <a:extLst>
              <a:ext uri="{FF2B5EF4-FFF2-40B4-BE49-F238E27FC236}">
                <a16:creationId xmlns="" xmlns:a16="http://schemas.microsoft.com/office/drawing/2014/main" id="{56D27178-4311-A058-459F-30CC1C27DF2F}"/>
              </a:ext>
            </a:extLst>
          </p:cNvPr>
          <p:cNvSpPr/>
          <p:nvPr/>
        </p:nvSpPr>
        <p:spPr>
          <a:xfrm>
            <a:off x="796637" y="1710171"/>
            <a:ext cx="2567787" cy="1527330"/>
          </a:xfrm>
          <a:custGeom>
            <a:avLst/>
            <a:gdLst>
              <a:gd name="connsiteX0" fmla="*/ 0 w 3766088"/>
              <a:gd name="connsiteY0" fmla="*/ 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0 h 1983189"/>
              <a:gd name="connsiteX0" fmla="*/ 0 w 3766088"/>
              <a:gd name="connsiteY0" fmla="*/ 71120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711200 h 1983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6088" h="1983189">
                <a:moveTo>
                  <a:pt x="0" y="711200"/>
                </a:moveTo>
                <a:lnTo>
                  <a:pt x="3766088" y="0"/>
                </a:lnTo>
                <a:lnTo>
                  <a:pt x="3766088" y="1983189"/>
                </a:lnTo>
                <a:lnTo>
                  <a:pt x="0" y="1983189"/>
                </a:lnTo>
                <a:lnTo>
                  <a:pt x="0" y="711200"/>
                </a:lnTo>
                <a:close/>
              </a:path>
            </a:pathLst>
          </a:custGeom>
          <a:blipFill dpi="0" rotWithShape="1">
            <a:blip r:embed="rId14"/>
            <a:srcRect/>
            <a:stretch>
              <a:fillRect l="-1000" t="-12000" b="-24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131" name="Прямоугольник 129">
            <a:extLst>
              <a:ext uri="{FF2B5EF4-FFF2-40B4-BE49-F238E27FC236}">
                <a16:creationId xmlns="" xmlns:a16="http://schemas.microsoft.com/office/drawing/2014/main" id="{F2EFC93A-4EEC-BD80-7584-EF7F7F6A31F6}"/>
              </a:ext>
            </a:extLst>
          </p:cNvPr>
          <p:cNvSpPr/>
          <p:nvPr/>
        </p:nvSpPr>
        <p:spPr>
          <a:xfrm>
            <a:off x="3359703" y="1885129"/>
            <a:ext cx="2616003" cy="1352371"/>
          </a:xfrm>
          <a:custGeom>
            <a:avLst/>
            <a:gdLst>
              <a:gd name="connsiteX0" fmla="*/ 0 w 3766088"/>
              <a:gd name="connsiteY0" fmla="*/ 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0 h 1983189"/>
              <a:gd name="connsiteX0" fmla="*/ 0 w 3766088"/>
              <a:gd name="connsiteY0" fmla="*/ 71120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711200 h 1983189"/>
              <a:gd name="connsiteX0" fmla="*/ 0 w 3766088"/>
              <a:gd name="connsiteY0" fmla="*/ 1270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12700 h 1983189"/>
              <a:gd name="connsiteX0" fmla="*/ 0 w 3778788"/>
              <a:gd name="connsiteY0" fmla="*/ 0 h 1970489"/>
              <a:gd name="connsiteX1" fmla="*/ 3778788 w 3778788"/>
              <a:gd name="connsiteY1" fmla="*/ 762000 h 1970489"/>
              <a:gd name="connsiteX2" fmla="*/ 3766088 w 3778788"/>
              <a:gd name="connsiteY2" fmla="*/ 1970489 h 1970489"/>
              <a:gd name="connsiteX3" fmla="*/ 0 w 3778788"/>
              <a:gd name="connsiteY3" fmla="*/ 1970489 h 1970489"/>
              <a:gd name="connsiteX4" fmla="*/ 0 w 3778788"/>
              <a:gd name="connsiteY4" fmla="*/ 0 h 1970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78788" h="1970489">
                <a:moveTo>
                  <a:pt x="0" y="0"/>
                </a:moveTo>
                <a:lnTo>
                  <a:pt x="3778788" y="762000"/>
                </a:lnTo>
                <a:lnTo>
                  <a:pt x="3766088" y="1970489"/>
                </a:lnTo>
                <a:lnTo>
                  <a:pt x="0" y="1970489"/>
                </a:lnTo>
                <a:lnTo>
                  <a:pt x="0" y="0"/>
                </a:lnTo>
                <a:close/>
              </a:path>
            </a:pathLst>
          </a:custGeom>
          <a:blipFill>
            <a:blip r:embed="rId1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/>
          </a:p>
        </p:txBody>
      </p:sp>
      <p:sp>
        <p:nvSpPr>
          <p:cNvPr id="132" name="Прямоугольник 129">
            <a:extLst>
              <a:ext uri="{FF2B5EF4-FFF2-40B4-BE49-F238E27FC236}">
                <a16:creationId xmlns="" xmlns:a16="http://schemas.microsoft.com/office/drawing/2014/main" id="{B08FA930-C40E-6451-7C43-36DEAB25CB82}"/>
              </a:ext>
            </a:extLst>
          </p:cNvPr>
          <p:cNvSpPr/>
          <p:nvPr/>
        </p:nvSpPr>
        <p:spPr>
          <a:xfrm>
            <a:off x="5967317" y="1875555"/>
            <a:ext cx="2690364" cy="1352174"/>
          </a:xfrm>
          <a:custGeom>
            <a:avLst/>
            <a:gdLst>
              <a:gd name="connsiteX0" fmla="*/ 0 w 3766088"/>
              <a:gd name="connsiteY0" fmla="*/ 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0 h 1983189"/>
              <a:gd name="connsiteX0" fmla="*/ 0 w 3766088"/>
              <a:gd name="connsiteY0" fmla="*/ 71120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711200 h 1983189"/>
              <a:gd name="connsiteX0" fmla="*/ 0 w 3766088"/>
              <a:gd name="connsiteY0" fmla="*/ 78509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785090 h 1983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6088" h="1983189">
                <a:moveTo>
                  <a:pt x="0" y="785090"/>
                </a:moveTo>
                <a:lnTo>
                  <a:pt x="3766088" y="0"/>
                </a:lnTo>
                <a:lnTo>
                  <a:pt x="3766088" y="1983189"/>
                </a:lnTo>
                <a:lnTo>
                  <a:pt x="0" y="1983189"/>
                </a:lnTo>
                <a:lnTo>
                  <a:pt x="0" y="785090"/>
                </a:lnTo>
                <a:close/>
              </a:path>
            </a:pathLst>
          </a:custGeom>
          <a:blipFill dpi="0" rotWithShape="1">
            <a:blip r:embed="rId16"/>
            <a:srcRect/>
            <a:stretch>
              <a:fillRect l="-1000" t="-12000" b="-24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133" name="Прямоугольник 129">
            <a:extLst>
              <a:ext uri="{FF2B5EF4-FFF2-40B4-BE49-F238E27FC236}">
                <a16:creationId xmlns="" xmlns:a16="http://schemas.microsoft.com/office/drawing/2014/main" id="{D0320229-58C6-6216-6CCA-857044D640E4}"/>
              </a:ext>
            </a:extLst>
          </p:cNvPr>
          <p:cNvSpPr/>
          <p:nvPr/>
        </p:nvSpPr>
        <p:spPr>
          <a:xfrm>
            <a:off x="8657682" y="1735914"/>
            <a:ext cx="2440490" cy="1491815"/>
          </a:xfrm>
          <a:custGeom>
            <a:avLst/>
            <a:gdLst>
              <a:gd name="connsiteX0" fmla="*/ 0 w 3766088"/>
              <a:gd name="connsiteY0" fmla="*/ 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0 h 1983189"/>
              <a:gd name="connsiteX0" fmla="*/ 0 w 3766088"/>
              <a:gd name="connsiteY0" fmla="*/ 71120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711200 h 1983189"/>
              <a:gd name="connsiteX0" fmla="*/ 0 w 3766088"/>
              <a:gd name="connsiteY0" fmla="*/ 12700 h 1983189"/>
              <a:gd name="connsiteX1" fmla="*/ 3766088 w 3766088"/>
              <a:gd name="connsiteY1" fmla="*/ 0 h 1983189"/>
              <a:gd name="connsiteX2" fmla="*/ 3766088 w 3766088"/>
              <a:gd name="connsiteY2" fmla="*/ 1983189 h 1983189"/>
              <a:gd name="connsiteX3" fmla="*/ 0 w 3766088"/>
              <a:gd name="connsiteY3" fmla="*/ 1983189 h 1983189"/>
              <a:gd name="connsiteX4" fmla="*/ 0 w 3766088"/>
              <a:gd name="connsiteY4" fmla="*/ 12700 h 1983189"/>
              <a:gd name="connsiteX0" fmla="*/ 0 w 3778788"/>
              <a:gd name="connsiteY0" fmla="*/ 0 h 1970489"/>
              <a:gd name="connsiteX1" fmla="*/ 3778788 w 3778788"/>
              <a:gd name="connsiteY1" fmla="*/ 762000 h 1970489"/>
              <a:gd name="connsiteX2" fmla="*/ 3766088 w 3778788"/>
              <a:gd name="connsiteY2" fmla="*/ 1970489 h 1970489"/>
              <a:gd name="connsiteX3" fmla="*/ 0 w 3778788"/>
              <a:gd name="connsiteY3" fmla="*/ 1970489 h 1970489"/>
              <a:gd name="connsiteX4" fmla="*/ 0 w 3778788"/>
              <a:gd name="connsiteY4" fmla="*/ 0 h 1970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78788" h="1970489">
                <a:moveTo>
                  <a:pt x="0" y="0"/>
                </a:moveTo>
                <a:lnTo>
                  <a:pt x="3778788" y="762000"/>
                </a:lnTo>
                <a:lnTo>
                  <a:pt x="3766088" y="1970489"/>
                </a:lnTo>
                <a:lnTo>
                  <a:pt x="0" y="1970489"/>
                </a:lnTo>
                <a:lnTo>
                  <a:pt x="0" y="0"/>
                </a:lnTo>
                <a:close/>
              </a:path>
            </a:pathLst>
          </a:custGeom>
          <a:blipFill>
            <a:blip r:embed="rId1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/>
          </a:p>
        </p:txBody>
      </p:sp>
      <p:sp>
        <p:nvSpPr>
          <p:cNvPr id="143" name="AutoShape 2">
            <a:extLst>
              <a:ext uri="{FF2B5EF4-FFF2-40B4-BE49-F238E27FC236}">
                <a16:creationId xmlns="" xmlns:a16="http://schemas.microsoft.com/office/drawing/2014/main" id="{EE0A33B1-47A6-909B-6EEF-4A9AA010D90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92091" y="3563216"/>
            <a:ext cx="207818" cy="20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2345" tIns="31173" rIns="62345" bIns="31173" numCol="1" anchor="t" anchorCtr="0" compatLnSpc="1">
            <a:prstTxWarp prst="textNoShape">
              <a:avLst/>
            </a:prstTxWarp>
          </a:bodyPr>
          <a:lstStyle/>
          <a:p>
            <a:endParaRPr lang="ru-KZ" sz="1227"/>
          </a:p>
        </p:txBody>
      </p:sp>
      <p:cxnSp>
        <p:nvCxnSpPr>
          <p:cNvPr id="146" name="Прямая соединительная линия 145">
            <a:extLst>
              <a:ext uri="{FF2B5EF4-FFF2-40B4-BE49-F238E27FC236}">
                <a16:creationId xmlns="" xmlns:a16="http://schemas.microsoft.com/office/drawing/2014/main" id="{0B30B1D4-6366-04BD-8F6C-A70FCE1C9414}"/>
              </a:ext>
            </a:extLst>
          </p:cNvPr>
          <p:cNvCxnSpPr/>
          <p:nvPr/>
        </p:nvCxnSpPr>
        <p:spPr>
          <a:xfrm flipV="1">
            <a:off x="796637" y="1479722"/>
            <a:ext cx="2521728" cy="53033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>
            <a:extLst>
              <a:ext uri="{FF2B5EF4-FFF2-40B4-BE49-F238E27FC236}">
                <a16:creationId xmlns="" xmlns:a16="http://schemas.microsoft.com/office/drawing/2014/main" id="{4454EC67-61B2-50C0-2417-A4DA23CFDE97}"/>
              </a:ext>
            </a:extLst>
          </p:cNvPr>
          <p:cNvCxnSpPr/>
          <p:nvPr/>
        </p:nvCxnSpPr>
        <p:spPr>
          <a:xfrm flipV="1">
            <a:off x="5999916" y="1773247"/>
            <a:ext cx="2521728" cy="53033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единительная линия 147">
            <a:extLst>
              <a:ext uri="{FF2B5EF4-FFF2-40B4-BE49-F238E27FC236}">
                <a16:creationId xmlns="" xmlns:a16="http://schemas.microsoft.com/office/drawing/2014/main" id="{449D6AAB-8793-CD96-576B-DF130A858C25}"/>
              </a:ext>
            </a:extLst>
          </p:cNvPr>
          <p:cNvCxnSpPr>
            <a:cxnSpLocks/>
          </p:cNvCxnSpPr>
          <p:nvPr/>
        </p:nvCxnSpPr>
        <p:spPr>
          <a:xfrm>
            <a:off x="8521997" y="1549669"/>
            <a:ext cx="2584563" cy="6398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151">
            <a:extLst>
              <a:ext uri="{FF2B5EF4-FFF2-40B4-BE49-F238E27FC236}">
                <a16:creationId xmlns="" xmlns:a16="http://schemas.microsoft.com/office/drawing/2014/main" id="{BBF02821-CFAA-AA00-22EC-D5276138BF10}"/>
              </a:ext>
            </a:extLst>
          </p:cNvPr>
          <p:cNvCxnSpPr>
            <a:cxnSpLocks/>
          </p:cNvCxnSpPr>
          <p:nvPr/>
        </p:nvCxnSpPr>
        <p:spPr>
          <a:xfrm>
            <a:off x="3401892" y="1668908"/>
            <a:ext cx="2567787" cy="56513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Прямоугольник 153">
            <a:extLst>
              <a:ext uri="{FF2B5EF4-FFF2-40B4-BE49-F238E27FC236}">
                <a16:creationId xmlns="" xmlns:a16="http://schemas.microsoft.com/office/drawing/2014/main" id="{D9384948-BDBE-D5EF-D217-C5823A873917}"/>
              </a:ext>
            </a:extLst>
          </p:cNvPr>
          <p:cNvSpPr/>
          <p:nvPr/>
        </p:nvSpPr>
        <p:spPr>
          <a:xfrm>
            <a:off x="866265" y="2401418"/>
            <a:ext cx="2452100" cy="798415"/>
          </a:xfrm>
          <a:custGeom>
            <a:avLst/>
            <a:gdLst>
              <a:gd name="connsiteX0" fmla="*/ 0 w 3698535"/>
              <a:gd name="connsiteY0" fmla="*/ 0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0 w 3698535"/>
              <a:gd name="connsiteY4" fmla="*/ 0 h 989076"/>
              <a:gd name="connsiteX0" fmla="*/ 25400 w 3698535"/>
              <a:gd name="connsiteY0" fmla="*/ 317500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25400 w 3698535"/>
              <a:gd name="connsiteY4" fmla="*/ 317500 h 989076"/>
              <a:gd name="connsiteX0" fmla="*/ 25400 w 3698535"/>
              <a:gd name="connsiteY0" fmla="*/ 492669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25400 w 3698535"/>
              <a:gd name="connsiteY4" fmla="*/ 492669 h 989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98535" h="989076">
                <a:moveTo>
                  <a:pt x="25400" y="492669"/>
                </a:moveTo>
                <a:lnTo>
                  <a:pt x="3698535" y="0"/>
                </a:lnTo>
                <a:lnTo>
                  <a:pt x="3698535" y="989076"/>
                </a:lnTo>
                <a:lnTo>
                  <a:pt x="0" y="989076"/>
                </a:lnTo>
                <a:lnTo>
                  <a:pt x="25400" y="492669"/>
                </a:lnTo>
                <a:close/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155" name="Прямоугольник 153">
            <a:extLst>
              <a:ext uri="{FF2B5EF4-FFF2-40B4-BE49-F238E27FC236}">
                <a16:creationId xmlns="" xmlns:a16="http://schemas.microsoft.com/office/drawing/2014/main" id="{67E77F1F-35FD-2798-3553-6AF19A94220A}"/>
              </a:ext>
            </a:extLst>
          </p:cNvPr>
          <p:cNvSpPr/>
          <p:nvPr/>
        </p:nvSpPr>
        <p:spPr>
          <a:xfrm>
            <a:off x="6016177" y="2278568"/>
            <a:ext cx="2567787" cy="902316"/>
          </a:xfrm>
          <a:custGeom>
            <a:avLst/>
            <a:gdLst>
              <a:gd name="connsiteX0" fmla="*/ 0 w 3698535"/>
              <a:gd name="connsiteY0" fmla="*/ 0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0 w 3698535"/>
              <a:gd name="connsiteY4" fmla="*/ 0 h 989076"/>
              <a:gd name="connsiteX0" fmla="*/ 25400 w 3698535"/>
              <a:gd name="connsiteY0" fmla="*/ 317500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25400 w 3698535"/>
              <a:gd name="connsiteY4" fmla="*/ 317500 h 989076"/>
              <a:gd name="connsiteX0" fmla="*/ 25400 w 3698535"/>
              <a:gd name="connsiteY0" fmla="*/ 492669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25400 w 3698535"/>
              <a:gd name="connsiteY4" fmla="*/ 492669 h 989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98535" h="989076">
                <a:moveTo>
                  <a:pt x="25400" y="492669"/>
                </a:moveTo>
                <a:lnTo>
                  <a:pt x="3698535" y="0"/>
                </a:lnTo>
                <a:lnTo>
                  <a:pt x="3698535" y="989076"/>
                </a:lnTo>
                <a:lnTo>
                  <a:pt x="0" y="989076"/>
                </a:lnTo>
                <a:lnTo>
                  <a:pt x="25400" y="492669"/>
                </a:lnTo>
                <a:close/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156" name="Прямоугольник 153">
            <a:extLst>
              <a:ext uri="{FF2B5EF4-FFF2-40B4-BE49-F238E27FC236}">
                <a16:creationId xmlns="" xmlns:a16="http://schemas.microsoft.com/office/drawing/2014/main" id="{F28A6720-69B2-65DA-4560-966E1ACE288D}"/>
              </a:ext>
            </a:extLst>
          </p:cNvPr>
          <p:cNvSpPr/>
          <p:nvPr/>
        </p:nvSpPr>
        <p:spPr>
          <a:xfrm flipH="1">
            <a:off x="8600225" y="2330182"/>
            <a:ext cx="2411063" cy="798415"/>
          </a:xfrm>
          <a:custGeom>
            <a:avLst/>
            <a:gdLst>
              <a:gd name="connsiteX0" fmla="*/ 0 w 3698535"/>
              <a:gd name="connsiteY0" fmla="*/ 0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0 w 3698535"/>
              <a:gd name="connsiteY4" fmla="*/ 0 h 989076"/>
              <a:gd name="connsiteX0" fmla="*/ 25400 w 3698535"/>
              <a:gd name="connsiteY0" fmla="*/ 317500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25400 w 3698535"/>
              <a:gd name="connsiteY4" fmla="*/ 317500 h 989076"/>
              <a:gd name="connsiteX0" fmla="*/ 25400 w 3698535"/>
              <a:gd name="connsiteY0" fmla="*/ 492669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25400 w 3698535"/>
              <a:gd name="connsiteY4" fmla="*/ 492669 h 989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98535" h="989076">
                <a:moveTo>
                  <a:pt x="25400" y="492669"/>
                </a:moveTo>
                <a:lnTo>
                  <a:pt x="3698535" y="0"/>
                </a:lnTo>
                <a:lnTo>
                  <a:pt x="3698535" y="989076"/>
                </a:lnTo>
                <a:lnTo>
                  <a:pt x="0" y="989076"/>
                </a:lnTo>
                <a:lnTo>
                  <a:pt x="25400" y="492669"/>
                </a:lnTo>
                <a:close/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157" name="Прямоугольник 153">
            <a:extLst>
              <a:ext uri="{FF2B5EF4-FFF2-40B4-BE49-F238E27FC236}">
                <a16:creationId xmlns="" xmlns:a16="http://schemas.microsoft.com/office/drawing/2014/main" id="{7C449BCF-CDB5-2B78-D2F0-986E921A790E}"/>
              </a:ext>
            </a:extLst>
          </p:cNvPr>
          <p:cNvSpPr/>
          <p:nvPr/>
        </p:nvSpPr>
        <p:spPr>
          <a:xfrm flipH="1">
            <a:off x="3331445" y="2297548"/>
            <a:ext cx="2516892" cy="798415"/>
          </a:xfrm>
          <a:custGeom>
            <a:avLst/>
            <a:gdLst>
              <a:gd name="connsiteX0" fmla="*/ 0 w 3698535"/>
              <a:gd name="connsiteY0" fmla="*/ 0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0 w 3698535"/>
              <a:gd name="connsiteY4" fmla="*/ 0 h 989076"/>
              <a:gd name="connsiteX0" fmla="*/ 25400 w 3698535"/>
              <a:gd name="connsiteY0" fmla="*/ 317500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25400 w 3698535"/>
              <a:gd name="connsiteY4" fmla="*/ 317500 h 989076"/>
              <a:gd name="connsiteX0" fmla="*/ 25400 w 3698535"/>
              <a:gd name="connsiteY0" fmla="*/ 492669 h 989076"/>
              <a:gd name="connsiteX1" fmla="*/ 3698535 w 3698535"/>
              <a:gd name="connsiteY1" fmla="*/ 0 h 989076"/>
              <a:gd name="connsiteX2" fmla="*/ 3698535 w 3698535"/>
              <a:gd name="connsiteY2" fmla="*/ 989076 h 989076"/>
              <a:gd name="connsiteX3" fmla="*/ 0 w 3698535"/>
              <a:gd name="connsiteY3" fmla="*/ 989076 h 989076"/>
              <a:gd name="connsiteX4" fmla="*/ 25400 w 3698535"/>
              <a:gd name="connsiteY4" fmla="*/ 492669 h 989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98535" h="989076">
                <a:moveTo>
                  <a:pt x="25400" y="492669"/>
                </a:moveTo>
                <a:lnTo>
                  <a:pt x="3698535" y="0"/>
                </a:lnTo>
                <a:lnTo>
                  <a:pt x="3698535" y="989076"/>
                </a:lnTo>
                <a:lnTo>
                  <a:pt x="0" y="989076"/>
                </a:lnTo>
                <a:lnTo>
                  <a:pt x="25400" y="492669"/>
                </a:lnTo>
                <a:close/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sz="1227" dirty="0"/>
          </a:p>
        </p:txBody>
      </p:sp>
      <p:sp>
        <p:nvSpPr>
          <p:cNvPr id="158" name="Объект 2">
            <a:extLst>
              <a:ext uri="{FF2B5EF4-FFF2-40B4-BE49-F238E27FC236}">
                <a16:creationId xmlns="" xmlns:a16="http://schemas.microsoft.com/office/drawing/2014/main" id="{A2ACDFD2-EC77-7FDB-A28B-9306D9CEC54C}"/>
              </a:ext>
            </a:extLst>
          </p:cNvPr>
          <p:cNvSpPr txBox="1">
            <a:spLocks/>
          </p:cNvSpPr>
          <p:nvPr/>
        </p:nvSpPr>
        <p:spPr>
          <a:xfrm>
            <a:off x="841956" y="1034683"/>
            <a:ext cx="10409524" cy="886816"/>
          </a:xfrm>
          <a:prstGeom prst="rect">
            <a:avLst/>
          </a:prstGeom>
        </p:spPr>
        <p:txBody>
          <a:bodyPr rtlCol="0"/>
          <a:lstStyle>
            <a:lvl1pPr marL="179388" indent="-179388" algn="l" defTabSz="9144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9144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8163" indent="-177800" algn="l" defTabSz="9144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7550" indent="-179388" algn="l" defTabSz="9144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914400" rtl="0" eaLnBrk="1" latinLnBrk="0" hangingPunct="1">
              <a:lnSpc>
                <a:spcPts val="12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defRPr sz="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Aft>
                <a:spcPts val="0"/>
              </a:spcAft>
              <a:buClr>
                <a:srgbClr val="72D5E3"/>
              </a:buClr>
              <a:buNone/>
            </a:pPr>
            <a:r>
              <a:rPr lang="en-US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KO </a:t>
            </a:r>
            <a:r>
              <a:rPr lang="ru-RU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меет в своем портфеле 6 организаций, среди которых 3 действующих производства и 2 инфраструктурных проекта.  Проект ТОО «</a:t>
            </a:r>
            <a:r>
              <a:rPr lang="en-US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US</a:t>
            </a:r>
            <a:r>
              <a:rPr lang="ru-RU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» с 2018 года</a:t>
            </a:r>
            <a:r>
              <a:rPr lang="en-US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ходятся в доверительном управлении у ТОО «Самрук-Казына Контракт» соответственно. Проекты ТОО «ХИМ-плюс» и ТОО «Полимер Продакшн» планируются к приватизации в 2025 г.</a:t>
            </a:r>
          </a:p>
        </p:txBody>
      </p:sp>
      <p:sp>
        <p:nvSpPr>
          <p:cNvPr id="159" name="Прямоугольник 158">
            <a:extLst>
              <a:ext uri="{FF2B5EF4-FFF2-40B4-BE49-F238E27FC236}">
                <a16:creationId xmlns="" xmlns:a16="http://schemas.microsoft.com/office/drawing/2014/main" id="{E4DC0BCE-D546-5469-D7CA-8E1E2B1CB966}"/>
              </a:ext>
            </a:extLst>
          </p:cNvPr>
          <p:cNvSpPr/>
          <p:nvPr/>
        </p:nvSpPr>
        <p:spPr>
          <a:xfrm>
            <a:off x="1278108" y="6555487"/>
            <a:ext cx="3311783" cy="1972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82" i="1" dirty="0">
                <a:solidFill>
                  <a:prstClr val="black"/>
                </a:solidFill>
                <a:latin typeface="Arial" panose="020B0604020202020204" pitchFamily="34" charset="0"/>
                <a:ea typeface="Cambria" panose="02040503050406030204" pitchFamily="18" charset="0"/>
              </a:rPr>
              <a:t>* Проекты, переданные в доверительное управление</a:t>
            </a:r>
            <a:endParaRPr lang="en-US" sz="682" dirty="0">
              <a:solidFill>
                <a:prstClr val="black"/>
              </a:solidFill>
              <a:latin typeface="Cambria"/>
            </a:endParaRPr>
          </a:p>
        </p:txBody>
      </p:sp>
      <p:pic>
        <p:nvPicPr>
          <p:cNvPr id="1026" name="Picture 2" descr="project">
            <a:extLst>
              <a:ext uri="{FF2B5EF4-FFF2-40B4-BE49-F238E27FC236}">
                <a16:creationId xmlns="" xmlns:a16="http://schemas.microsoft.com/office/drawing/2014/main" id="{D628C716-9913-B18E-B013-D99D8B78B6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27" r="28727"/>
          <a:stretch/>
        </p:blipFill>
        <p:spPr bwMode="auto">
          <a:xfrm>
            <a:off x="796636" y="4440708"/>
            <a:ext cx="2561132" cy="20267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1">
            <a:extLst>
              <a:ext uri="{FF2B5EF4-FFF2-40B4-BE49-F238E27FC236}">
                <a16:creationId xmlns="" xmlns:a16="http://schemas.microsoft.com/office/drawing/2014/main" id="{A4766E9B-3F97-DAB6-A3A8-96E239E5E3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6" r="42132"/>
          <a:stretch/>
        </p:blipFill>
        <p:spPr bwMode="auto">
          <a:xfrm>
            <a:off x="3379252" y="4410888"/>
            <a:ext cx="2605229" cy="202469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ижний колонтитул 49">
            <a:extLst>
              <a:ext uri="{FF2B5EF4-FFF2-40B4-BE49-F238E27FC236}">
                <a16:creationId xmlns="" xmlns:a16="http://schemas.microsoft.com/office/drawing/2014/main" id="{C6673E3E-1FDD-1239-9F6D-EA6737C27C4B}"/>
              </a:ext>
            </a:extLst>
          </p:cNvPr>
          <p:cNvSpPr txBox="1">
            <a:spLocks/>
          </p:cNvSpPr>
          <p:nvPr/>
        </p:nvSpPr>
        <p:spPr>
          <a:xfrm>
            <a:off x="969615" y="6540169"/>
            <a:ext cx="4866409" cy="301756"/>
          </a:xfrm>
          <a:prstGeom prst="rect">
            <a:avLst/>
          </a:prstGeom>
        </p:spPr>
        <p:txBody>
          <a:bodyPr vert="horz" lIns="62345" tIns="31173" rIns="62345" bIns="31173" rtlCol="0" anchor="ctr"/>
          <a:lstStyle>
            <a:defPPr rtl="0">
              <a:defRPr lang="ru-RU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55" dirty="0">
                <a:latin typeface="Calibri Light" panose="020F0302020204030204" pitchFamily="34" charset="0"/>
                <a:cs typeface="Calibri Light" panose="020F0302020204030204" pitchFamily="34" charset="0"/>
              </a:rPr>
              <a:t>Интегрированный годовой отчет </a:t>
            </a:r>
            <a:r>
              <a:rPr lang="en-US" sz="955" dirty="0">
                <a:latin typeface="Calibri Light" panose="020F0302020204030204" pitchFamily="34" charset="0"/>
                <a:cs typeface="Calibri Light" panose="020F0302020204030204" pitchFamily="34" charset="0"/>
              </a:rPr>
              <a:t>SKO </a:t>
            </a:r>
            <a:r>
              <a:rPr lang="ru-RU" sz="955" dirty="0">
                <a:latin typeface="Calibri Light" panose="020F0302020204030204" pitchFamily="34" charset="0"/>
                <a:cs typeface="Calibri Light" panose="020F0302020204030204" pitchFamily="34" charset="0"/>
              </a:rPr>
              <a:t>2022 г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C534A70C-94B7-780B-3F43-DC24CDAE7176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724"/>
          <a:stretch/>
        </p:blipFill>
        <p:spPr bwMode="auto">
          <a:xfrm>
            <a:off x="5964677" y="4468316"/>
            <a:ext cx="2622241" cy="19567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877D5413-8FC9-0EE6-EB01-BCFD755DA57B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12829" t="21829" r="15706" b="20110"/>
          <a:stretch/>
        </p:blipFill>
        <p:spPr>
          <a:xfrm>
            <a:off x="8689059" y="5378254"/>
            <a:ext cx="2290588" cy="10468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49B0B6E8-A270-59AA-660F-747727164CBC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396371" y="603043"/>
            <a:ext cx="10481426" cy="36743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E89065FA-9B89-EA4F-AB64-6944277A1493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5668" y="186922"/>
            <a:ext cx="974594" cy="783554"/>
          </a:xfrm>
          <a:prstGeom prst="rect">
            <a:avLst/>
          </a:prstGeom>
        </p:spPr>
      </p:pic>
      <p:sp>
        <p:nvSpPr>
          <p:cNvPr id="11" name="SlideTitle">
            <a:extLst>
              <a:ext uri="{FF2B5EF4-FFF2-40B4-BE49-F238E27FC236}">
                <a16:creationId xmlns="" xmlns:a16="http://schemas.microsoft.com/office/drawing/2014/main" id="{E2F33777-42A1-8D78-4A3C-C8517F7F921E}"/>
              </a:ext>
            </a:extLst>
          </p:cNvPr>
          <p:cNvSpPr txBox="1">
            <a:spLocks/>
          </p:cNvSpPr>
          <p:nvPr/>
        </p:nvSpPr>
        <p:spPr>
          <a:xfrm>
            <a:off x="447389" y="206548"/>
            <a:ext cx="9658035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MRUK-KAZYNA ONDEU</a:t>
            </a:r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Структура активов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7BBDA6C1-1309-7B79-5CEB-1CB376D1F018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381323" y="6031548"/>
            <a:ext cx="774615" cy="787027"/>
          </a:xfrm>
          <a:prstGeom prst="rect">
            <a:avLst/>
          </a:prstGeom>
        </p:spPr>
      </p:pic>
      <p:sp>
        <p:nvSpPr>
          <p:cNvPr id="10" name="Номер слайда 3">
            <a:extLst>
              <a:ext uri="{FF2B5EF4-FFF2-40B4-BE49-F238E27FC236}">
                <a16:creationId xmlns="" xmlns:a16="http://schemas.microsoft.com/office/drawing/2014/main" id="{E2AFAE2F-06DC-4481-9592-D41B2D2DC839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4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861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id="{435AFBB2-9B5A-0255-033E-D03CF1DABEB3}"/>
              </a:ext>
            </a:extLst>
          </p:cNvPr>
          <p:cNvGrpSpPr/>
          <p:nvPr/>
        </p:nvGrpSpPr>
        <p:grpSpPr>
          <a:xfrm>
            <a:off x="1469091" y="1898776"/>
            <a:ext cx="2895430" cy="1663787"/>
            <a:chOff x="787881" y="3877196"/>
            <a:chExt cx="4718648" cy="2741957"/>
          </a:xfrm>
        </p:grpSpPr>
        <p:pic>
          <p:nvPicPr>
            <p:cNvPr id="44" name="Рисунок 43">
              <a:extLst>
                <a:ext uri="{FF2B5EF4-FFF2-40B4-BE49-F238E27FC236}">
                  <a16:creationId xmlns="" xmlns:a16="http://schemas.microsoft.com/office/drawing/2014/main" id="{11C6B8EC-C1AA-2FE6-7858-9D2321DB5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7881" y="3877196"/>
              <a:ext cx="4718648" cy="2741957"/>
            </a:xfrm>
            <a:prstGeom prst="rect">
              <a:avLst/>
            </a:prstGeom>
          </p:spPr>
        </p:pic>
        <p:sp>
          <p:nvSpPr>
            <p:cNvPr id="45" name="Овал 44">
              <a:extLst>
                <a:ext uri="{FF2B5EF4-FFF2-40B4-BE49-F238E27FC236}">
                  <a16:creationId xmlns="" xmlns:a16="http://schemas.microsoft.com/office/drawing/2014/main" id="{B5DAF093-6D64-7887-F862-B6A3AA4D8EC4}"/>
                </a:ext>
              </a:extLst>
            </p:cNvPr>
            <p:cNvSpPr/>
            <p:nvPr/>
          </p:nvSpPr>
          <p:spPr>
            <a:xfrm>
              <a:off x="3471732" y="4377341"/>
              <a:ext cx="114300" cy="1143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7"/>
            </a:p>
          </p:txBody>
        </p:sp>
      </p:grpSp>
      <p:sp>
        <p:nvSpPr>
          <p:cNvPr id="14" name="Заголовок 10">
            <a:extLst>
              <a:ext uri="{FF2B5EF4-FFF2-40B4-BE49-F238E27FC236}">
                <a16:creationId xmlns="" xmlns:a16="http://schemas.microsoft.com/office/drawing/2014/main" id="{3E353AB3-B69A-8B95-8932-D775CEB60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660" y="7870"/>
            <a:ext cx="10678784" cy="744960"/>
          </a:xfrm>
        </p:spPr>
        <p:txBody>
          <a:bodyPr>
            <a:normAutofit/>
          </a:bodyPr>
          <a:lstStyle/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«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SAP</a:t>
            </a:r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».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еконструкция сернокислотного завода в Акмолинской области </a:t>
            </a:r>
            <a:endParaRPr lang="en-US" sz="2000" dirty="0">
              <a:solidFill>
                <a:prstClr val="black">
                  <a:lumMod val="65000"/>
                  <a:lumOff val="35000"/>
                </a:prst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75C418A7-8F1E-36FD-6C85-0B544B6ED0FD}"/>
              </a:ext>
            </a:extLst>
          </p:cNvPr>
          <p:cNvSpPr/>
          <p:nvPr/>
        </p:nvSpPr>
        <p:spPr>
          <a:xfrm>
            <a:off x="673668" y="1166422"/>
            <a:ext cx="4734171" cy="45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Цель проекта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- развитие химической промышленности Республики Казахстан путем переработки серы и применения современных технологий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E3393145-81B1-1E95-16E5-88E66B673053}"/>
              </a:ext>
            </a:extLst>
          </p:cNvPr>
          <p:cNvSpPr txBox="1"/>
          <p:nvPr/>
        </p:nvSpPr>
        <p:spPr>
          <a:xfrm>
            <a:off x="673667" y="1693328"/>
            <a:ext cx="4667000" cy="4280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Местонахождение: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Акмолинская область, г. Степногорск, промышленная зона </a:t>
            </a:r>
            <a:endParaRPr lang="en-US" sz="109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0989D2D8-40F9-2A50-759C-9BCFC7C94A4B}"/>
              </a:ext>
            </a:extLst>
          </p:cNvPr>
          <p:cNvSpPr/>
          <p:nvPr/>
        </p:nvSpPr>
        <p:spPr>
          <a:xfrm>
            <a:off x="673667" y="3533361"/>
            <a:ext cx="3217260" cy="26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Участники: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98FC2310-ECDF-4C67-FD5F-4DE57C376E9A}"/>
              </a:ext>
            </a:extLst>
          </p:cNvPr>
          <p:cNvGrpSpPr/>
          <p:nvPr/>
        </p:nvGrpSpPr>
        <p:grpSpPr>
          <a:xfrm>
            <a:off x="1161698" y="3679018"/>
            <a:ext cx="3690937" cy="1547258"/>
            <a:chOff x="100960" y="7150912"/>
            <a:chExt cx="5413374" cy="2269312"/>
          </a:xfrm>
        </p:grpSpPr>
        <p:graphicFrame>
          <p:nvGraphicFramePr>
            <p:cNvPr id="34" name="Диаграмма 33">
              <a:extLst>
                <a:ext uri="{FF2B5EF4-FFF2-40B4-BE49-F238E27FC236}">
                  <a16:creationId xmlns="" xmlns:a16="http://schemas.microsoft.com/office/drawing/2014/main" id="{A8161836-7C4B-EE1A-A116-85D61C88045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30800448"/>
                </p:ext>
              </p:extLst>
            </p:nvPr>
          </p:nvGraphicFramePr>
          <p:xfrm>
            <a:off x="100960" y="7150912"/>
            <a:ext cx="5413374" cy="22693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7" name="Овал 36">
              <a:extLst>
                <a:ext uri="{FF2B5EF4-FFF2-40B4-BE49-F238E27FC236}">
                  <a16:creationId xmlns="" xmlns:a16="http://schemas.microsoft.com/office/drawing/2014/main" id="{2E471E8A-4B2B-C384-F94D-36FE7B69253B}"/>
                </a:ext>
              </a:extLst>
            </p:cNvPr>
            <p:cNvSpPr/>
            <p:nvPr/>
          </p:nvSpPr>
          <p:spPr>
            <a:xfrm>
              <a:off x="1054645" y="7505312"/>
              <a:ext cx="1375955" cy="14020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91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90,11%</a:t>
              </a:r>
            </a:p>
            <a:p>
              <a:pPr algn="ctr"/>
              <a:r>
                <a:rPr lang="ru-RU" sz="1091" b="1" dirty="0">
                  <a:solidFill>
                    <a:srgbClr val="47CC9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9,89%</a:t>
              </a:r>
              <a:endParaRPr lang="ru-KZ" sz="1091" b="1" dirty="0">
                <a:solidFill>
                  <a:srgbClr val="47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76D04380-DFF9-E184-E22E-F7C5EB7F5662}"/>
              </a:ext>
            </a:extLst>
          </p:cNvPr>
          <p:cNvSpPr/>
          <p:nvPr/>
        </p:nvSpPr>
        <p:spPr>
          <a:xfrm>
            <a:off x="5867993" y="1078287"/>
            <a:ext cx="5325488" cy="1891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Производственная мощность: </a:t>
            </a:r>
          </a:p>
          <a:p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100% Серная кислота – 180 000 тонн в год</a:t>
            </a:r>
          </a:p>
          <a:p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93% Товарная серная кислота – 193 940 тонн в год</a:t>
            </a:r>
          </a:p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Деятельность: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производство серной кислоты путем переработки серы полученной при переработке нефти</a:t>
            </a:r>
            <a:endParaRPr lang="en-US" sz="109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  <a:p>
            <a:pPr algn="just">
              <a:lnSpc>
                <a:spcPct val="12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Ввод в эксплуатацию: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октябрь 2015 г.</a:t>
            </a:r>
          </a:p>
          <a:p>
            <a:pPr algn="just">
              <a:lnSpc>
                <a:spcPct val="12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Численность сотрудников:</a:t>
            </a:r>
            <a:r>
              <a:rPr lang="ru-RU" sz="1091" b="1" dirty="0">
                <a:solidFill>
                  <a:srgbClr val="FF0000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231 человек, из которых 203</a:t>
            </a:r>
            <a:r>
              <a:rPr lang="ru-RU" sz="1091" dirty="0">
                <a:solidFill>
                  <a:srgbClr val="FF0000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ru-RU" sz="109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– производственный персонал, 28 – АУП.</a:t>
            </a:r>
            <a:endParaRPr lang="en-US" sz="109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  <a:p>
            <a:endParaRPr lang="ru-RU" sz="1091" b="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1464118B-AE21-E174-A2B6-375C6CD5FB3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-17140" y="513254"/>
            <a:ext cx="11011272" cy="46747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7000E223-D332-CEF7-9BC9-343B391523E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6102" y="44625"/>
            <a:ext cx="1074309" cy="863723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45FA7FC4-F711-C344-1A33-84837F240E4E}"/>
              </a:ext>
            </a:extLst>
          </p:cNvPr>
          <p:cNvSpPr/>
          <p:nvPr/>
        </p:nvSpPr>
        <p:spPr>
          <a:xfrm>
            <a:off x="677081" y="5022366"/>
            <a:ext cx="3217260" cy="26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Задачи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BB6611B-D56C-9A41-04DF-613F44D404D0}"/>
              </a:ext>
            </a:extLst>
          </p:cNvPr>
          <p:cNvSpPr txBox="1"/>
          <p:nvPr/>
        </p:nvSpPr>
        <p:spPr>
          <a:xfrm>
            <a:off x="673667" y="5270771"/>
            <a:ext cx="500598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11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ПЕРЕРАБОТКА СЕРЫ - </a:t>
            </a:r>
            <a:r>
              <a:rPr lang="ru-RU" altLang="ko-KR" sz="1100" dirty="0">
                <a:latin typeface="+mj-lt"/>
                <a:cs typeface="Calibri" panose="020F0502020204030204" pitchFamily="34" charset="0"/>
              </a:rPr>
              <a:t>решение проблем переработки серы, оказывающей негативное воздействие на экологическую ситуацию в Каспийском регионе</a:t>
            </a:r>
          </a:p>
          <a:p>
            <a:r>
              <a:rPr lang="ru-RU" altLang="ko-KR" sz="11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СОЦИАЛЬНАЯ </a:t>
            </a:r>
            <a:r>
              <a:rPr lang="ru-RU" altLang="ko-KR" sz="11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ПОДДЕРЖКА </a:t>
            </a:r>
            <a:r>
              <a:rPr lang="ru-RU" altLang="ko-KR" sz="1100" dirty="0">
                <a:latin typeface="+mj-lt"/>
                <a:cs typeface="Arial" pitchFamily="34" charset="0"/>
              </a:rPr>
              <a:t>для региона путем обеспечения дополнительными рабочими местами</a:t>
            </a:r>
          </a:p>
          <a:p>
            <a:r>
              <a:rPr lang="ru-RU" altLang="ko-KR" sz="11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ОБЕСПЕЧЕНИЕ с</a:t>
            </a:r>
            <a:r>
              <a:rPr lang="ru-RU" altLang="ko-KR" sz="1100" dirty="0">
                <a:latin typeface="+mj-lt"/>
                <a:cs typeface="Calibri" panose="020F0502020204030204" pitchFamily="34" charset="0"/>
              </a:rPr>
              <a:t>ерной кислотой уранодобывающих предприятий АО НАК «Казатомпром», энергетических компаний Казахстана, аккумуляторных заводов </a:t>
            </a:r>
          </a:p>
          <a:p>
            <a:r>
              <a:rPr lang="ru-RU" altLang="ko-KR" sz="11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РАЗВИТИЕ ПРОМЫШЛЕННОСТИ </a:t>
            </a:r>
            <a:r>
              <a:rPr lang="ru-RU" altLang="ko-KR" sz="1100" dirty="0">
                <a:latin typeface="+mj-lt"/>
                <a:cs typeface="Calibri" panose="020F0502020204030204" pitchFamily="34" charset="0"/>
              </a:rPr>
              <a:t>в северных регионах Республики Казахстан путем переработки серы с применением современных технологий</a:t>
            </a:r>
            <a:endParaRPr lang="en-US" altLang="ko-KR" sz="1100" dirty="0"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AB41B3EF-B305-DEF9-352B-BB8AA1922B2D}"/>
              </a:ext>
            </a:extLst>
          </p:cNvPr>
          <p:cNvGrpSpPr/>
          <p:nvPr/>
        </p:nvGrpSpPr>
        <p:grpSpPr>
          <a:xfrm>
            <a:off x="5965954" y="2906800"/>
            <a:ext cx="5525476" cy="60887"/>
            <a:chOff x="7437990" y="5670958"/>
            <a:chExt cx="8104032" cy="385899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="" xmlns:a16="http://schemas.microsoft.com/office/drawing/2014/main" id="{ECD2C001-2B7F-3243-B5C1-0F91B758CB2D}"/>
                </a:ext>
              </a:extLst>
            </p:cNvPr>
            <p:cNvSpPr/>
            <p:nvPr/>
          </p:nvSpPr>
          <p:spPr>
            <a:xfrm flipV="1">
              <a:off x="7437990" y="5670958"/>
              <a:ext cx="8104032" cy="369331"/>
            </a:xfrm>
            <a:prstGeom prst="rect">
              <a:avLst/>
            </a:prstGeom>
            <a:gradFill flip="none" rotWithShape="1">
              <a:gsLst>
                <a:gs pos="3000">
                  <a:srgbClr val="17335D"/>
                </a:gs>
                <a:gs pos="100000">
                  <a:srgbClr val="2DC68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227"/>
            </a:p>
          </p:txBody>
        </p:sp>
        <p:sp>
          <p:nvSpPr>
            <p:cNvPr id="12" name="Текст 9">
              <a:extLst>
                <a:ext uri="{FF2B5EF4-FFF2-40B4-BE49-F238E27FC236}">
                  <a16:creationId xmlns="" xmlns:a16="http://schemas.microsoft.com/office/drawing/2014/main" id="{322CA8AE-E033-B641-8388-2FE5EE8B5945}"/>
                </a:ext>
              </a:extLst>
            </p:cNvPr>
            <p:cNvSpPr txBox="1">
              <a:spLocks/>
            </p:cNvSpPr>
            <p:nvPr/>
          </p:nvSpPr>
          <p:spPr>
            <a:xfrm>
              <a:off x="10281408" y="5687525"/>
              <a:ext cx="3297834" cy="369332"/>
            </a:xfrm>
            <a:prstGeom prst="rect">
              <a:avLst/>
            </a:prstGeom>
          </p:spPr>
          <p:txBody>
            <a:bodyPr vert="horz" lIns="62345" tIns="31173" rIns="62345" bIns="31173" rtlCol="0" anchor="ctr">
              <a:noAutofit/>
            </a:bodyPr>
            <a:lstStyle>
              <a:lvl1pPr marL="0" indent="0" algn="l" defTabSz="1341150" rtl="0" eaLnBrk="1" latinLnBrk="0" hangingPunct="1">
                <a:lnSpc>
                  <a:spcPct val="90000"/>
                </a:lnSpc>
                <a:spcBef>
                  <a:spcPts val="1467"/>
                </a:spcBef>
                <a:buFontTx/>
                <a:buNone/>
                <a:defRPr sz="1600" b="1" u="none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67057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352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341150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933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201172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682301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68816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58739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02931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699890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KZ" sz="109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22F54509-BD8B-8E2D-9E20-0497A9EC204C}"/>
              </a:ext>
            </a:extLst>
          </p:cNvPr>
          <p:cNvSpPr txBox="1"/>
          <p:nvPr/>
        </p:nvSpPr>
        <p:spPr>
          <a:xfrm>
            <a:off x="7119626" y="4594096"/>
            <a:ext cx="20393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86"/>
            <a:r>
              <a:rPr lang="en-US" altLang="ko-KR" sz="1050" dirty="0">
                <a:solidFill>
                  <a:prstClr val="white"/>
                </a:solidFill>
                <a:latin typeface="Arial"/>
                <a:ea typeface="Arial Unicode MS"/>
              </a:rPr>
              <a:t>Add Skills – 80%</a:t>
            </a:r>
          </a:p>
        </p:txBody>
      </p:sp>
      <p:sp>
        <p:nvSpPr>
          <p:cNvPr id="15" name="Rectangle 38">
            <a:extLst>
              <a:ext uri="{FF2B5EF4-FFF2-40B4-BE49-F238E27FC236}">
                <a16:creationId xmlns="" xmlns:a16="http://schemas.microsoft.com/office/drawing/2014/main" id="{E43FCD84-1278-839E-7C3D-386A9F46EF68}"/>
              </a:ext>
            </a:extLst>
          </p:cNvPr>
          <p:cNvSpPr/>
          <p:nvPr/>
        </p:nvSpPr>
        <p:spPr>
          <a:xfrm>
            <a:off x="5679652" y="4549261"/>
            <a:ext cx="32004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86"/>
            <a:r>
              <a:rPr lang="en-US" altLang="ko-KR" sz="1600" b="1" dirty="0">
                <a:solidFill>
                  <a:prstClr val="white"/>
                </a:solidFill>
                <a:latin typeface="Arial"/>
                <a:ea typeface="Arial Unicode MS"/>
              </a:rPr>
              <a:t>Name He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519AF06-7C83-9F8B-3D0A-8D2049F21B28}"/>
              </a:ext>
            </a:extLst>
          </p:cNvPr>
          <p:cNvSpPr txBox="1"/>
          <p:nvPr/>
        </p:nvSpPr>
        <p:spPr>
          <a:xfrm>
            <a:off x="5911978" y="3097622"/>
            <a:ext cx="293825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dist" defTabSz="914286">
              <a:defRPr sz="2000" b="1" cap="all">
                <a:solidFill>
                  <a:srgbClr val="002060"/>
                </a:solidFill>
                <a:ea typeface="Arial Unicode MS"/>
              </a:defRPr>
            </a:lvl1pPr>
          </a:lstStyle>
          <a:p>
            <a:pPr algn="l"/>
            <a:r>
              <a:rPr lang="ru-RU" altLang="ko-KR" sz="1100" dirty="0">
                <a:latin typeface="+mj-lt"/>
              </a:rPr>
              <a:t>Основное сырье:</a:t>
            </a:r>
            <a:endParaRPr lang="ko-KR" altLang="en-US" sz="1100" dirty="0">
              <a:latin typeface="+mj-lt"/>
            </a:endParaRPr>
          </a:p>
        </p:txBody>
      </p:sp>
      <p:sp>
        <p:nvSpPr>
          <p:cNvPr id="17" name="Rectangle 96">
            <a:extLst>
              <a:ext uri="{FF2B5EF4-FFF2-40B4-BE49-F238E27FC236}">
                <a16:creationId xmlns="" xmlns:a16="http://schemas.microsoft.com/office/drawing/2014/main" id="{8342CA38-CF75-F067-6256-3B94A61AA579}"/>
              </a:ext>
            </a:extLst>
          </p:cNvPr>
          <p:cNvSpPr/>
          <p:nvPr/>
        </p:nvSpPr>
        <p:spPr>
          <a:xfrm>
            <a:off x="5845186" y="3384646"/>
            <a:ext cx="111100" cy="52722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86"/>
            <a:endParaRPr lang="en-US" sz="1400" kern="0">
              <a:solidFill>
                <a:prstClr val="white"/>
              </a:solidFill>
              <a:latin typeface="Arial"/>
              <a:ea typeface="Arial Unicode M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D300BB2C-9765-3462-382A-7E494F44C256}"/>
              </a:ext>
            </a:extLst>
          </p:cNvPr>
          <p:cNvSpPr txBox="1"/>
          <p:nvPr/>
        </p:nvSpPr>
        <p:spPr>
          <a:xfrm>
            <a:off x="6196129" y="3440774"/>
            <a:ext cx="5295302" cy="231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>
              <a:lnSpc>
                <a:spcPct val="80000"/>
              </a:lnSpc>
            </a:pPr>
            <a:r>
              <a:rPr lang="ru-RU" altLang="ko-KR" sz="1100">
                <a:solidFill>
                  <a:prstClr val="black"/>
                </a:solidFill>
                <a:ea typeface="Arial Unicode MS"/>
                <a:cs typeface="Arial" pitchFamily="34" charset="0"/>
              </a:rPr>
              <a:t>гранулированная сера ТОО «Тенгизшевройл»</a:t>
            </a:r>
            <a:endParaRPr lang="ru-RU" altLang="ko-KR" sz="1100" dirty="0">
              <a:solidFill>
                <a:prstClr val="black"/>
              </a:solidFill>
              <a:ea typeface="Arial Unicode MS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E9B4E019-9A4E-4716-43E1-8809AE477743}"/>
              </a:ext>
            </a:extLst>
          </p:cNvPr>
          <p:cNvSpPr txBox="1"/>
          <p:nvPr/>
        </p:nvSpPr>
        <p:spPr>
          <a:xfrm>
            <a:off x="5911979" y="3950340"/>
            <a:ext cx="5579452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/>
            <a:r>
              <a:rPr lang="ru-RU" altLang="ko-KR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Поставщик оборудования и технологий: </a:t>
            </a:r>
            <a:endParaRPr lang="ko-KR" altLang="en-US" sz="1100" b="1" cap="all" dirty="0">
              <a:solidFill>
                <a:srgbClr val="002060"/>
              </a:solidFill>
              <a:latin typeface="+mj-lt"/>
              <a:ea typeface="Arial Unicode MS"/>
            </a:endParaRPr>
          </a:p>
        </p:txBody>
      </p:sp>
      <p:sp>
        <p:nvSpPr>
          <p:cNvPr id="20" name="Rectangle 96">
            <a:extLst>
              <a:ext uri="{FF2B5EF4-FFF2-40B4-BE49-F238E27FC236}">
                <a16:creationId xmlns="" xmlns:a16="http://schemas.microsoft.com/office/drawing/2014/main" id="{C141B8C1-E83F-4786-0608-3954DAB8B77B}"/>
              </a:ext>
            </a:extLst>
          </p:cNvPr>
          <p:cNvSpPr/>
          <p:nvPr/>
        </p:nvSpPr>
        <p:spPr>
          <a:xfrm>
            <a:off x="5852311" y="4254134"/>
            <a:ext cx="103975" cy="633681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86">
              <a:defRPr/>
            </a:pPr>
            <a:endParaRPr lang="en-US" sz="1400" kern="0">
              <a:solidFill>
                <a:prstClr val="white"/>
              </a:solidFill>
              <a:latin typeface="Arial"/>
              <a:ea typeface="Arial Unicode M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180EF838-5424-2797-715D-576E32FD7194}"/>
              </a:ext>
            </a:extLst>
          </p:cNvPr>
          <p:cNvSpPr/>
          <p:nvPr/>
        </p:nvSpPr>
        <p:spPr>
          <a:xfrm>
            <a:off x="6070725" y="5502955"/>
            <a:ext cx="5372101" cy="562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35">
              <a:lnSpc>
                <a:spcPct val="120000"/>
              </a:lnSpc>
              <a:spcBef>
                <a:spcPts val="600"/>
              </a:spcBef>
              <a:defRPr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Исполнение производственной программы на 2023 год.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 defTabSz="914235">
              <a:lnSpc>
                <a:spcPct val="120000"/>
              </a:lnSpc>
              <a:spcBef>
                <a:spcPts val="600"/>
              </a:spcBef>
              <a:defRPr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Реализация произведенной продукции в 2023 года.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76571BB5-5A0A-D1B2-0389-69464F2AB4A6}"/>
              </a:ext>
            </a:extLst>
          </p:cNvPr>
          <p:cNvGrpSpPr/>
          <p:nvPr/>
        </p:nvGrpSpPr>
        <p:grpSpPr>
          <a:xfrm>
            <a:off x="6004354" y="5070036"/>
            <a:ext cx="5525476" cy="60887"/>
            <a:chOff x="7437990" y="5670958"/>
            <a:chExt cx="8104032" cy="385899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E1CCE1E4-0700-BF76-EDDC-113E996DC198}"/>
                </a:ext>
              </a:extLst>
            </p:cNvPr>
            <p:cNvSpPr/>
            <p:nvPr/>
          </p:nvSpPr>
          <p:spPr>
            <a:xfrm flipV="1">
              <a:off x="7437990" y="5670958"/>
              <a:ext cx="8104032" cy="369331"/>
            </a:xfrm>
            <a:prstGeom prst="rect">
              <a:avLst/>
            </a:prstGeom>
            <a:gradFill flip="none" rotWithShape="1">
              <a:gsLst>
                <a:gs pos="3000">
                  <a:srgbClr val="17335D"/>
                </a:gs>
                <a:gs pos="100000">
                  <a:srgbClr val="2DC68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227"/>
            </a:p>
          </p:txBody>
        </p:sp>
        <p:sp>
          <p:nvSpPr>
            <p:cNvPr id="29" name="Текст 9">
              <a:extLst>
                <a:ext uri="{FF2B5EF4-FFF2-40B4-BE49-F238E27FC236}">
                  <a16:creationId xmlns="" xmlns:a16="http://schemas.microsoft.com/office/drawing/2014/main" id="{84188611-E550-7369-D2C5-A23D41FC79A5}"/>
                </a:ext>
              </a:extLst>
            </p:cNvPr>
            <p:cNvSpPr txBox="1">
              <a:spLocks/>
            </p:cNvSpPr>
            <p:nvPr/>
          </p:nvSpPr>
          <p:spPr>
            <a:xfrm>
              <a:off x="10281408" y="5687525"/>
              <a:ext cx="3297834" cy="369332"/>
            </a:xfrm>
            <a:prstGeom prst="rect">
              <a:avLst/>
            </a:prstGeom>
          </p:spPr>
          <p:txBody>
            <a:bodyPr vert="horz" lIns="62345" tIns="31173" rIns="62345" bIns="31173" rtlCol="0" anchor="ctr">
              <a:noAutofit/>
            </a:bodyPr>
            <a:lstStyle>
              <a:lvl1pPr marL="0" indent="0" algn="l" defTabSz="1341150" rtl="0" eaLnBrk="1" latinLnBrk="0" hangingPunct="1">
                <a:lnSpc>
                  <a:spcPct val="90000"/>
                </a:lnSpc>
                <a:spcBef>
                  <a:spcPts val="1467"/>
                </a:spcBef>
                <a:buFontTx/>
                <a:buNone/>
                <a:defRPr sz="1600" b="1" u="none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67057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352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341150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933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201172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682301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68816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58739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02931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699890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KZ" sz="109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53578257-A9E1-C959-6DAD-F47A85F1BE38}"/>
              </a:ext>
            </a:extLst>
          </p:cNvPr>
          <p:cNvSpPr txBox="1"/>
          <p:nvPr/>
        </p:nvSpPr>
        <p:spPr>
          <a:xfrm>
            <a:off x="5911978" y="5232701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планы на 202</a:t>
            </a:r>
            <a:r>
              <a:rPr lang="en-US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3</a:t>
            </a:r>
            <a:r>
              <a:rPr lang="ru-RU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 год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3EE4D9E6-DD97-35EB-5739-E0AB8D5C1E7A}"/>
              </a:ext>
            </a:extLst>
          </p:cNvPr>
          <p:cNvSpPr txBox="1"/>
          <p:nvPr/>
        </p:nvSpPr>
        <p:spPr>
          <a:xfrm>
            <a:off x="6147524" y="4441259"/>
            <a:ext cx="5295302" cy="366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>
              <a:lnSpc>
                <a:spcPct val="80000"/>
              </a:lnSpc>
            </a:pPr>
            <a:r>
              <a:rPr lang="en-US" altLang="ko-KR" sz="1100" dirty="0" err="1">
                <a:solidFill>
                  <a:prstClr val="black"/>
                </a:solidFill>
                <a:ea typeface="Arial Unicode MS"/>
                <a:cs typeface="Arial" pitchFamily="34" charset="0"/>
              </a:rPr>
              <a:t>Desmet</a:t>
            </a:r>
            <a:r>
              <a:rPr lang="en-US" altLang="ko-KR" sz="1100" dirty="0">
                <a:solidFill>
                  <a:prstClr val="black"/>
                </a:solidFill>
                <a:ea typeface="Arial Unicode MS"/>
                <a:cs typeface="Arial" pitchFamily="34" charset="0"/>
              </a:rPr>
              <a:t> Ballestra </a:t>
            </a:r>
            <a:r>
              <a:rPr lang="en-US" altLang="ko-KR" sz="1100" dirty="0" err="1">
                <a:solidFill>
                  <a:prstClr val="black"/>
                </a:solidFill>
                <a:ea typeface="Arial Unicode MS"/>
                <a:cs typeface="Arial" pitchFamily="34" charset="0"/>
              </a:rPr>
              <a:t>S.p.a</a:t>
            </a:r>
            <a:r>
              <a:rPr lang="en-US" altLang="ko-KR" sz="1100" dirty="0">
                <a:solidFill>
                  <a:prstClr val="black"/>
                </a:solidFill>
                <a:ea typeface="Arial Unicode MS"/>
                <a:cs typeface="Arial" pitchFamily="34" charset="0"/>
              </a:rPr>
              <a:t>. (Italy) </a:t>
            </a:r>
            <a:endParaRPr lang="ru-RU" altLang="ko-KR" sz="1100" dirty="0">
              <a:solidFill>
                <a:prstClr val="black"/>
              </a:solidFill>
              <a:ea typeface="Arial Unicode MS"/>
              <a:cs typeface="Arial" pitchFamily="34" charset="0"/>
            </a:endParaRPr>
          </a:p>
          <a:p>
            <a:pPr defTabSz="914286">
              <a:lnSpc>
                <a:spcPct val="80000"/>
              </a:lnSpc>
            </a:pPr>
            <a:r>
              <a:rPr lang="ru-RU" altLang="ko-KR" sz="1100" dirty="0">
                <a:solidFill>
                  <a:prstClr val="black"/>
                </a:solidFill>
                <a:ea typeface="Arial Unicode MS"/>
                <a:cs typeface="Arial" pitchFamily="34" charset="0"/>
              </a:rPr>
              <a:t>по лицензии </a:t>
            </a:r>
            <a:r>
              <a:rPr lang="en-US" altLang="ko-KR" sz="1100" dirty="0">
                <a:solidFill>
                  <a:prstClr val="black"/>
                </a:solidFill>
                <a:ea typeface="Arial Unicode MS"/>
                <a:cs typeface="Arial" pitchFamily="34" charset="0"/>
              </a:rPr>
              <a:t>Monsanto Enviro-Chem Systems Inc. (USA)</a:t>
            </a:r>
          </a:p>
        </p:txBody>
      </p:sp>
      <p:pic>
        <p:nvPicPr>
          <p:cNvPr id="1026" name="Picture 2" descr="Desmet Ballestra">
            <a:extLst>
              <a:ext uri="{FF2B5EF4-FFF2-40B4-BE49-F238E27FC236}">
                <a16:creationId xmlns="" xmlns:a16="http://schemas.microsoft.com/office/drawing/2014/main" id="{124578B7-810D-0BE3-72AF-30377F5DD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2737" y="4151660"/>
            <a:ext cx="677404" cy="67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34">
            <a:extLst>
              <a:ext uri="{FF2B5EF4-FFF2-40B4-BE49-F238E27FC236}">
                <a16:creationId xmlns="" xmlns:a16="http://schemas.microsoft.com/office/drawing/2014/main" id="{FDB76420-579D-3A29-6EAD-0474635CFE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0062" y="3999100"/>
            <a:ext cx="1608672" cy="99968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05473780-B9E4-1920-D4C2-BBBE373615A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818" y="3036320"/>
            <a:ext cx="1392091" cy="852656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8C2FD073-19D9-3BC2-EA44-02BFDEEF31D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417385" y="6064968"/>
            <a:ext cx="774615" cy="787027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B04C5E2-1352-6E91-620E-9361B4A68130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5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A8E2C1E-80FC-C3DE-E123-86187E8FC6F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3" y="71184"/>
            <a:ext cx="512754" cy="512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63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5928" y="2484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5928" y="2484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1144292" y="894"/>
            <a:ext cx="163720" cy="15870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803627" y="1052567"/>
            <a:ext cx="36086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Segoe UI Semilight" panose="020B0402040204020203" pitchFamily="34" charset="0"/>
              </a:rPr>
              <a:t>Капитальные вложения</a:t>
            </a:r>
          </a:p>
          <a:p>
            <a:pPr algn="ctr"/>
            <a:r>
              <a:rPr lang="ru-RU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Segoe UI Semilight" panose="020B0402040204020203" pitchFamily="34" charset="0"/>
              </a:rPr>
              <a:t>реконструкции завода в 2015 г.  </a:t>
            </a:r>
            <a:endParaRPr lang="ru-RU" sz="1600" b="1" cap="all" dirty="0">
              <a:solidFill>
                <a:srgbClr val="002060"/>
              </a:solidFill>
              <a:latin typeface="Calibri Light" panose="020F0302020204030204"/>
              <a:cs typeface="Calibri" panose="020F0502020204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-17140" y="513254"/>
            <a:ext cx="11011272" cy="46747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6102" y="44625"/>
            <a:ext cx="1074309" cy="863723"/>
          </a:xfrm>
          <a:prstGeom prst="rect">
            <a:avLst/>
          </a:prstGeom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803627" y="1769206"/>
          <a:ext cx="3695443" cy="3743900"/>
        </p:xfrm>
        <a:graphic>
          <a:graphicData uri="http://schemas.openxmlformats.org/drawingml/2006/table">
            <a:tbl>
              <a:tblPr/>
              <a:tblGrid>
                <a:gridCol w="5557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1087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288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72684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№ п/п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Наименование 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C</a:t>
                      </a:r>
                      <a:r>
                        <a:rPr lang="ru-RU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тоимость</a:t>
                      </a:r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 проекта 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(тыс. тенге)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8647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апитальные вложения инвестиционного характера, в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.ч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.: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 622 653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1793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1.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- СМР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828 582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1793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2.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- ПИР (ТЭО, ПСД)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4 981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1793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3.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- Оборудование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409 090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81684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апитальные вложения административного характера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 984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01579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чие капитализируемые расходы</a:t>
                      </a:r>
                      <a:r>
                        <a:rPr lang="kk-K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вклад в уставный капитал имуществом СГХК)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0 000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52282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Общие и административные расходы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888 593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81645">
                <a:tc>
                  <a:txBody>
                    <a:bodyPr/>
                    <a:lstStyle/>
                    <a:p>
                      <a:pPr algn="r" rtl="0" fontAlgn="t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ТОГО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 291 230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5BD5365D-2A37-8A1D-EE19-42BEBE31A1E5}"/>
              </a:ext>
            </a:extLst>
          </p:cNvPr>
          <p:cNvSpPr/>
          <p:nvPr/>
        </p:nvSpPr>
        <p:spPr>
          <a:xfrm>
            <a:off x="5995374" y="1175677"/>
            <a:ext cx="526137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</a:pPr>
            <a:r>
              <a:rPr lang="kk-KZ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Segoe UI Semilight" panose="020B0402040204020203" pitchFamily="34" charset="0"/>
              </a:rPr>
              <a:t>Основные показатели деятельности</a:t>
            </a:r>
            <a:r>
              <a:rPr lang="en-US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Segoe UI Semilight" panose="020B0402040204020203" pitchFamily="34" charset="0"/>
              </a:rPr>
              <a:t> </a:t>
            </a:r>
            <a:r>
              <a:rPr lang="ru-RU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Segoe UI Semilight" panose="020B0402040204020203" pitchFamily="34" charset="0"/>
              </a:rPr>
              <a:t>ТОО «</a:t>
            </a:r>
            <a:r>
              <a:rPr lang="en-US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Segoe UI Semilight" panose="020B0402040204020203" pitchFamily="34" charset="0"/>
              </a:rPr>
              <a:t>SSAP</a:t>
            </a:r>
            <a:r>
              <a:rPr lang="ru-RU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Segoe UI Semilight" panose="020B0402040204020203" pitchFamily="34" charset="0"/>
              </a:rPr>
              <a:t>»</a:t>
            </a:r>
            <a:endParaRPr lang="ru-RU" sz="1600" b="1" cap="all" dirty="0">
              <a:solidFill>
                <a:srgbClr val="002060"/>
              </a:solidFill>
              <a:latin typeface="Calibri Light" panose="020F0302020204030204"/>
              <a:cs typeface="Calibri" panose="020F0502020204030204" pitchFamily="34" charset="0"/>
            </a:endParaRPr>
          </a:p>
        </p:txBody>
      </p:sp>
      <p:sp>
        <p:nvSpPr>
          <p:cNvPr id="5" name="Заголовок 10">
            <a:extLst>
              <a:ext uri="{FF2B5EF4-FFF2-40B4-BE49-F238E27FC236}">
                <a16:creationId xmlns="" xmlns:a16="http://schemas.microsoft.com/office/drawing/2014/main" id="{F5FBA5FE-73FF-7F57-31B8-796C87546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6300" y="14881"/>
            <a:ext cx="10678784" cy="744960"/>
          </a:xfrm>
        </p:spPr>
        <p:txBody>
          <a:bodyPr>
            <a:normAutofit/>
          </a:bodyPr>
          <a:lstStyle/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«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SAP</a:t>
            </a:r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».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тоимость проекта и показатели деятельности</a:t>
            </a:r>
            <a:endParaRPr lang="en-US" sz="2000" dirty="0">
              <a:solidFill>
                <a:prstClr val="black">
                  <a:lumMod val="65000"/>
                  <a:lumOff val="35000"/>
                </a:prst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Номер слайда 3">
            <a:extLst>
              <a:ext uri="{FF2B5EF4-FFF2-40B4-BE49-F238E27FC236}">
                <a16:creationId xmlns="" xmlns:a16="http://schemas.microsoft.com/office/drawing/2014/main" id="{44E53E32-6D0F-EA80-3E93-969BAF7D6277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6</a:t>
            </a:fld>
            <a:endParaRPr lang="ru-RU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52BDBB0E-A1DA-0355-5C12-1673C5B5D92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3" y="71184"/>
            <a:ext cx="512754" cy="512754"/>
          </a:xfrm>
          <a:prstGeom prst="rect">
            <a:avLst/>
          </a:prstGeom>
        </p:spPr>
      </p:pic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80793"/>
              </p:ext>
            </p:extLst>
          </p:nvPr>
        </p:nvGraphicFramePr>
        <p:xfrm>
          <a:off x="6063514" y="1735424"/>
          <a:ext cx="4978400" cy="2596410"/>
        </p:xfrm>
        <a:graphic>
          <a:graphicData uri="http://schemas.openxmlformats.org/drawingml/2006/table">
            <a:tbl>
              <a:tblPr/>
              <a:tblGrid>
                <a:gridCol w="76897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154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367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573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6830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год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Объем производства серной кислоты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Доход от реализации серной кислоты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Чистая прибыль/убыток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B244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тонн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тыс. тенге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тыс. тенге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5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42 299,10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 529 309,38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514 552,14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6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36 698,37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654 848,65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576 516,92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7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33 979,18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 823 389,79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-172 246,08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139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8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21 244,88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480 067,47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-110 194,46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2180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19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65 951,20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138 061,20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-209 754,02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8648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20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65 162,70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095 833,50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-211 558,53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21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94 519,20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3 648 761,99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53 481,18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2022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75 339,21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4 880 160,79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886 218,79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1.05.2023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57 027,85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1 938 949,77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610 006,58</a:t>
                      </a:r>
                    </a:p>
                  </a:txBody>
                  <a:tcPr marL="6350" marR="6350" marT="635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4754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75C418A7-8F1E-36FD-6C85-0B544B6ED0FD}"/>
              </a:ext>
            </a:extLst>
          </p:cNvPr>
          <p:cNvSpPr/>
          <p:nvPr/>
        </p:nvSpPr>
        <p:spPr>
          <a:xfrm>
            <a:off x="903270" y="993095"/>
            <a:ext cx="4734171" cy="45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100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Цель проекта - 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производство и реализация для казахстанского рынка средств защиты растений (гербицидов)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E3393145-81B1-1E95-16E5-88E66B673053}"/>
              </a:ext>
            </a:extLst>
          </p:cNvPr>
          <p:cNvSpPr txBox="1"/>
          <p:nvPr/>
        </p:nvSpPr>
        <p:spPr>
          <a:xfrm>
            <a:off x="917161" y="1445527"/>
            <a:ext cx="4667000" cy="2601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00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Местонахождение: 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Жамбылская область, СЭЗ </a:t>
            </a:r>
            <a:r>
              <a:rPr lang="ru-RU" sz="1100" dirty="0" err="1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Химпарк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Тараз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98FC2310-ECDF-4C67-FD5F-4DE57C376E9A}"/>
              </a:ext>
            </a:extLst>
          </p:cNvPr>
          <p:cNvGrpSpPr/>
          <p:nvPr/>
        </p:nvGrpSpPr>
        <p:grpSpPr>
          <a:xfrm>
            <a:off x="1187605" y="3378910"/>
            <a:ext cx="3690937" cy="1547258"/>
            <a:chOff x="100960" y="7150912"/>
            <a:chExt cx="5413374" cy="2269312"/>
          </a:xfrm>
        </p:grpSpPr>
        <p:graphicFrame>
          <p:nvGraphicFramePr>
            <p:cNvPr id="34" name="Диаграмма 33">
              <a:extLst>
                <a:ext uri="{FF2B5EF4-FFF2-40B4-BE49-F238E27FC236}">
                  <a16:creationId xmlns="" xmlns:a16="http://schemas.microsoft.com/office/drawing/2014/main" id="{A8161836-7C4B-EE1A-A116-85D61C88045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157462516"/>
                </p:ext>
              </p:extLst>
            </p:nvPr>
          </p:nvGraphicFramePr>
          <p:xfrm>
            <a:off x="100960" y="7150912"/>
            <a:ext cx="5413374" cy="22693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7" name="Овал 36">
              <a:extLst>
                <a:ext uri="{FF2B5EF4-FFF2-40B4-BE49-F238E27FC236}">
                  <a16:creationId xmlns="" xmlns:a16="http://schemas.microsoft.com/office/drawing/2014/main" id="{2E471E8A-4B2B-C384-F94D-36FE7B69253B}"/>
                </a:ext>
              </a:extLst>
            </p:cNvPr>
            <p:cNvSpPr/>
            <p:nvPr/>
          </p:nvSpPr>
          <p:spPr>
            <a:xfrm>
              <a:off x="1025360" y="7531635"/>
              <a:ext cx="1375955" cy="14020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91" b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99,93%</a:t>
              </a:r>
            </a:p>
            <a:p>
              <a:pPr algn="ctr"/>
              <a:r>
                <a:rPr lang="ru-RU" sz="1091" b="1" dirty="0">
                  <a:solidFill>
                    <a:srgbClr val="47CC9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 Light" panose="020F0302020204030204" pitchFamily="34" charset="0"/>
                  <a:cs typeface="Calibri Light" panose="020F0302020204030204" pitchFamily="34" charset="0"/>
                </a:rPr>
                <a:t>0,07%</a:t>
              </a:r>
              <a:endParaRPr lang="ru-KZ" sz="1091" b="1" dirty="0">
                <a:solidFill>
                  <a:srgbClr val="47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="" xmlns:a16="http://schemas.microsoft.com/office/drawing/2014/main" id="{435AFBB2-9B5A-0255-033E-D03CF1DABEB3}"/>
              </a:ext>
            </a:extLst>
          </p:cNvPr>
          <p:cNvGrpSpPr/>
          <p:nvPr/>
        </p:nvGrpSpPr>
        <p:grpSpPr>
          <a:xfrm>
            <a:off x="1356218" y="1772512"/>
            <a:ext cx="2938259" cy="1659149"/>
            <a:chOff x="787881" y="3877196"/>
            <a:chExt cx="4718648" cy="2741957"/>
          </a:xfrm>
        </p:grpSpPr>
        <p:pic>
          <p:nvPicPr>
            <p:cNvPr id="44" name="Рисунок 43">
              <a:extLst>
                <a:ext uri="{FF2B5EF4-FFF2-40B4-BE49-F238E27FC236}">
                  <a16:creationId xmlns="" xmlns:a16="http://schemas.microsoft.com/office/drawing/2014/main" id="{11C6B8EC-C1AA-2FE6-7858-9D2321DB5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7881" y="3877196"/>
              <a:ext cx="4718648" cy="2741957"/>
            </a:xfrm>
            <a:prstGeom prst="rect">
              <a:avLst/>
            </a:prstGeom>
          </p:spPr>
        </p:pic>
        <p:sp>
          <p:nvSpPr>
            <p:cNvPr id="45" name="Овал 44">
              <a:extLst>
                <a:ext uri="{FF2B5EF4-FFF2-40B4-BE49-F238E27FC236}">
                  <a16:creationId xmlns="" xmlns:a16="http://schemas.microsoft.com/office/drawing/2014/main" id="{B5DAF093-6D64-7887-F862-B6A3AA4D8EC4}"/>
                </a:ext>
              </a:extLst>
            </p:cNvPr>
            <p:cNvSpPr/>
            <p:nvPr/>
          </p:nvSpPr>
          <p:spPr>
            <a:xfrm>
              <a:off x="4018016" y="5828871"/>
              <a:ext cx="114300" cy="114300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27"/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76D04380-DFF9-E184-E22E-F7C5EB7F5662}"/>
              </a:ext>
            </a:extLst>
          </p:cNvPr>
          <p:cNvSpPr/>
          <p:nvPr/>
        </p:nvSpPr>
        <p:spPr>
          <a:xfrm>
            <a:off x="5965954" y="993095"/>
            <a:ext cx="5325488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Ввод в эксплуатацию: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январь 2019 г.</a:t>
            </a:r>
          </a:p>
          <a:p>
            <a:endParaRPr lang="ru-RU" sz="1100" b="1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  <a:p>
            <a:r>
              <a:rPr lang="ru-RU" sz="1100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Деятельность: </a:t>
            </a:r>
          </a:p>
          <a:p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-производство жидких гербицидов на основе </a:t>
            </a:r>
            <a:r>
              <a:rPr lang="ru-RU" sz="1100" dirty="0" err="1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глифосата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(</a:t>
            </a:r>
            <a:r>
              <a:rPr lang="ru-RU" sz="1100" dirty="0" err="1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формулят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) до 2,9 млн. л. в год.</a:t>
            </a:r>
          </a:p>
          <a:p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-Производство гранулированных гербицидов на основе </a:t>
            </a:r>
            <a:r>
              <a:rPr lang="ru-RU" sz="1100" dirty="0" err="1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глифосата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(</a:t>
            </a:r>
            <a:r>
              <a:rPr lang="ru-RU" sz="1100" dirty="0" err="1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формулят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) до 1000 тонн в год.</a:t>
            </a:r>
          </a:p>
          <a:p>
            <a:endParaRPr lang="ru-RU" sz="1100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  <a:p>
            <a:r>
              <a:rPr lang="ru-RU" sz="1100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Численность сотрудников:  </a:t>
            </a:r>
            <a:r>
              <a:rPr lang="ru-RU" sz="1100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48 человек, из которых 21 производственный персонал, 27 – АУП</a:t>
            </a:r>
            <a:endParaRPr lang="en-US" sz="1100" dirty="0"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  <a:p>
            <a:endParaRPr lang="ru-RU" sz="1100" dirty="0">
              <a:solidFill>
                <a:srgbClr val="FF0000"/>
              </a:solidFill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E8A74A25-6D88-300F-E89A-C63AAE07494D}"/>
              </a:ext>
            </a:extLst>
          </p:cNvPr>
          <p:cNvGrpSpPr/>
          <p:nvPr/>
        </p:nvGrpSpPr>
        <p:grpSpPr>
          <a:xfrm>
            <a:off x="5965954" y="2906800"/>
            <a:ext cx="5525476" cy="60887"/>
            <a:chOff x="7437990" y="5670958"/>
            <a:chExt cx="8104032" cy="385899"/>
          </a:xfrm>
        </p:grpSpPr>
        <p:sp>
          <p:nvSpPr>
            <p:cNvPr id="51" name="Прямоугольник 50">
              <a:extLst>
                <a:ext uri="{FF2B5EF4-FFF2-40B4-BE49-F238E27FC236}">
                  <a16:creationId xmlns="" xmlns:a16="http://schemas.microsoft.com/office/drawing/2014/main" id="{0650F6B1-E823-48B4-0C87-30702E8D5416}"/>
                </a:ext>
              </a:extLst>
            </p:cNvPr>
            <p:cNvSpPr/>
            <p:nvPr/>
          </p:nvSpPr>
          <p:spPr>
            <a:xfrm flipV="1">
              <a:off x="7437990" y="5670958"/>
              <a:ext cx="8104032" cy="369331"/>
            </a:xfrm>
            <a:prstGeom prst="rect">
              <a:avLst/>
            </a:prstGeom>
            <a:gradFill flip="none" rotWithShape="1">
              <a:gsLst>
                <a:gs pos="3000">
                  <a:srgbClr val="17335D"/>
                </a:gs>
                <a:gs pos="100000">
                  <a:srgbClr val="2DC68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227"/>
            </a:p>
          </p:txBody>
        </p:sp>
        <p:sp>
          <p:nvSpPr>
            <p:cNvPr id="49" name="Текст 9">
              <a:extLst>
                <a:ext uri="{FF2B5EF4-FFF2-40B4-BE49-F238E27FC236}">
                  <a16:creationId xmlns="" xmlns:a16="http://schemas.microsoft.com/office/drawing/2014/main" id="{068F300D-C5E2-ECAA-7666-378947FCD02E}"/>
                </a:ext>
              </a:extLst>
            </p:cNvPr>
            <p:cNvSpPr txBox="1">
              <a:spLocks/>
            </p:cNvSpPr>
            <p:nvPr/>
          </p:nvSpPr>
          <p:spPr>
            <a:xfrm>
              <a:off x="10281408" y="5687525"/>
              <a:ext cx="3297834" cy="369332"/>
            </a:xfrm>
            <a:prstGeom prst="rect">
              <a:avLst/>
            </a:prstGeom>
          </p:spPr>
          <p:txBody>
            <a:bodyPr vert="horz" lIns="62345" tIns="31173" rIns="62345" bIns="31173" rtlCol="0" anchor="ctr">
              <a:noAutofit/>
            </a:bodyPr>
            <a:lstStyle>
              <a:lvl1pPr marL="0" indent="0" algn="l" defTabSz="1341150" rtl="0" eaLnBrk="1" latinLnBrk="0" hangingPunct="1">
                <a:lnSpc>
                  <a:spcPct val="90000"/>
                </a:lnSpc>
                <a:spcBef>
                  <a:spcPts val="1467"/>
                </a:spcBef>
                <a:buFontTx/>
                <a:buNone/>
                <a:defRPr sz="1600" b="1" u="none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67057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352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341150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933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201172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682301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68816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58739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02931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699890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KZ" sz="109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CC22F8E3-8C7F-94CB-1C11-4414C350AF5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396371" y="603043"/>
            <a:ext cx="10481426" cy="36743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35151D1-3B23-9997-872D-4B988A8F99E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5668" y="186922"/>
            <a:ext cx="974594" cy="783554"/>
          </a:xfrm>
          <a:prstGeom prst="rect">
            <a:avLst/>
          </a:prstGeom>
        </p:spPr>
      </p:pic>
      <p:sp>
        <p:nvSpPr>
          <p:cNvPr id="10" name="SlideTitle">
            <a:extLst>
              <a:ext uri="{FF2B5EF4-FFF2-40B4-BE49-F238E27FC236}">
                <a16:creationId xmlns="" xmlns:a16="http://schemas.microsoft.com/office/drawing/2014/main" id="{A5873F53-2DAE-81EA-8B85-F5CFB9555CBD}"/>
              </a:ext>
            </a:extLst>
          </p:cNvPr>
          <p:cNvSpPr txBox="1">
            <a:spLocks/>
          </p:cNvSpPr>
          <p:nvPr/>
        </p:nvSpPr>
        <p:spPr>
          <a:xfrm>
            <a:off x="1362992" y="198440"/>
            <a:ext cx="10644986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«ХИМ-плюс». Комплекс </a:t>
            </a:r>
            <a:r>
              <a:rPr lang="ru-RU" sz="20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ормуляции</a:t>
            </a:r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20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глифосата</a:t>
            </a:r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в Жамбылской области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4E537901-38FE-3CA1-B850-ECA62116268F}"/>
              </a:ext>
            </a:extLst>
          </p:cNvPr>
          <p:cNvSpPr txBox="1"/>
          <p:nvPr/>
        </p:nvSpPr>
        <p:spPr>
          <a:xfrm>
            <a:off x="7119626" y="4594096"/>
            <a:ext cx="203930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86"/>
            <a:r>
              <a:rPr lang="en-US" altLang="ko-KR" sz="1050" dirty="0">
                <a:solidFill>
                  <a:prstClr val="white"/>
                </a:solidFill>
                <a:latin typeface="Arial"/>
                <a:ea typeface="Arial Unicode MS"/>
              </a:rPr>
              <a:t>Add Skills – 80%</a:t>
            </a:r>
          </a:p>
        </p:txBody>
      </p:sp>
      <p:sp>
        <p:nvSpPr>
          <p:cNvPr id="13" name="Rectangle 38">
            <a:extLst>
              <a:ext uri="{FF2B5EF4-FFF2-40B4-BE49-F238E27FC236}">
                <a16:creationId xmlns="" xmlns:a16="http://schemas.microsoft.com/office/drawing/2014/main" id="{2A7F2C59-5CD0-AD14-C06C-97D2E3942B77}"/>
              </a:ext>
            </a:extLst>
          </p:cNvPr>
          <p:cNvSpPr/>
          <p:nvPr/>
        </p:nvSpPr>
        <p:spPr>
          <a:xfrm>
            <a:off x="5679652" y="4549261"/>
            <a:ext cx="32004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86"/>
            <a:r>
              <a:rPr lang="en-US" altLang="ko-KR" sz="1600" b="1" dirty="0">
                <a:solidFill>
                  <a:prstClr val="white"/>
                </a:solidFill>
                <a:latin typeface="Arial"/>
                <a:ea typeface="Arial Unicode MS"/>
              </a:rPr>
              <a:t>Name He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4C78CEF7-318C-6960-E161-023792789B58}"/>
              </a:ext>
            </a:extLst>
          </p:cNvPr>
          <p:cNvSpPr txBox="1"/>
          <p:nvPr/>
        </p:nvSpPr>
        <p:spPr>
          <a:xfrm>
            <a:off x="5911978" y="3097622"/>
            <a:ext cx="293825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dist" defTabSz="914286">
              <a:defRPr sz="2000" b="1" cap="all">
                <a:solidFill>
                  <a:srgbClr val="002060"/>
                </a:solidFill>
                <a:ea typeface="Arial Unicode MS"/>
              </a:defRPr>
            </a:lvl1pPr>
          </a:lstStyle>
          <a:p>
            <a:pPr algn="l"/>
            <a:r>
              <a:rPr lang="ru-RU" altLang="ko-KR" sz="1100" dirty="0">
                <a:latin typeface="+mj-lt"/>
              </a:rPr>
              <a:t>Основное сырье:</a:t>
            </a:r>
            <a:endParaRPr lang="ko-KR" altLang="en-US" sz="1100" dirty="0">
              <a:latin typeface="+mj-lt"/>
            </a:endParaRPr>
          </a:p>
        </p:txBody>
      </p:sp>
      <p:sp>
        <p:nvSpPr>
          <p:cNvPr id="21" name="Rectangle 96">
            <a:extLst>
              <a:ext uri="{FF2B5EF4-FFF2-40B4-BE49-F238E27FC236}">
                <a16:creationId xmlns="" xmlns:a16="http://schemas.microsoft.com/office/drawing/2014/main" id="{9A226ABF-8739-BBF2-3F8E-3F6A04D5549E}"/>
              </a:ext>
            </a:extLst>
          </p:cNvPr>
          <p:cNvSpPr/>
          <p:nvPr/>
        </p:nvSpPr>
        <p:spPr>
          <a:xfrm>
            <a:off x="5845186" y="3384646"/>
            <a:ext cx="111100" cy="52722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86"/>
            <a:endParaRPr lang="en-US" sz="1400" kern="0">
              <a:solidFill>
                <a:prstClr val="white"/>
              </a:solidFill>
              <a:latin typeface="Arial"/>
              <a:ea typeface="Arial Unicode M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5E793784-7F2F-A4C8-E329-47F0EF314A52}"/>
              </a:ext>
            </a:extLst>
          </p:cNvPr>
          <p:cNvSpPr txBox="1"/>
          <p:nvPr/>
        </p:nvSpPr>
        <p:spPr>
          <a:xfrm>
            <a:off x="6196129" y="3440774"/>
            <a:ext cx="5295302" cy="231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>
              <a:lnSpc>
                <a:spcPct val="80000"/>
              </a:lnSpc>
            </a:pPr>
            <a:r>
              <a:rPr lang="ru-RU" sz="1100" dirty="0" err="1">
                <a:solidFill>
                  <a:srgbClr val="000000"/>
                </a:solidFill>
                <a:cs typeface="Arial" pitchFamily="34" charset="0"/>
              </a:rPr>
              <a:t>Глифосат</a:t>
            </a:r>
            <a:r>
              <a:rPr lang="ru-RU" sz="1100" dirty="0">
                <a:solidFill>
                  <a:srgbClr val="000000"/>
                </a:solidFill>
                <a:cs typeface="Arial" pitchFamily="34" charset="0"/>
              </a:rPr>
              <a:t> 95% закупается из КНР (производители: </a:t>
            </a:r>
            <a:r>
              <a:rPr lang="en-US" sz="1100" dirty="0" err="1">
                <a:solidFill>
                  <a:srgbClr val="000000"/>
                </a:solidFill>
                <a:cs typeface="Arial" pitchFamily="34" charset="0"/>
              </a:rPr>
              <a:t>Fuhua</a:t>
            </a: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,</a:t>
            </a:r>
            <a:r>
              <a:rPr lang="ru-RU" sz="11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Nantong</a:t>
            </a:r>
            <a:r>
              <a:rPr lang="ru-RU" sz="1100" dirty="0">
                <a:solidFill>
                  <a:srgbClr val="000000"/>
                </a:solidFill>
                <a:cs typeface="Arial" pitchFamily="34" charset="0"/>
              </a:rPr>
              <a:t> и др.)</a:t>
            </a:r>
            <a:endParaRPr lang="ru-RU" altLang="ko-KR" sz="1100" dirty="0">
              <a:solidFill>
                <a:prstClr val="black"/>
              </a:solidFill>
              <a:ea typeface="Arial Unicode MS"/>
              <a:cs typeface="Arial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E3F83D74-D590-7D36-DAD2-93E7EF57DD46}"/>
              </a:ext>
            </a:extLst>
          </p:cNvPr>
          <p:cNvSpPr txBox="1"/>
          <p:nvPr/>
        </p:nvSpPr>
        <p:spPr>
          <a:xfrm>
            <a:off x="5911979" y="3950340"/>
            <a:ext cx="5579452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/>
            <a:r>
              <a:rPr lang="ru-RU" altLang="ko-KR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Поставщик оборудования и технологий: </a:t>
            </a:r>
            <a:endParaRPr lang="ko-KR" altLang="en-US" sz="1100" b="1" cap="all" dirty="0">
              <a:solidFill>
                <a:srgbClr val="002060"/>
              </a:solidFill>
              <a:latin typeface="+mj-lt"/>
              <a:ea typeface="Arial Unicode MS"/>
            </a:endParaRPr>
          </a:p>
        </p:txBody>
      </p:sp>
      <p:sp>
        <p:nvSpPr>
          <p:cNvPr id="29" name="Rectangle 96">
            <a:extLst>
              <a:ext uri="{FF2B5EF4-FFF2-40B4-BE49-F238E27FC236}">
                <a16:creationId xmlns="" xmlns:a16="http://schemas.microsoft.com/office/drawing/2014/main" id="{8C8EBF9F-2603-B918-E2B6-FD0A3E0F8781}"/>
              </a:ext>
            </a:extLst>
          </p:cNvPr>
          <p:cNvSpPr/>
          <p:nvPr/>
        </p:nvSpPr>
        <p:spPr>
          <a:xfrm>
            <a:off x="5852311" y="4254134"/>
            <a:ext cx="103975" cy="633681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86">
              <a:defRPr/>
            </a:pPr>
            <a:endParaRPr lang="en-US" sz="1400" kern="0">
              <a:solidFill>
                <a:prstClr val="white"/>
              </a:solidFill>
              <a:latin typeface="Arial"/>
              <a:ea typeface="Arial Unicode M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6D4D8197-3242-57AB-9966-79135CD5E9C4}"/>
              </a:ext>
            </a:extLst>
          </p:cNvPr>
          <p:cNvSpPr txBox="1"/>
          <p:nvPr/>
        </p:nvSpPr>
        <p:spPr>
          <a:xfrm>
            <a:off x="6196129" y="4277176"/>
            <a:ext cx="5295302" cy="501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86">
              <a:lnSpc>
                <a:spcPct val="80000"/>
              </a:lnSpc>
            </a:pPr>
            <a:r>
              <a:rPr lang="ru-RU" altLang="ko-KR" sz="1100" dirty="0">
                <a:solidFill>
                  <a:prstClr val="black"/>
                </a:solidFill>
                <a:ea typeface="Arial Unicode MS"/>
                <a:cs typeface="Arial" pitchFamily="34" charset="0"/>
              </a:rPr>
              <a:t>Линии по производству жидких и гранулированных гербицидов (КНР)</a:t>
            </a:r>
          </a:p>
          <a:p>
            <a:pPr marL="285750" indent="-285750" defTabSz="914286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ru-RU" altLang="ko-KR" sz="1100" dirty="0">
              <a:solidFill>
                <a:prstClr val="black"/>
              </a:solidFill>
              <a:ea typeface="Arial Unicode MS"/>
              <a:cs typeface="Arial" pitchFamily="34" charset="0"/>
            </a:endParaRPr>
          </a:p>
          <a:p>
            <a:pPr defTabSz="914286">
              <a:lnSpc>
                <a:spcPct val="80000"/>
              </a:lnSpc>
            </a:pPr>
            <a:r>
              <a:rPr lang="ru-RU" altLang="ko-KR" sz="1100" dirty="0">
                <a:solidFill>
                  <a:prstClr val="black"/>
                </a:solidFill>
                <a:ea typeface="Arial Unicode MS"/>
                <a:cs typeface="Arial" pitchFamily="34" charset="0"/>
              </a:rPr>
              <a:t>Линия по производству пластиковых канистр </a:t>
            </a:r>
            <a:r>
              <a:rPr lang="en-US" altLang="ko-KR" sz="1100" dirty="0">
                <a:solidFill>
                  <a:prstClr val="black"/>
                </a:solidFill>
                <a:ea typeface="Arial Unicode MS"/>
                <a:cs typeface="Arial" pitchFamily="34" charset="0"/>
              </a:rPr>
              <a:t>(</a:t>
            </a:r>
            <a:r>
              <a:rPr lang="ru-RU" altLang="ko-KR" sz="1100" dirty="0">
                <a:solidFill>
                  <a:prstClr val="black"/>
                </a:solidFill>
                <a:ea typeface="Arial Unicode MS"/>
                <a:cs typeface="Arial" pitchFamily="34" charset="0"/>
              </a:rPr>
              <a:t>Италия)</a:t>
            </a:r>
            <a:endParaRPr lang="en-US" altLang="ko-KR" sz="1100" dirty="0">
              <a:solidFill>
                <a:prstClr val="black"/>
              </a:solidFill>
              <a:ea typeface="Arial Unicode MS"/>
              <a:cs typeface="Arial" pitchFamily="34" charset="0"/>
            </a:endParaRPr>
          </a:p>
        </p:txBody>
      </p:sp>
      <p:pic>
        <p:nvPicPr>
          <p:cNvPr id="31" name="Picture 11" descr="https://www.tompacks.com/uploadfiles/107.151.154.110/webid1348/logo/201909/5d80a2821ebae.jpg">
            <a:extLst>
              <a:ext uri="{FF2B5EF4-FFF2-40B4-BE49-F238E27FC236}">
                <a16:creationId xmlns="" xmlns:a16="http://schemas.microsoft.com/office/drawing/2014/main" id="{2AFAF02E-508B-9C4C-D48E-9E794B6DB1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3857" y="4279590"/>
            <a:ext cx="748708" cy="18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9F187215-B9EF-DBED-47AE-05B08A831E0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00" b="22889"/>
          <a:stretch/>
        </p:blipFill>
        <p:spPr>
          <a:xfrm>
            <a:off x="10693611" y="4514276"/>
            <a:ext cx="749215" cy="353915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7BB13D59-DD8C-323A-FD79-A49B5AC9F350}"/>
              </a:ext>
            </a:extLst>
          </p:cNvPr>
          <p:cNvSpPr/>
          <p:nvPr/>
        </p:nvSpPr>
        <p:spPr>
          <a:xfrm>
            <a:off x="6070725" y="5502955"/>
            <a:ext cx="5372101" cy="10452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235">
              <a:lnSpc>
                <a:spcPct val="120000"/>
              </a:lnSpc>
              <a:spcBef>
                <a:spcPts val="600"/>
              </a:spcBef>
              <a:defRPr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Исполнение производственной программы на 2023 год.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 defTabSz="914235">
              <a:lnSpc>
                <a:spcPct val="120000"/>
              </a:lnSpc>
              <a:spcBef>
                <a:spcPts val="600"/>
              </a:spcBef>
              <a:defRPr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Реализация произведенной продукции (гербицидов) на сезон 2023 года.</a:t>
            </a:r>
            <a:endParaRPr lang="en-US" sz="11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 defTabSz="914235">
              <a:lnSpc>
                <a:spcPct val="120000"/>
              </a:lnSpc>
              <a:spcBef>
                <a:spcPts val="600"/>
              </a:spcBef>
              <a:defRPr/>
            </a:pPr>
            <a:r>
              <a:rPr lang="ru-RU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Вывод непрофильной инфраструктуры из ТОО «ХИМ-плюс» на баланс СЭЗ «ХимПарк Тараз».</a:t>
            </a:r>
            <a:endParaRPr lang="ru-RU" sz="2200" kern="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47" name="Группа 46">
            <a:extLst>
              <a:ext uri="{FF2B5EF4-FFF2-40B4-BE49-F238E27FC236}">
                <a16:creationId xmlns="" xmlns:a16="http://schemas.microsoft.com/office/drawing/2014/main" id="{F83BEED8-4074-FE77-FA5B-2EC2DEB21636}"/>
              </a:ext>
            </a:extLst>
          </p:cNvPr>
          <p:cNvGrpSpPr/>
          <p:nvPr/>
        </p:nvGrpSpPr>
        <p:grpSpPr>
          <a:xfrm>
            <a:off x="6004354" y="5070036"/>
            <a:ext cx="5525476" cy="60887"/>
            <a:chOff x="7437990" y="5670958"/>
            <a:chExt cx="8104032" cy="385899"/>
          </a:xfrm>
        </p:grpSpPr>
        <p:sp>
          <p:nvSpPr>
            <p:cNvPr id="50" name="Прямоугольник 49">
              <a:extLst>
                <a:ext uri="{FF2B5EF4-FFF2-40B4-BE49-F238E27FC236}">
                  <a16:creationId xmlns="" xmlns:a16="http://schemas.microsoft.com/office/drawing/2014/main" id="{C8F47435-ECF3-10A8-D12A-F7E1F0F0289A}"/>
                </a:ext>
              </a:extLst>
            </p:cNvPr>
            <p:cNvSpPr/>
            <p:nvPr/>
          </p:nvSpPr>
          <p:spPr>
            <a:xfrm flipV="1">
              <a:off x="7437990" y="5670958"/>
              <a:ext cx="8104032" cy="369331"/>
            </a:xfrm>
            <a:prstGeom prst="rect">
              <a:avLst/>
            </a:prstGeom>
            <a:gradFill flip="none" rotWithShape="1">
              <a:gsLst>
                <a:gs pos="3000">
                  <a:srgbClr val="17335D"/>
                </a:gs>
                <a:gs pos="100000">
                  <a:srgbClr val="2DC68B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227"/>
            </a:p>
          </p:txBody>
        </p:sp>
        <p:sp>
          <p:nvSpPr>
            <p:cNvPr id="54" name="Текст 9">
              <a:extLst>
                <a:ext uri="{FF2B5EF4-FFF2-40B4-BE49-F238E27FC236}">
                  <a16:creationId xmlns="" xmlns:a16="http://schemas.microsoft.com/office/drawing/2014/main" id="{F3E234B9-B24D-BD39-0E31-6EA146069016}"/>
                </a:ext>
              </a:extLst>
            </p:cNvPr>
            <p:cNvSpPr txBox="1">
              <a:spLocks/>
            </p:cNvSpPr>
            <p:nvPr/>
          </p:nvSpPr>
          <p:spPr>
            <a:xfrm>
              <a:off x="10281408" y="5687525"/>
              <a:ext cx="3297834" cy="369332"/>
            </a:xfrm>
            <a:prstGeom prst="rect">
              <a:avLst/>
            </a:prstGeom>
          </p:spPr>
          <p:txBody>
            <a:bodyPr vert="horz" lIns="62345" tIns="31173" rIns="62345" bIns="31173" rtlCol="0" anchor="ctr">
              <a:noAutofit/>
            </a:bodyPr>
            <a:lstStyle>
              <a:lvl1pPr marL="0" indent="0" algn="l" defTabSz="1341150" rtl="0" eaLnBrk="1" latinLnBrk="0" hangingPunct="1">
                <a:lnSpc>
                  <a:spcPct val="90000"/>
                </a:lnSpc>
                <a:spcBef>
                  <a:spcPts val="1467"/>
                </a:spcBef>
                <a:buFontTx/>
                <a:buNone/>
                <a:defRPr sz="1600" b="1" u="none" kern="1200">
                  <a:solidFill>
                    <a:schemeClr val="tx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lvl1pPr>
              <a:lvl2pPr marL="67057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352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1341150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933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2011725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2682301" indent="0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Tx/>
                <a:buNone/>
                <a:defRPr sz="264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368816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58739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029314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699890" indent="-335288" algn="l" defTabSz="1341150" rtl="0" eaLnBrk="1" latinLnBrk="0" hangingPunct="1">
                <a:lnSpc>
                  <a:spcPct val="90000"/>
                </a:lnSpc>
                <a:spcBef>
                  <a:spcPts val="733"/>
                </a:spcBef>
                <a:buFont typeface="Arial" panose="020B0604020202020204" pitchFamily="34" charset="0"/>
                <a:buChar char="•"/>
                <a:defRPr sz="26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KZ" sz="109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581DA3C5-65CF-6D29-1513-C0486692CBFC}"/>
              </a:ext>
            </a:extLst>
          </p:cNvPr>
          <p:cNvSpPr txBox="1"/>
          <p:nvPr/>
        </p:nvSpPr>
        <p:spPr>
          <a:xfrm>
            <a:off x="5911978" y="5232701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планы на 202</a:t>
            </a:r>
            <a:r>
              <a:rPr lang="en-US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3</a:t>
            </a:r>
            <a:r>
              <a:rPr lang="ru-RU" sz="1100" b="1" cap="all" dirty="0">
                <a:solidFill>
                  <a:srgbClr val="002060"/>
                </a:solidFill>
                <a:latin typeface="+mj-lt"/>
                <a:ea typeface="Arial Unicode MS"/>
              </a:rPr>
              <a:t> год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="" xmlns:a16="http://schemas.microsoft.com/office/drawing/2014/main" id="{9A3D9D24-7ADA-B933-7574-8F437DFEB94E}"/>
              </a:ext>
            </a:extLst>
          </p:cNvPr>
          <p:cNvSpPr/>
          <p:nvPr/>
        </p:nvSpPr>
        <p:spPr>
          <a:xfrm>
            <a:off x="917161" y="4792285"/>
            <a:ext cx="3217260" cy="26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Задачи: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CD119DD8-7D0F-0DFC-8F21-B6849AC29821}"/>
              </a:ext>
            </a:extLst>
          </p:cNvPr>
          <p:cNvSpPr txBox="1"/>
          <p:nvPr/>
        </p:nvSpPr>
        <p:spPr>
          <a:xfrm>
            <a:off x="493026" y="5157596"/>
            <a:ext cx="509113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286"/>
            <a:r>
              <a:rPr lang="ru-RU" altLang="ko-KR" sz="1000" b="1" dirty="0">
                <a:solidFill>
                  <a:srgbClr val="002060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РАЗВИТИЕ АГРОХИМИИ </a:t>
            </a:r>
            <a:r>
              <a:rPr lang="ru-RU" altLang="ko-KR" sz="1000" dirty="0">
                <a:solidFill>
                  <a:srgbClr val="002060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- </a:t>
            </a:r>
            <a:r>
              <a:rPr lang="ru-RU" altLang="ko-KR" sz="1000" dirty="0">
                <a:solidFill>
                  <a:prstClr val="black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развитие агрохимической промышленности, и</a:t>
            </a:r>
            <a:r>
              <a:rPr lang="ru-RU" sz="1000" dirty="0">
                <a:solidFill>
                  <a:prstClr val="black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мпортозамещение гербицидов на местном рынке, стать одним из лидеров рынка производителей СЗР в РК</a:t>
            </a:r>
          </a:p>
          <a:p>
            <a:pPr algn="just" defTabSz="914286"/>
            <a:r>
              <a:rPr lang="ru-RU" altLang="ko-KR" sz="1000" b="1" dirty="0">
                <a:solidFill>
                  <a:srgbClr val="002060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ОБЕСПЕЧЕНИЕ </a:t>
            </a:r>
            <a:r>
              <a:rPr lang="en-US" altLang="ko-KR" sz="1000" dirty="0">
                <a:solidFill>
                  <a:prstClr val="black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c</a:t>
            </a:r>
            <a:r>
              <a:rPr lang="ru-RU" altLang="ko-KR" sz="1000" dirty="0" err="1">
                <a:solidFill>
                  <a:prstClr val="black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ельхозтоваропроизводителей</a:t>
            </a:r>
            <a:r>
              <a:rPr lang="ru-RU" altLang="ko-KR" sz="1000" dirty="0">
                <a:solidFill>
                  <a:prstClr val="black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 химическими средствами защиты растений для увеличения урожая</a:t>
            </a:r>
          </a:p>
          <a:p>
            <a:pPr algn="just" defTabSz="914286"/>
            <a:r>
              <a:rPr lang="ru-RU" altLang="ko-KR" sz="1000" b="1" dirty="0">
                <a:solidFill>
                  <a:srgbClr val="002060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СОЦИАЛЬНАЯ ПОДДЕРЖКА </a:t>
            </a:r>
            <a:r>
              <a:rPr lang="ru-RU" altLang="ko-KR" sz="1000" dirty="0">
                <a:solidFill>
                  <a:prstClr val="black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региона путем обеспечения дополнительными рабочими местами, налоговые поступления в бюджет</a:t>
            </a:r>
          </a:p>
          <a:p>
            <a:pPr algn="just" defTabSz="914286"/>
            <a:r>
              <a:rPr lang="ru-RU" altLang="ko-KR" sz="1000" b="1" dirty="0">
                <a:solidFill>
                  <a:srgbClr val="002060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РАСШИРЕНИЕ ПРОИЗВОДСТВА </a:t>
            </a:r>
            <a:r>
              <a:rPr lang="ru-RU" altLang="ko-KR" sz="1000" dirty="0">
                <a:solidFill>
                  <a:srgbClr val="002060"/>
                </a:solidFill>
                <a:latin typeface="Calibri Light" panose="020F0302020204030204" pitchFamily="34" charset="0"/>
                <a:ea typeface="Arial Unicode MS"/>
                <a:cs typeface="Calibri Light" panose="020F0302020204030204" pitchFamily="34" charset="0"/>
              </a:rPr>
              <a:t>- </a:t>
            </a:r>
            <a:r>
              <a:rPr lang="ru-RU" sz="1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зучение возможностей расширения ассортимента продукции путем модернизации действующего цеха и </a:t>
            </a:r>
            <a:r>
              <a:rPr lang="ru-RU" sz="1000" dirty="0" err="1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рганизациИ</a:t>
            </a:r>
            <a:r>
              <a:rPr lang="ru-RU" sz="1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дополнительных линий по производству пестицидов</a:t>
            </a:r>
            <a:endParaRPr lang="ru-RU" altLang="ko-KR" sz="1000" dirty="0">
              <a:solidFill>
                <a:prstClr val="black"/>
              </a:solidFill>
              <a:latin typeface="Calibri Light" panose="020F0302020204030204" pitchFamily="34" charset="0"/>
              <a:ea typeface="Arial Unicode MS"/>
              <a:cs typeface="Calibri Light" panose="020F030202020403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0989D2D8-40F9-2A50-759C-9BCFC7C94A4B}"/>
              </a:ext>
            </a:extLst>
          </p:cNvPr>
          <p:cNvSpPr/>
          <p:nvPr/>
        </p:nvSpPr>
        <p:spPr>
          <a:xfrm>
            <a:off x="899375" y="3297778"/>
            <a:ext cx="3217260" cy="26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Bef>
                <a:spcPts val="409"/>
              </a:spcBef>
            </a:pPr>
            <a:r>
              <a:rPr lang="ru-RU" sz="1091" b="1" dirty="0"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Участники:</a:t>
            </a:r>
          </a:p>
        </p:txBody>
      </p:sp>
      <p:sp>
        <p:nvSpPr>
          <p:cNvPr id="2" name="Номер слайда 3">
            <a:extLst>
              <a:ext uri="{FF2B5EF4-FFF2-40B4-BE49-F238E27FC236}">
                <a16:creationId xmlns="" xmlns:a16="http://schemas.microsoft.com/office/drawing/2014/main" id="{5A2EC262-CB3A-728A-5298-44FBF3D63E42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7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88EEDEEF-9B51-FE6D-3E85-DB7DC96CCBC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562333EF-8976-38E5-F46B-549CA7123FB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26" y="93912"/>
            <a:ext cx="649279" cy="533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579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5928" y="2484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5928" y="2484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1144292" y="894"/>
            <a:ext cx="163720" cy="15870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-17140" y="513254"/>
            <a:ext cx="11011272" cy="46747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6102" y="44625"/>
            <a:ext cx="1074309" cy="863723"/>
          </a:xfrm>
          <a:prstGeom prst="rect">
            <a:avLst/>
          </a:prstGeom>
        </p:spPr>
      </p:pic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289864" y="2660775"/>
          <a:ext cx="4503403" cy="3657600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27424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609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Фактическая стоимость капитальных затрат на строительство, в</a:t>
                      </a:r>
                      <a:r>
                        <a:rPr lang="ru-RU" sz="1000" b="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том числе: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0"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 692 365 980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361950" lvl="0" indent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-</a:t>
                      </a:r>
                      <a:r>
                        <a:rPr lang="ru-RU" sz="1000" b="0" i="1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 СМР (склад, рампа, цех </a:t>
                      </a:r>
                      <a:r>
                        <a:rPr lang="ru-RU" sz="1000" b="0" i="1" baseline="0" dirty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формуляции</a:t>
                      </a:r>
                      <a:r>
                        <a:rPr lang="ru-RU" sz="1000" b="0" i="1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, тарный цех)</a:t>
                      </a:r>
                      <a:endParaRPr lang="ru-RU" sz="1000" b="0" i="1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1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 022 642 782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361950" lvl="0" indent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- Оборудование</a:t>
                      </a:r>
                      <a:r>
                        <a:rPr lang="ru-RU" sz="1000" b="0" i="1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 тарного цеха</a:t>
                      </a:r>
                      <a:endParaRPr lang="ru-RU" sz="1000" b="0" i="1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1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96 287 851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361950" lvl="0" indent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- </a:t>
                      </a:r>
                      <a:r>
                        <a:rPr lang="ru-RU" sz="1000" b="0" i="1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Оборудование</a:t>
                      </a:r>
                      <a:r>
                        <a:rPr lang="ru-RU" sz="1000" b="0" i="1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 цеха</a:t>
                      </a:r>
                      <a:r>
                        <a:rPr lang="ru-RU" sz="1000" b="0" i="1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ru-RU" sz="1000" b="0" i="1" baseline="0" dirty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Calibri Light" panose="020F0302020204030204" pitchFamily="34" charset="0"/>
                        </a:rPr>
                        <a:t>формуляции</a:t>
                      </a:r>
                      <a:endParaRPr lang="ru-RU" sz="1000" b="0" i="1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00" b="0" i="1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 073 435 347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037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ИР (ТЭО, ПСД</a:t>
                      </a:r>
                      <a:r>
                        <a:rPr lang="ru-RU" sz="1000" b="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, инженерно-</a:t>
                      </a:r>
                      <a:r>
                        <a:rPr lang="ru-RU" sz="1000" b="0" baseline="0" dirty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геолог.изыскания</a:t>
                      </a:r>
                      <a:r>
                        <a:rPr lang="ru-RU" sz="1000" b="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и др.)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7 576 584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Затраты на авторский и технический надзоры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0"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9 826 022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иобретение спецтехники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0"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14</a:t>
                      </a:r>
                      <a:r>
                        <a:rPr lang="ru-RU" sz="1000" b="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353 745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очие расходы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0"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19 955 831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апитализируемые ОАР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0"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04 604 565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Оборотный</a:t>
                      </a:r>
                      <a:r>
                        <a:rPr lang="ru-RU" sz="1000" b="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капитал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0"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 035 000 000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B244D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Итого</a:t>
                      </a:r>
                      <a:endParaRPr lang="ru-RU" sz="1000" dirty="0">
                        <a:solidFill>
                          <a:srgbClr val="0B244D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0"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B244D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 903 682 727</a:t>
                      </a:r>
                      <a:endParaRPr lang="ru-RU" sz="1000" b="1" dirty="0">
                        <a:solidFill>
                          <a:srgbClr val="0B244D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B244D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Всего с НДС, тенге</a:t>
                      </a:r>
                      <a:endParaRPr lang="ru-RU" sz="1000" dirty="0">
                        <a:solidFill>
                          <a:srgbClr val="0B244D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81000"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B244D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439  372 106</a:t>
                      </a:r>
                      <a:endParaRPr lang="ru-RU" sz="1000" b="1" dirty="0">
                        <a:solidFill>
                          <a:srgbClr val="0B244D"/>
                        </a:solidFill>
                        <a:effectLst/>
                        <a:latin typeface="Calibri Light" panose="020F0302020204030204" pitchFamily="34" charset="0"/>
                        <a:ea typeface="Times New Roman" panose="02020603050405020304" pitchFamily="18" charset="0"/>
                        <a:cs typeface="Calibri Light" panose="020F0302020204030204" pitchFamily="34" charset="0"/>
                      </a:endParaRPr>
                    </a:p>
                  </a:txBody>
                  <a:tcPr marL="63305" marR="6330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89864" y="1628966"/>
            <a:ext cx="441448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rgbClr val="545454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ПРЕДВАРИТЕЛЬНАЯ СУММА ЗАТРАТ ПРОЕКТА «КОМПЛЕКС ФОРМУЛЯЦИИ ГЛИФОСАТА» (может быть уточнена после ввода в эксплуатацию оставшихся объектов)</a:t>
            </a:r>
            <a:endParaRPr lang="ru-RU" altLang="ru-RU" sz="1000" b="1" dirty="0">
              <a:solidFill>
                <a:srgbClr val="54545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B2FD4FB-C532-1286-211D-FB20A58C489F}"/>
              </a:ext>
            </a:extLst>
          </p:cNvPr>
          <p:cNvSpPr/>
          <p:nvPr/>
        </p:nvSpPr>
        <p:spPr>
          <a:xfrm>
            <a:off x="988605" y="1258681"/>
            <a:ext cx="2537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prstClr val="black">
                    <a:lumMod val="65000"/>
                    <a:lumOff val="35000"/>
                  </a:prstClr>
                </a:solidFill>
                <a:cs typeface="Segoe UI Semilight" panose="020B0402040204020203" pitchFamily="34" charset="0"/>
              </a:rPr>
              <a:t>Стоимость проекта</a:t>
            </a:r>
            <a:endParaRPr lang="ru-RU" b="1" cap="all" dirty="0">
              <a:solidFill>
                <a:srgbClr val="002060"/>
              </a:solidFill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D3A6F98E-ADCC-E6D7-7491-B007A9E78914}"/>
              </a:ext>
            </a:extLst>
          </p:cNvPr>
          <p:cNvSpPr/>
          <p:nvPr/>
        </p:nvSpPr>
        <p:spPr>
          <a:xfrm>
            <a:off x="6490976" y="1275192"/>
            <a:ext cx="45031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200"/>
              </a:spcBef>
            </a:pPr>
            <a:r>
              <a:rPr lang="kk-KZ" b="1" dirty="0">
                <a:solidFill>
                  <a:prstClr val="black">
                    <a:lumMod val="65000"/>
                    <a:lumOff val="35000"/>
                  </a:prstClr>
                </a:solidFill>
                <a:cs typeface="Segoe UI Semilight" panose="020B0402040204020203" pitchFamily="34" charset="0"/>
              </a:rPr>
              <a:t>Основные показатели деятельности</a:t>
            </a:r>
            <a:endParaRPr lang="ru-RU" b="1" cap="all" dirty="0">
              <a:solidFill>
                <a:srgbClr val="002060"/>
              </a:solidFill>
              <a:cs typeface="Calibri" panose="020F0502020204030204" pitchFamily="34" charset="0"/>
            </a:endParaRPr>
          </a:p>
        </p:txBody>
      </p:sp>
      <p:sp>
        <p:nvSpPr>
          <p:cNvPr id="17" name="SlideTitle">
            <a:extLst>
              <a:ext uri="{FF2B5EF4-FFF2-40B4-BE49-F238E27FC236}">
                <a16:creationId xmlns="" xmlns:a16="http://schemas.microsoft.com/office/drawing/2014/main" id="{46517987-7652-6278-956F-74604F9450A5}"/>
              </a:ext>
            </a:extLst>
          </p:cNvPr>
          <p:cNvSpPr txBox="1">
            <a:spLocks/>
          </p:cNvSpPr>
          <p:nvPr/>
        </p:nvSpPr>
        <p:spPr>
          <a:xfrm>
            <a:off x="1266712" y="178330"/>
            <a:ext cx="10644986" cy="3918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90657" rtl="0" eaLnBrk="1" latinLnBrk="0" hangingPunct="1">
              <a:spcBef>
                <a:spcPct val="0"/>
              </a:spcBef>
              <a:buNone/>
              <a:defRPr sz="1591" kern="1200">
                <a:solidFill>
                  <a:schemeClr val="tx1">
                    <a:lumMod val="75000"/>
                    <a:lumOff val="25000"/>
                  </a:schemeClr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«ХИМ-плюс». Параметры комплекса </a:t>
            </a:r>
            <a:r>
              <a:rPr lang="ru-RU" sz="20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ормуляции</a:t>
            </a:r>
            <a:endParaRPr lang="x-none" sz="2000" kern="0" dirty="0">
              <a:solidFill>
                <a:srgbClr val="000000"/>
              </a:solidFill>
              <a:latin typeface="Calibri Light" panose="020F0302020204030204" pitchFamily="34" charset="0"/>
              <a:ea typeface="Segoe UI Black" panose="020B0A02040204020203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Номер слайда 3">
            <a:extLst>
              <a:ext uri="{FF2B5EF4-FFF2-40B4-BE49-F238E27FC236}">
                <a16:creationId xmlns="" xmlns:a16="http://schemas.microsoft.com/office/drawing/2014/main" id="{53C0AA29-CFCE-807A-0FC3-B0F909571E75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solidFill>
                  <a:srgbClr val="54545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8</a:t>
            </a:fld>
            <a:endParaRPr lang="ru-RU" dirty="0">
              <a:solidFill>
                <a:srgbClr val="54545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5BB0706B-3642-4D83-D670-F75669E3F9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26" y="93912"/>
            <a:ext cx="649279" cy="533513"/>
          </a:xfrm>
          <a:prstGeom prst="rect">
            <a:avLst/>
          </a:prstGeom>
        </p:spPr>
      </p:pic>
      <p:graphicFrame>
        <p:nvGraphicFramePr>
          <p:cNvPr id="4" name="Таблица 3">
            <a:extLst>
              <a:ext uri="{FF2B5EF4-FFF2-40B4-BE49-F238E27FC236}">
                <a16:creationId xmlns="" xmlns:a16="http://schemas.microsoft.com/office/drawing/2014/main" id="{63DDACD5-CB48-412B-9660-C0629FD23936}"/>
              </a:ext>
            </a:extLst>
          </p:cNvPr>
          <p:cNvGraphicFramePr>
            <a:graphicFrameLocks noGrp="1"/>
          </p:cNvGraphicFramePr>
          <p:nvPr/>
        </p:nvGraphicFramePr>
        <p:xfrm>
          <a:off x="289864" y="2260444"/>
          <a:ext cx="4503403" cy="400331"/>
        </p:xfrm>
        <a:graphic>
          <a:graphicData uri="http://schemas.openxmlformats.org/drawingml/2006/table">
            <a:tbl>
              <a:tblPr/>
              <a:tblGrid>
                <a:gridCol w="526967">
                  <a:extLst>
                    <a:ext uri="{9D8B030D-6E8A-4147-A177-3AD203B41FA5}">
                      <a16:colId xmlns="" xmlns:a16="http://schemas.microsoft.com/office/drawing/2014/main" val="1620660303"/>
                    </a:ext>
                  </a:extLst>
                </a:gridCol>
                <a:gridCol w="2792643">
                  <a:extLst>
                    <a:ext uri="{9D8B030D-6E8A-4147-A177-3AD203B41FA5}">
                      <a16:colId xmlns="" xmlns:a16="http://schemas.microsoft.com/office/drawing/2014/main" val="1737109721"/>
                    </a:ext>
                  </a:extLst>
                </a:gridCol>
                <a:gridCol w="1183793">
                  <a:extLst>
                    <a:ext uri="{9D8B030D-6E8A-4147-A177-3AD203B41FA5}">
                      <a16:colId xmlns="" xmlns:a16="http://schemas.microsoft.com/office/drawing/2014/main" val="1867281056"/>
                    </a:ext>
                  </a:extLst>
                </a:gridCol>
              </a:tblGrid>
              <a:tr h="400331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№ п/п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Наименование 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C</a:t>
                      </a:r>
                      <a:r>
                        <a:rPr lang="ru-RU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тоимость</a:t>
                      </a:r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 проекта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C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0263657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="" xmlns:a16="http://schemas.microsoft.com/office/drawing/2014/main" id="{6B360459-2720-4CB8-9FCB-EA3435695D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198208"/>
              </p:ext>
            </p:extLst>
          </p:nvPr>
        </p:nvGraphicFramePr>
        <p:xfrm>
          <a:off x="5162900" y="1610700"/>
          <a:ext cx="6748796" cy="2514100"/>
        </p:xfrm>
        <a:graphic>
          <a:graphicData uri="http://schemas.openxmlformats.org/drawingml/2006/table">
            <a:tbl>
              <a:tblPr/>
              <a:tblGrid>
                <a:gridCol w="329196">
                  <a:extLst>
                    <a:ext uri="{9D8B030D-6E8A-4147-A177-3AD203B41FA5}">
                      <a16:colId xmlns="" xmlns:a16="http://schemas.microsoft.com/office/drawing/2014/main" val="2328390243"/>
                    </a:ext>
                  </a:extLst>
                </a:gridCol>
                <a:gridCol w="242462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076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6370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6370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3919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53919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39198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539198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297637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x-none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Наименование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Ед.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изм.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>
                      <a:lvl1pPr marL="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47582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9516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4274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9033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37913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68549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3307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580659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i="0" u="none" strike="noStrike" cap="non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0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i="0" u="none" strike="noStrike" cap="non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baseline="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 мес. 2023</a:t>
                      </a:r>
                      <a:endParaRPr lang="ru-RU" sz="1000" b="1" i="0" u="none" strike="noStrike" kern="1200" dirty="0"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72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8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59396" marR="59396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864"/>
                    </a:solidFill>
                  </a:tcPr>
                </a:tc>
                <a:tc>
                  <a:txBody>
                    <a:bodyPr/>
                    <a:lstStyle>
                      <a:lvl1pPr marL="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47582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9516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4274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9033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37913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68549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3307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580659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000" b="1" i="0" u="none" strike="noStrike" kern="1200" cap="non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x-none" sz="1000" b="1" i="0" u="none" strike="noStrike" cap="non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ф</a:t>
                      </a:r>
                      <a:r>
                        <a:rPr lang="ru-RU" sz="1000" b="1" i="0" u="none" strike="noStrike" cap="none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акт</a:t>
                      </a:r>
                      <a:endParaRPr lang="ru-RU" sz="1000" dirty="0"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x-none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</a:t>
                      </a:r>
                      <a:r>
                        <a:rPr lang="ru-RU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акт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акт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акт</a:t>
                      </a:r>
                      <a:r>
                        <a:rPr lang="ru-RU" sz="1000" b="1" i="0" u="none" strike="noStrike" kern="1200" baseline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000" b="1" i="0" u="none" strike="noStrike" kern="1200" dirty="0">
                        <a:solidFill>
                          <a:srgbClr val="FFFFFF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244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972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x-none" sz="1000" b="0" i="0" u="none" strike="noStrike" dirty="0">
                          <a:solidFill>
                            <a:srgbClr val="082C50"/>
                          </a:solidFill>
                          <a:latin typeface="+mj-lt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82C50"/>
                        </a:solidFill>
                        <a:latin typeface="+mj-lt"/>
                      </a:endParaRPr>
                    </a:p>
                  </a:txBody>
                  <a:tcPr marL="60960" marR="6096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Объем производства жидкого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формулята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тыс.</a:t>
                      </a:r>
                      <a:r>
                        <a:rPr lang="x-none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л</a:t>
                      </a:r>
                      <a:r>
                        <a:rPr lang="x-none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итров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47582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9516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4274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9033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37913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68549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3307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580659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984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1 073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97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000" b="0" i="0" u="none" strike="noStrike" kern="1200" cap="none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000" b="0" i="0" u="none" strike="noStrike" kern="1200" cap="none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x-none" sz="1000" b="0" i="0" u="none" strike="noStrike" dirty="0">
                          <a:solidFill>
                            <a:srgbClr val="082C50"/>
                          </a:solidFill>
                          <a:latin typeface="+mj-lt"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82C50"/>
                        </a:solidFill>
                        <a:latin typeface="+mj-lt"/>
                      </a:endParaRPr>
                    </a:p>
                  </a:txBody>
                  <a:tcPr marL="60960" marR="6096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Объем производства гранулированного </a:t>
                      </a:r>
                      <a:r>
                        <a:rPr lang="ru-RU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формулята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тонн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47582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9516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4274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9033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37913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68549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3307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580659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51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,3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66562180"/>
                  </a:ext>
                </a:extLst>
              </a:tr>
              <a:tr h="3972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82C50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60960" marR="6096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Доходы от основной деятельности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млн. т</a:t>
                      </a:r>
                      <a:r>
                        <a:rPr lang="x-none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енге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47582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9516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4274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9033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37913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68549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3307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580659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970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1 669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9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 3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72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82C50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60960" marR="6096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Чистая прибыль/убыток</a:t>
                      </a: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млн. т</a:t>
                      </a:r>
                      <a:r>
                        <a:rPr lang="x-none" sz="10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енге</a:t>
                      </a:r>
                      <a:endParaRPr lang="ru-RU" sz="1000" b="0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9195" marR="79195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47582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9516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4274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90330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37913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685495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133078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580659" algn="l" defTabSz="895165" rtl="0" eaLnBrk="1" latinLnBrk="0" hangingPunct="1">
                        <a:defRPr sz="1763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-908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0" i="0" u="none" strike="noStrike" cap="none" dirty="0">
                          <a:solidFill>
                            <a:srgbClr val="002060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-478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ru-RU" sz="1000" b="0" i="0" u="none" strike="noStrike" kern="1200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 3 498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492*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kern="1200" dirty="0">
                          <a:solidFill>
                            <a:srgbClr val="0B244D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165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5162898" y="5750829"/>
            <a:ext cx="64716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rgbClr val="545454"/>
                </a:solidFill>
                <a:sym typeface="Arial"/>
              </a:rPr>
              <a:t>*** Убытки 2022 года связаны с </a:t>
            </a:r>
            <a:r>
              <a:rPr lang="ru-RU" sz="1000" dirty="0" err="1">
                <a:solidFill>
                  <a:srgbClr val="545454"/>
                </a:solidFill>
                <a:sym typeface="Arial"/>
              </a:rPr>
              <a:t>недополучением</a:t>
            </a:r>
            <a:r>
              <a:rPr lang="ru-RU" sz="1000" dirty="0">
                <a:solidFill>
                  <a:srgbClr val="545454"/>
                </a:solidFill>
                <a:sym typeface="Arial"/>
              </a:rPr>
              <a:t> доходов от реализации продукции и низких объемов реализации продукции, связанных с отсутствием готовой продукции в сезон применения (посевной сезон), позднее производство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162898" y="4242989"/>
            <a:ext cx="65438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rgbClr val="545454"/>
                </a:solidFill>
                <a:sym typeface="Arial"/>
              </a:rPr>
              <a:t>* Уменьшение объема производства связано с резким удорожанием основного сырья </a:t>
            </a:r>
            <a:r>
              <a:rPr lang="ru-RU" sz="1000" dirty="0" err="1">
                <a:solidFill>
                  <a:srgbClr val="545454"/>
                </a:solidFill>
                <a:sym typeface="Arial"/>
              </a:rPr>
              <a:t>глифосата</a:t>
            </a:r>
            <a:r>
              <a:rPr lang="ru-RU" sz="1000" dirty="0">
                <a:solidFill>
                  <a:srgbClr val="545454"/>
                </a:solidFill>
                <a:sym typeface="Arial"/>
              </a:rPr>
              <a:t> с 3,5 $/кг до 12 $/кг к моменту проведения закупок сырья. Нестабильность цены на </a:t>
            </a:r>
            <a:r>
              <a:rPr lang="ru-RU" sz="1000" dirty="0" err="1">
                <a:solidFill>
                  <a:srgbClr val="545454"/>
                </a:solidFill>
                <a:sym typeface="Arial"/>
              </a:rPr>
              <a:t>Глифосат</a:t>
            </a:r>
            <a:r>
              <a:rPr lang="ru-RU" sz="1000" dirty="0">
                <a:solidFill>
                  <a:srgbClr val="545454"/>
                </a:solidFill>
                <a:sym typeface="Arial"/>
              </a:rPr>
              <a:t> на рынке и отсутствие фиксированных цен не позволяло провести процедуры закупок в соответствии с правилами закупок Фонда</a:t>
            </a:r>
            <a:endParaRPr lang="ru-RU" sz="1000" dirty="0">
              <a:solidFill>
                <a:srgbClr val="545454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111727" y="4998486"/>
            <a:ext cx="65949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rgbClr val="545454"/>
                </a:solidFill>
                <a:sym typeface="Arial"/>
              </a:rPr>
              <a:t>** Убытки связаны с обесценением активов по проекту «Каустик» - 2 290 млн. тенге</a:t>
            </a:r>
            <a:r>
              <a:rPr lang="en-US" sz="1000" dirty="0">
                <a:solidFill>
                  <a:srgbClr val="545454"/>
                </a:solidFill>
                <a:sym typeface="Arial"/>
              </a:rPr>
              <a:t> (</a:t>
            </a:r>
            <a:r>
              <a:rPr lang="ru-RU" sz="1000" dirty="0">
                <a:solidFill>
                  <a:srgbClr val="545454"/>
                </a:solidFill>
                <a:sym typeface="Arial"/>
              </a:rPr>
              <a:t>исторические затраты по проекту – ПИР, капитализируемые ОАР пр.), по незавершенному строительству по проекту </a:t>
            </a:r>
            <a:r>
              <a:rPr lang="ru-RU" sz="1000" dirty="0" err="1">
                <a:solidFill>
                  <a:srgbClr val="545454"/>
                </a:solidFill>
                <a:sym typeface="Arial"/>
              </a:rPr>
              <a:t>Глифосат</a:t>
            </a:r>
            <a:r>
              <a:rPr lang="ru-RU" sz="1000" dirty="0">
                <a:solidFill>
                  <a:srgbClr val="545454"/>
                </a:solidFill>
                <a:sym typeface="Arial"/>
              </a:rPr>
              <a:t> 3-4 ПК - 252млн.тенге, обесценение выданного аванса по проекту </a:t>
            </a:r>
            <a:r>
              <a:rPr lang="ru-RU" sz="1000" dirty="0" err="1">
                <a:solidFill>
                  <a:srgbClr val="545454"/>
                </a:solidFill>
                <a:sym typeface="Arial"/>
              </a:rPr>
              <a:t>Глифосат</a:t>
            </a:r>
            <a:r>
              <a:rPr lang="ru-RU" sz="1000" dirty="0">
                <a:solidFill>
                  <a:srgbClr val="545454"/>
                </a:solidFill>
                <a:sym typeface="Arial"/>
              </a:rPr>
              <a:t> 3-4 ПК ТОО «ЗСМК» - 371млн.тенге и др.</a:t>
            </a:r>
          </a:p>
        </p:txBody>
      </p:sp>
    </p:spTree>
    <p:extLst>
      <p:ext uri="{BB962C8B-B14F-4D97-AF65-F5344CB8AC3E}">
        <p14:creationId xmlns:p14="http://schemas.microsoft.com/office/powerpoint/2010/main" val="384196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5928" y="2484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5928" y="2484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1144292" y="894"/>
            <a:ext cx="163720" cy="15870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33" r="55270"/>
          <a:stretch/>
        </p:blipFill>
        <p:spPr>
          <a:xfrm flipH="1">
            <a:off x="11210156" y="5861717"/>
            <a:ext cx="973425" cy="98902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84" r="10361" b="85516"/>
          <a:stretch/>
        </p:blipFill>
        <p:spPr>
          <a:xfrm>
            <a:off x="-17140" y="513254"/>
            <a:ext cx="11011272" cy="46747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6102" y="44625"/>
            <a:ext cx="1074309" cy="86372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FF788D3D-8864-4597-8E67-73994C22CFA9}"/>
              </a:ext>
            </a:extLst>
          </p:cNvPr>
          <p:cNvSpPr txBox="1"/>
          <p:nvPr/>
        </p:nvSpPr>
        <p:spPr>
          <a:xfrm>
            <a:off x="1843523" y="4675814"/>
            <a:ext cx="20393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86"/>
            <a:r>
              <a:rPr lang="en-US" altLang="ko-KR" sz="1200" dirty="0">
                <a:solidFill>
                  <a:prstClr val="white"/>
                </a:solidFill>
                <a:latin typeface="Arial"/>
                <a:ea typeface="Arial Unicode MS"/>
              </a:rPr>
              <a:t>Add Skills – 80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658B7641-1FF0-42E9-A070-C6D90234D20D}"/>
              </a:ext>
            </a:extLst>
          </p:cNvPr>
          <p:cNvSpPr txBox="1"/>
          <p:nvPr/>
        </p:nvSpPr>
        <p:spPr>
          <a:xfrm>
            <a:off x="1832857" y="5531526"/>
            <a:ext cx="20393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86"/>
            <a:r>
              <a:rPr lang="en-US" altLang="ko-KR" sz="1200" dirty="0">
                <a:solidFill>
                  <a:prstClr val="white"/>
                </a:solidFill>
                <a:latin typeface="Arial"/>
                <a:ea typeface="Arial Unicode MS"/>
              </a:rPr>
              <a:t>Add Skills – 90%</a:t>
            </a:r>
          </a:p>
        </p:txBody>
      </p:sp>
      <p:sp>
        <p:nvSpPr>
          <p:cNvPr id="25" name="Rectangle 38">
            <a:extLst>
              <a:ext uri="{FF2B5EF4-FFF2-40B4-BE49-F238E27FC236}">
                <a16:creationId xmlns="" xmlns:a16="http://schemas.microsoft.com/office/drawing/2014/main" id="{CB9A1842-5141-4132-BFE6-781321331C41}"/>
              </a:ext>
            </a:extLst>
          </p:cNvPr>
          <p:cNvSpPr/>
          <p:nvPr/>
        </p:nvSpPr>
        <p:spPr>
          <a:xfrm>
            <a:off x="403549" y="5717578"/>
            <a:ext cx="32004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286"/>
            <a:r>
              <a:rPr lang="en-US" altLang="ko-KR" sz="2000" b="1" dirty="0">
                <a:solidFill>
                  <a:prstClr val="white"/>
                </a:solidFill>
                <a:latin typeface="Arial"/>
                <a:ea typeface="Arial Unicode MS"/>
              </a:rPr>
              <a:t>Name He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FF788D3D-8864-4597-8E67-73994C22CFA9}"/>
              </a:ext>
            </a:extLst>
          </p:cNvPr>
          <p:cNvSpPr txBox="1"/>
          <p:nvPr/>
        </p:nvSpPr>
        <p:spPr>
          <a:xfrm>
            <a:off x="1843523" y="5668055"/>
            <a:ext cx="20393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86"/>
            <a:r>
              <a:rPr lang="en-US" altLang="ko-KR" sz="1200" dirty="0">
                <a:solidFill>
                  <a:prstClr val="white"/>
                </a:solidFill>
                <a:latin typeface="Arial"/>
                <a:ea typeface="Arial Unicode MS"/>
              </a:rPr>
              <a:t>Add Skills – 80%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595967" y="6448427"/>
            <a:ext cx="1143001" cy="180974"/>
          </a:xfrm>
        </p:spPr>
        <p:txBody>
          <a:bodyPr/>
          <a:lstStyle/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9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11457" y="1177331"/>
            <a:ext cx="498399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/>
            <a:r>
              <a:rPr lang="ru-RU" sz="2000" b="1" cap="all" dirty="0">
                <a:solidFill>
                  <a:srgbClr val="002060"/>
                </a:solidFill>
                <a:ea typeface="Arial Unicode MS"/>
              </a:rPr>
              <a:t>Проблемные вопросы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211457" y="2043339"/>
            <a:ext cx="10957566" cy="17081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/>
              <a:t>Высокая себестоимость производимой продукции ввиду отсутствия отечественного производителя сырья (</a:t>
            </a:r>
            <a:r>
              <a:rPr lang="ru-RU" sz="1400" dirty="0" err="1"/>
              <a:t>глифосат</a:t>
            </a:r>
            <a:r>
              <a:rPr lang="ru-RU" sz="1400" dirty="0"/>
              <a:t>).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/>
              <a:t>Не конкурентоспособность выпускаемой продукции по отношению к ввозимой готовой продукции по причине субсидирования со стороны МСХ РК приобретения как иностранной, так и казахстанской продукции. 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/>
              <a:t>Реализация готовой продукции с отсрочкой оплаты на длительный период (1 год).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08649" y="4264351"/>
            <a:ext cx="498399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286"/>
            <a:r>
              <a:rPr lang="ru-RU" sz="2000" b="1" cap="all" dirty="0">
                <a:solidFill>
                  <a:srgbClr val="002060"/>
                </a:solidFill>
                <a:ea typeface="Arial Unicode MS"/>
              </a:rPr>
              <a:t>пути решения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11457" y="4951678"/>
            <a:ext cx="10137020" cy="3745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/>
              <a:t>Субсидирование </a:t>
            </a:r>
            <a:r>
              <a:rPr lang="en-US" sz="1400" dirty="0"/>
              <a:t>7</a:t>
            </a:r>
            <a:r>
              <a:rPr lang="ru-RU" sz="1400" dirty="0"/>
              <a:t>0% стоимости приобретаемой продукции с оплатой напрямую производителю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AD3D091D-A6F7-2385-567C-1F2568606051}"/>
              </a:ext>
            </a:extLst>
          </p:cNvPr>
          <p:cNvSpPr txBox="1"/>
          <p:nvPr/>
        </p:nvSpPr>
        <p:spPr>
          <a:xfrm>
            <a:off x="1197868" y="159221"/>
            <a:ext cx="76127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О «ХИМ-плюс». Проблемные вопросы и пути их решения</a:t>
            </a:r>
            <a:endParaRPr lang="ru-KZ" sz="2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9368B0E8-6717-3D88-CA6A-0C0DD6E6CAC1}"/>
              </a:ext>
            </a:extLst>
          </p:cNvPr>
          <p:cNvSpPr txBox="1">
            <a:spLocks/>
          </p:cNvSpPr>
          <p:nvPr/>
        </p:nvSpPr>
        <p:spPr>
          <a:xfrm>
            <a:off x="10687664" y="6522471"/>
            <a:ext cx="1468274" cy="298790"/>
          </a:xfrm>
          <a:prstGeom prst="rect">
            <a:avLst/>
          </a:prstGeom>
        </p:spPr>
        <p:txBody>
          <a:bodyPr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B2079F2-58AF-ED44-82D7-E04B2F6FD686}" type="slidenum">
              <a:rPr lang="ru-RU" smtClean="0">
                <a:latin typeface="Calibri Light" panose="020F0302020204030204" pitchFamily="34" charset="0"/>
                <a:cs typeface="Calibri Light" panose="020F0302020204030204" pitchFamily="34" charset="0"/>
              </a:rPr>
              <a:pPr algn="r"/>
              <a:t>9</a:t>
            </a:fld>
            <a:endParaRPr lang="ru-RU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A2D8B398-A970-48CA-939C-B11ADDE5E78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26" y="93912"/>
            <a:ext cx="649279" cy="533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04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GfCLqcB0W4aHp_Egut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GfCLqcB0W4aHp_Egut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GfCLqcB0W4aHp_Egut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GfCLqcB0W4aHp_Egut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0ZkAkKESK9wEsEj..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v9W8kW7Ua2zJDDALhP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XX.rOXDEGDZW.B9SwR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6_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ppt/theme/theme11.xml><?xml version="1.0" encoding="utf-8"?>
<a:theme xmlns:a="http://schemas.openxmlformats.org/drawingml/2006/main" name="7_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ppt/theme/theme1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inental_Asia_16x9">
  <a:themeElements>
    <a:clrScheme name="Continental_16x9">
      <a:dk1>
        <a:srgbClr val="545454"/>
      </a:dk1>
      <a:lt1>
        <a:sysClr val="window" lastClr="FFFFFF"/>
      </a:lt1>
      <a:dk2>
        <a:srgbClr val="000000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Continental_16x9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miter lim="800000"/>
        </a:ln>
        <a:ln w="25400" cap="flat" cmpd="sng" algn="ctr">
          <a:solidFill>
            <a:schemeClr val="phClr"/>
          </a:solidFill>
          <a:miter lim="800000"/>
        </a:ln>
        <a:ln w="38100" cap="flat" cmpd="sng" algn="ctr">
          <a:solidFill>
            <a:schemeClr val="phClr"/>
          </a:solidFill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400"/>
        </a:defPPr>
      </a:lstStyle>
      <a:style>
        <a:lnRef idx="2">
          <a:schemeClr val="dk1">
            <a:shade val="50000"/>
          </a:schemeClr>
        </a:lnRef>
        <a:fillRef idx="1">
          <a:schemeClr val="dk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254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2400"/>
        </a:defPPr>
      </a:lstStyle>
    </a:txDef>
  </a:objectDefaults>
  <a:extraClrSchemeLst/>
</a:theme>
</file>

<file path=ppt/theme/theme3.xml><?xml version="1.0" encoding="utf-8"?>
<a:theme xmlns:a="http://schemas.openxmlformats.org/drawingml/2006/main" name="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ppt/theme/theme4.xml><?xml version="1.0" encoding="utf-8"?>
<a:theme xmlns:a="http://schemas.openxmlformats.org/drawingml/2006/main" name="1_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ppt/theme/theme5.xml><?xml version="1.0" encoding="utf-8"?>
<a:theme xmlns:a="http://schemas.openxmlformats.org/drawingml/2006/main" name="5_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ppt/theme/theme6.xml><?xml version="1.0" encoding="utf-8"?>
<a:theme xmlns:a="http://schemas.openxmlformats.org/drawingml/2006/main" name="2_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ppt/theme/theme7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ppt/theme/theme9.xml><?xml version="1.0" encoding="utf-8"?>
<a:theme xmlns:a="http://schemas.openxmlformats.org/drawingml/2006/main" name="4_Deloitte_TS_RoW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1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S Report Template.potx" id="{189205F8-7F81-4709-8170-4873A1035CE4}" vid="{C2E031F5-18DB-40C4-A67E-8A11AECAB75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93</TotalTime>
  <Words>3612</Words>
  <Application>Microsoft Office PowerPoint</Application>
  <PresentationFormat>Широкоэкранный</PresentationFormat>
  <Paragraphs>717</Paragraphs>
  <Slides>22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9</vt:i4>
      </vt:variant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22</vt:i4>
      </vt:variant>
    </vt:vector>
  </HeadingPairs>
  <TitlesOfParts>
    <vt:vector size="56" baseType="lpstr">
      <vt:lpstr>Arial Unicode MS</vt:lpstr>
      <vt:lpstr>맑은 고딕</vt:lpstr>
      <vt:lpstr>Arial</vt:lpstr>
      <vt:lpstr>Calibri</vt:lpstr>
      <vt:lpstr>Calibri Light</vt:lpstr>
      <vt:lpstr>Cambria</vt:lpstr>
      <vt:lpstr>Century Gothic</vt:lpstr>
      <vt:lpstr>Segoe UI</vt:lpstr>
      <vt:lpstr>Segoe UI Black</vt:lpstr>
      <vt:lpstr>Segoe UI Light</vt:lpstr>
      <vt:lpstr>Segoe UI Semibold</vt:lpstr>
      <vt:lpstr>Segoe UI Semilight</vt:lpstr>
      <vt:lpstr>Symbol</vt:lpstr>
      <vt:lpstr>Times New Roman</vt:lpstr>
      <vt:lpstr>Trebuchet MS</vt:lpstr>
      <vt:lpstr>Verdana</vt:lpstr>
      <vt:lpstr>Verdana (Body)</vt:lpstr>
      <vt:lpstr>Wingdings</vt:lpstr>
      <vt:lpstr>Wingdings 2</vt:lpstr>
      <vt:lpstr>Тема Office</vt:lpstr>
      <vt:lpstr>Continental_Asia_16x9</vt:lpstr>
      <vt:lpstr>Deloitte_TS_RoW</vt:lpstr>
      <vt:lpstr>1_Deloitte_TS_RoW</vt:lpstr>
      <vt:lpstr>5_Deloitte_TS_RoW</vt:lpstr>
      <vt:lpstr>2_Deloitte_TS_RoW</vt:lpstr>
      <vt:lpstr>1_Тема Office</vt:lpstr>
      <vt:lpstr>3_Deloitte_TS_RoW</vt:lpstr>
      <vt:lpstr>4_Deloitte_TS_RoW</vt:lpstr>
      <vt:lpstr>6_Deloitte_TS_RoW</vt:lpstr>
      <vt:lpstr>7_Deloitte_TS_RoW</vt:lpstr>
      <vt:lpstr>2_Тема Office</vt:lpstr>
      <vt:lpstr>think-cell Slide</vt:lpstr>
      <vt:lpstr>CorelDRAW</vt:lpstr>
      <vt:lpstr>Слайд think-cell</vt:lpstr>
      <vt:lpstr>Презентация PowerPoint</vt:lpstr>
      <vt:lpstr>Презентация PowerPoint</vt:lpstr>
      <vt:lpstr>Динамика развития Samruk-Kazyna Ondeu</vt:lpstr>
      <vt:lpstr>Презентация PowerPoint</vt:lpstr>
      <vt:lpstr>ТОО «SSAP». Реконструкция сернокислотного завода в Акмолинской области </vt:lpstr>
      <vt:lpstr>ТОО «SSAP». Стоимость проекта и показатели деятель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ЪЕМ ПРОИЗВОДСТВА ХИМИЧЕСКОЙ ПРОМЫШЛЕННОСТИ В КАЗАХСТАНЕ СОСТАВЛЯЕТ  МЕНЕЕ 1% ОТ ВВП</vt:lpstr>
      <vt:lpstr>Сальдо торгового баланса химической продукции Казахстана является «отрицательным» по всем торговым позициям и ярко отражает сложившуюся текущую ситуацию</vt:lpstr>
      <vt:lpstr>Презентация PowerPoint</vt:lpstr>
      <vt:lpstr>Методология выбора продуктов для SKO ведется «от спроса» и включает 3 этапа</vt:lpstr>
      <vt:lpstr>Перечень потенциальных проектов, находящихся в «пайплайне» стратегии</vt:lpstr>
      <vt:lpstr>Презентация PowerPoint</vt:lpstr>
      <vt:lpstr>Портфель проектов SKO (общая стоимость – более 321 млрд. тенге)</vt:lpstr>
      <vt:lpstr>НИОКР проекты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мзабаев Ержан Курганович</dc:creator>
  <cp:lastModifiedBy>Гайнельгазыулы Мади</cp:lastModifiedBy>
  <cp:revision>523</cp:revision>
  <cp:lastPrinted>2023-06-05T13:59:12Z</cp:lastPrinted>
  <dcterms:created xsi:type="dcterms:W3CDTF">2021-11-13T06:09:18Z</dcterms:created>
  <dcterms:modified xsi:type="dcterms:W3CDTF">2023-06-06T02:28:06Z</dcterms:modified>
</cp:coreProperties>
</file>